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23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7" r:id="rId4"/>
  </p:sldMasterIdLst>
  <p:notesMasterIdLst>
    <p:notesMasterId r:id="rId59"/>
  </p:notesMasterIdLst>
  <p:handoutMasterIdLst>
    <p:handoutMasterId r:id="rId60"/>
  </p:handoutMasterIdLst>
  <p:sldIdLst>
    <p:sldId id="318" r:id="rId5"/>
    <p:sldId id="356" r:id="rId6"/>
    <p:sldId id="393" r:id="rId7"/>
    <p:sldId id="396" r:id="rId8"/>
    <p:sldId id="362" r:id="rId9"/>
    <p:sldId id="325" r:id="rId10"/>
    <p:sldId id="326" r:id="rId11"/>
    <p:sldId id="327" r:id="rId12"/>
    <p:sldId id="342" r:id="rId13"/>
    <p:sldId id="328" r:id="rId14"/>
    <p:sldId id="343" r:id="rId15"/>
    <p:sldId id="329" r:id="rId16"/>
    <p:sldId id="344" r:id="rId17"/>
    <p:sldId id="330" r:id="rId18"/>
    <p:sldId id="331" r:id="rId19"/>
    <p:sldId id="332" r:id="rId20"/>
    <p:sldId id="337" r:id="rId21"/>
    <p:sldId id="333" r:id="rId22"/>
    <p:sldId id="335" r:id="rId23"/>
    <p:sldId id="355" r:id="rId24"/>
    <p:sldId id="348" r:id="rId25"/>
    <p:sldId id="336" r:id="rId26"/>
    <p:sldId id="350" r:id="rId27"/>
    <p:sldId id="349" r:id="rId28"/>
    <p:sldId id="365" r:id="rId29"/>
    <p:sldId id="324" r:id="rId30"/>
    <p:sldId id="366" r:id="rId31"/>
    <p:sldId id="367" r:id="rId32"/>
    <p:sldId id="368" r:id="rId33"/>
    <p:sldId id="369" r:id="rId34"/>
    <p:sldId id="395" r:id="rId35"/>
    <p:sldId id="370" r:id="rId36"/>
    <p:sldId id="371" r:id="rId37"/>
    <p:sldId id="372" r:id="rId38"/>
    <p:sldId id="373" r:id="rId39"/>
    <p:sldId id="374" r:id="rId40"/>
    <p:sldId id="375" r:id="rId41"/>
    <p:sldId id="376" r:id="rId42"/>
    <p:sldId id="377" r:id="rId43"/>
    <p:sldId id="378" r:id="rId44"/>
    <p:sldId id="379" r:id="rId45"/>
    <p:sldId id="380" r:id="rId46"/>
    <p:sldId id="381" r:id="rId47"/>
    <p:sldId id="382" r:id="rId48"/>
    <p:sldId id="383" r:id="rId49"/>
    <p:sldId id="384" r:id="rId50"/>
    <p:sldId id="385" r:id="rId51"/>
    <p:sldId id="386" r:id="rId52"/>
    <p:sldId id="387" r:id="rId53"/>
    <p:sldId id="388" r:id="rId54"/>
    <p:sldId id="389" r:id="rId55"/>
    <p:sldId id="390" r:id="rId56"/>
    <p:sldId id="391" r:id="rId57"/>
    <p:sldId id="392" r:id="rId58"/>
  </p:sldIdLst>
  <p:sldSz cx="12188825" cy="6858000"/>
  <p:notesSz cx="6858000" cy="9144000"/>
  <p:custDataLst>
    <p:tags r:id="rId6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816">
          <p15:clr>
            <a:srgbClr val="A4A3A4"/>
          </p15:clr>
        </p15:guide>
        <p15:guide id="3" orient="horz" pos="3840">
          <p15:clr>
            <a:srgbClr val="A4A3A4"/>
          </p15:clr>
        </p15:guide>
        <p15:guide id="4" orient="horz" pos="1056">
          <p15:clr>
            <a:srgbClr val="A4A3A4"/>
          </p15:clr>
        </p15:guide>
        <p15:guide id="5" pos="3839">
          <p15:clr>
            <a:srgbClr val="A4A3A4"/>
          </p15:clr>
        </p15:guide>
        <p15:guide id="6" pos="384">
          <p15:clr>
            <a:srgbClr val="A4A3A4"/>
          </p15:clr>
        </p15:guide>
        <p15:guide id="7" pos="7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eung, Jessica" initials="CJ" lastIdx="5" clrIdx="0">
    <p:extLst>
      <p:ext uri="{19B8F6BF-5375-455C-9EA6-DF929625EA0E}">
        <p15:presenceInfo xmlns:p15="http://schemas.microsoft.com/office/powerpoint/2012/main" userId="S-1-5-21-839522115-1383384898-515967899-214568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05" autoAdjust="0"/>
    <p:restoredTop sz="93325" autoAdjust="0"/>
  </p:normalViewPr>
  <p:slideViewPr>
    <p:cSldViewPr snapToGrid="0">
      <p:cViewPr varScale="1">
        <p:scale>
          <a:sx n="109" d="100"/>
          <a:sy n="109" d="100"/>
        </p:scale>
        <p:origin x="810" y="96"/>
      </p:cViewPr>
      <p:guideLst>
        <p:guide orient="horz" pos="2160"/>
        <p:guide orient="horz" pos="816"/>
        <p:guide orient="horz" pos="3840"/>
        <p:guide orient="horz" pos="1056"/>
        <p:guide pos="3839"/>
        <p:guide pos="384"/>
        <p:guide pos="729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8" d="100"/>
        <a:sy n="58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-3828" y="-7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handoutMaster" Target="handoutMasters/handoutMaster1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CC02A0-C947-4278-96D1-0DB9C063DF55}" type="datetimeFigureOut">
              <a:rPr lang="en-US" smtClean="0"/>
              <a:t>5/2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33FAA7-9DA0-4163-8828-B20FAF1EB0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0626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381000"/>
            <a:ext cx="4572001" cy="2573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3124200"/>
            <a:ext cx="6096000" cy="533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81000" y="8686800"/>
            <a:ext cx="4876800" cy="227013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67400" y="8686800"/>
            <a:ext cx="609600" cy="227013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00"/>
            </a:lvl1pPr>
          </a:lstStyle>
          <a:p>
            <a:fld id="{8547E1EE-0039-4797-B978-F453418260D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465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182880" indent="-137160" algn="l" defTabSz="914400" rtl="0" eaLnBrk="1" latinLnBrk="0" hangingPunct="1">
      <a:spcBef>
        <a:spcPts val="600"/>
      </a:spcBef>
      <a:buFont typeface="HP Simplified" panose="020B0604020204020204" pitchFamily="34" charset="0"/>
      <a:buChar char="•"/>
      <a:defRPr sz="1050" kern="1200">
        <a:solidFill>
          <a:schemeClr val="tx1"/>
        </a:solidFill>
        <a:latin typeface="+mn-lt"/>
        <a:ea typeface="+mn-ea"/>
        <a:cs typeface="+mn-cs"/>
      </a:defRPr>
    </a:lvl2pPr>
    <a:lvl3pPr marL="339725" indent="-104775" algn="l" defTabSz="914400" rtl="0" eaLnBrk="1" latinLnBrk="0" hangingPunct="1">
      <a:spcBef>
        <a:spcPts val="600"/>
      </a:spcBef>
      <a:buFont typeface="HP Simplified" panose="020B0604020204020204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15938" indent="-117475" algn="l" defTabSz="914400" rtl="0" eaLnBrk="1" latinLnBrk="0" hangingPunct="1">
      <a:spcBef>
        <a:spcPts val="600"/>
      </a:spcBef>
      <a:buFont typeface="HP Simplified" panose="020B0604020204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633413" indent="-117475" algn="l" defTabSz="914400" rtl="0" eaLnBrk="1" latinLnBrk="0" hangingPunct="1">
      <a:spcBef>
        <a:spcPts val="600"/>
      </a:spcBef>
      <a:buFont typeface="HP Simplified" panose="020B0604020204020204" pitchFamily="34" charset="0"/>
      <a:buChar char="–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400050" y="387350"/>
            <a:ext cx="4651375" cy="26162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3542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ecurity built</a:t>
            </a:r>
            <a:r>
              <a:rPr lang="en-US" baseline="0" dirty="0" smtClean="0"/>
              <a:t> into all layers, top layers depend on mechanisms in the bottom layers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47774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ome mechanisms are inside the machine. Some others will be outside– e.g., SIEM, DLP, AV,</a:t>
            </a:r>
            <a:r>
              <a:rPr lang="en-US" baseline="0" dirty="0" smtClean="0"/>
              <a:t> and other network based protection wont go away. But we can build the machine in a way to interact with these systems better. For example, better event generation for SIEM.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2646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calable – scales to all architectures</a:t>
            </a:r>
          </a:p>
          <a:p>
            <a:r>
              <a:rPr lang="en-US" dirty="0" smtClean="0"/>
              <a:t>Efficient – security doesn’t slow downs functionality,</a:t>
            </a:r>
            <a:r>
              <a:rPr lang="en-US" baseline="0" dirty="0" smtClean="0"/>
              <a:t> uses less energy</a:t>
            </a:r>
            <a:endParaRPr lang="en-US" dirty="0" smtClean="0"/>
          </a:p>
          <a:p>
            <a:r>
              <a:rPr lang="en-US" dirty="0" smtClean="0"/>
              <a:t>Resilient – hard to circumvent</a:t>
            </a:r>
          </a:p>
          <a:p>
            <a:r>
              <a:rPr lang="en-US" dirty="0" smtClean="0"/>
              <a:t>Manageable – easy to deploy and manage</a:t>
            </a:r>
            <a:endParaRPr lang="hi-IN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4772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or every layer in the stack and for P, D, R, we are looking at techniques</a:t>
            </a:r>
            <a:r>
              <a:rPr lang="en-US" baseline="0" dirty="0" smtClean="0"/>
              <a:t> that are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Ubiquitous – currently present in all systems, e.g., access control</a:t>
            </a:r>
          </a:p>
          <a:p>
            <a:r>
              <a:rPr lang="en-US" dirty="0" smtClean="0"/>
              <a:t>Emerging – not widely adopted, e.g.,</a:t>
            </a:r>
            <a:r>
              <a:rPr lang="en-US" baseline="0" dirty="0" smtClean="0"/>
              <a:t> firmware recovery</a:t>
            </a:r>
            <a:endParaRPr lang="en-US" dirty="0" smtClean="0"/>
          </a:p>
          <a:p>
            <a:r>
              <a:rPr lang="en-US" dirty="0" smtClean="0"/>
              <a:t>Research – still in research, e.g., think of something later</a:t>
            </a:r>
          </a:p>
          <a:p>
            <a:r>
              <a:rPr lang="en-US" dirty="0" smtClean="0"/>
              <a:t>New – techniques that we need to come</a:t>
            </a:r>
            <a:r>
              <a:rPr lang="en-US" baseline="0" dirty="0" smtClean="0"/>
              <a:t> up with for the new architecture, e.g., </a:t>
            </a:r>
            <a:r>
              <a:rPr lang="en-US" baseline="0" dirty="0" err="1" smtClean="0"/>
              <a:t>SoC</a:t>
            </a:r>
            <a:r>
              <a:rPr lang="en-US" baseline="0" dirty="0" smtClean="0"/>
              <a:t> level isolation</a:t>
            </a:r>
            <a:endParaRPr lang="hi-IN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1950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ive some examples of protection we are thinking about. Tell them WHAT we plan to do, but not HOW we do it.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4990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ich </a:t>
            </a:r>
            <a:r>
              <a:rPr lang="en-US" dirty="0" err="1" smtClean="0"/>
              <a:t>SoC</a:t>
            </a:r>
            <a:r>
              <a:rPr lang="en-US" dirty="0" smtClean="0"/>
              <a:t> accesses which memory (memory broker)</a:t>
            </a:r>
          </a:p>
          <a:p>
            <a:endParaRPr lang="en-US" dirty="0" smtClean="0"/>
          </a:p>
          <a:p>
            <a:r>
              <a:rPr lang="en-US" dirty="0" smtClean="0"/>
              <a:t>Traditional OS level access control on each </a:t>
            </a:r>
            <a:r>
              <a:rPr lang="en-US" dirty="0" err="1" smtClean="0"/>
              <a:t>SoC</a:t>
            </a:r>
            <a:endParaRPr lang="hi-IN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0448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ncryption of NVM</a:t>
            </a:r>
          </a:p>
          <a:p>
            <a:endParaRPr lang="en-US" dirty="0" smtClean="0"/>
          </a:p>
          <a:p>
            <a:r>
              <a:rPr lang="en-US" dirty="0" smtClean="0"/>
              <a:t>Encryption/integrity on the fabric</a:t>
            </a:r>
          </a:p>
          <a:p>
            <a:endParaRPr lang="en-US" dirty="0" smtClean="0"/>
          </a:p>
          <a:p>
            <a:r>
              <a:rPr lang="en-US" dirty="0" smtClean="0"/>
              <a:t>Process isolation and access control in OS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1063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ome examples of detection</a:t>
            </a:r>
            <a:r>
              <a:rPr lang="en-US" baseline="0" dirty="0" smtClean="0"/>
              <a:t>. Via monitoring/inspection. The key message is monitoring has to be tamper proof.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04752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eed a </a:t>
            </a:r>
            <a:r>
              <a:rPr lang="en-US" smtClean="0"/>
              <a:t>better picture</a:t>
            </a:r>
            <a:endParaRPr lang="hi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ome detection will happen outside the machine. How do we facilitate that. For example, how do we generate</a:t>
            </a:r>
            <a:r>
              <a:rPr lang="en-US" baseline="0" dirty="0" smtClean="0"/>
              <a:t> events and send them to the analytics system? How does the analytics system communicate remediation action to the machine? We are thinking about building APIs to facilitate these.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4460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0050" y="387350"/>
            <a:ext cx="4651375" cy="26162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4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Notes Placeholder 2"/>
          <p:cNvSpPr txBox="1">
            <a:spLocks/>
          </p:cNvSpPr>
          <p:nvPr/>
        </p:nvSpPr>
        <p:spPr>
          <a:xfrm>
            <a:off x="295667" y="4489386"/>
            <a:ext cx="6443417" cy="4623023"/>
          </a:xfrm>
          <a:prstGeom prst="rect">
            <a:avLst/>
          </a:prstGeom>
        </p:spPr>
        <p:txBody>
          <a:bodyPr lIns="94937" tIns="47470" rIns="94937" bIns="47470">
            <a:noAutofit/>
          </a:bodyPr>
          <a:lstStyle/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ne of the most popular questions I and my Lab Directors get is “What’s Labs done for us lately?”  </a:t>
            </a:r>
          </a:p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uccessful technology transfer is a key focus for us, and an important part of how we interact with the HP business units and ultimately HP customers.  Here are a few of our more recent results. </a:t>
            </a:r>
          </a:p>
          <a:p>
            <a:pPr marL="118672" indent="-118672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010 ePrint  -- 30 years ago, HP introduced Printer Command Language so PCs can talk to printers; ePrint lets you use any Web-connected printer anywhere. Take a photo on vacation and send it so it comes out of the printer at your Mom’s house -- easily without inputting IP addresses.   </a:t>
            </a:r>
          </a:p>
          <a:p>
            <a:pPr marL="118672" indent="-118672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011 MagCloud  pioneers a new era of self-service printing and distribution, where anyone can affordably turn content into professional publications in print or digital format. This technology has been used to create communications – many of them award-winning – that capture a moment and are ready in an instant.  </a:t>
            </a:r>
          </a:p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011 Pluribus/3D Photon technology: Immersive 3D that combines innovations in screen technology, software, and camera equipment so realistic that some viewers have tried to walk through the screen. </a:t>
            </a:r>
          </a:p>
          <a:p>
            <a:pPr marL="118672" indent="-118672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011 Memristor.  I mentioned Memristor earlier -- bringing this kind of breakthrough to market can typically take 15-20 years. HP is working with Hynix Semiconductor to commercialize memory chips with memristor technology to deliver a replacement for flash memory.  </a:t>
            </a:r>
          </a:p>
          <a:p>
            <a:pPr marL="118672" indent="-118672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2012 Project Moonshot: revolutionary new way to build servers based on low-powered chips with ARM or Intel Atom architectures, like those in cell phones and other mobile devices. Reduces costs by 50%, cut power consumption by nearly 90%, and reduces footprint of a server group by 80%. </a:t>
            </a:r>
          </a:p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hese successful transfers – and many more currently in the pipeline – are examples of how HP Labs is continuing a 45-year record of achievement…and driving the HP reputation for innovation into the future.  </a:t>
            </a:r>
          </a:p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hank you.  </a:t>
            </a:r>
            <a:r>
              <a:rPr lang="en-US" sz="11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endParaRPr lang="en-US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178007" indent="-178007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endParaRPr lang="en-US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62500" lnSpcReduction="20000"/>
          </a:bodyPr>
          <a:lstStyle/>
          <a:p>
            <a:pPr>
              <a:spcAft>
                <a:spcPts val="318"/>
              </a:spcAft>
            </a:pPr>
            <a:r>
              <a:rPr lang="en-US" dirty="0">
                <a:latin typeface="Arial" pitchFamily="34" charset="0"/>
                <a:cs typeface="Arial" pitchFamily="34" charset="0"/>
              </a:rPr>
              <a:t>HP Labs was formed over 45 years ago to give HP’s researchers a protected environment in which to do blue-sky research. This helps to avoid the Innovator’s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Dilemma.</a:t>
            </a:r>
            <a:r>
              <a:rPr lang="en-US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The </a:t>
            </a:r>
            <a:r>
              <a:rPr lang="en-US" dirty="0">
                <a:latin typeface="Arial" pitchFamily="34" charset="0"/>
                <a:cs typeface="Arial" pitchFamily="34" charset="0"/>
              </a:rPr>
              <a:t>result is a series of remarkable breakthroughs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Many people know HP as an iconic American company started by Dave Packard and Bill Hewlett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They know us by the famous garage that came to symbolize the most celebrated and productive concentration of innovation anywhere:  Silicon Valley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HP’s reputation is the result of 75 years of innovation, featuring over 45 years of achievement on the part of HP Labs. 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1968: First programmable scientific desktop calculator.  Virtually the first PC, the HP 9100A  solves science and engineering problems 10x faster than other machines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1972: First pocket scientific calculator, the HP-35 that fits in a shirt pocket.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1984: HP launches its first inkjet printer. Based on thermal inkjet technology from HPL, the </a:t>
            </a:r>
            <a:r>
              <a:rPr lang="en-US" dirty="0" err="1">
                <a:cs typeface="Arial" pitchFamily="34" charset="0"/>
              </a:rPr>
              <a:t>ThinkJet</a:t>
            </a:r>
            <a:r>
              <a:rPr lang="en-US" dirty="0">
                <a:cs typeface="Arial" pitchFamily="34" charset="0"/>
              </a:rPr>
              <a:t> is high-quality, low-cost and much quieter than noisy dot matrix models. 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1986: HP is first to commercialize Reduced Instruction Set Computing.  RISC is faster and more productive than previous generations of chips. 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1999:  HP and UCLA build first molecular logic gate, a key step in creating chemically assembled electronic </a:t>
            </a:r>
            <a:r>
              <a:rPr lang="en-US" dirty="0" err="1">
                <a:cs typeface="Arial" pitchFamily="34" charset="0"/>
              </a:rPr>
              <a:t>nanocomputers</a:t>
            </a:r>
            <a:r>
              <a:rPr lang="en-US" dirty="0">
                <a:cs typeface="Arial" pitchFamily="34" charset="0"/>
              </a:rPr>
              <a:t>.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02:  HPL creates technology for first rewritable DVD system (DVD+RW) compatible with standard DVD players.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endParaRPr lang="en-US" dirty="0">
              <a:cs typeface="Arial" pitchFamily="34" charset="0"/>
            </a:endParaRP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Successful technology transfer is a key focus for us, and an important part of how we interact with the HP business units and ultimately HP customers.  Here are a few of our more recent results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0 </a:t>
            </a:r>
            <a:r>
              <a:rPr lang="en-US" dirty="0" err="1">
                <a:cs typeface="Arial" pitchFamily="34" charset="0"/>
              </a:rPr>
              <a:t>ePrint</a:t>
            </a:r>
            <a:r>
              <a:rPr lang="en-US" dirty="0">
                <a:cs typeface="Arial" pitchFamily="34" charset="0"/>
              </a:rPr>
              <a:t>  -- 30 years ago, HP introduced Printer Command Language so PCs can talk to printers; </a:t>
            </a:r>
            <a:r>
              <a:rPr lang="en-US" dirty="0" err="1">
                <a:cs typeface="Arial" pitchFamily="34" charset="0"/>
              </a:rPr>
              <a:t>ePrint</a:t>
            </a:r>
            <a:r>
              <a:rPr lang="en-US" dirty="0">
                <a:cs typeface="Arial" pitchFamily="34" charset="0"/>
              </a:rPr>
              <a:t> lets you use any Web-connected printer anywhere. Take a photo on vacation and send it so it comes out of the printer at your Mom’s house -- easily without inputting IP addresses.  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1 MagCloud  pioneers a new era of self-service printing and distribution, where anyone can affordably turn content into professional publications in print or digital format. This technology has been used to create communications – many of them award-winning – that capture a moment and are ready in an instant. 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1 3D Photon Engine technology: Immersive 3D that combines innovations in screen technology, software, and camera equipment so realistic that some viewers have tried to walk through the screen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1 </a:t>
            </a:r>
            <a:r>
              <a:rPr lang="en-US" dirty="0" err="1">
                <a:cs typeface="Arial" pitchFamily="34" charset="0"/>
              </a:rPr>
              <a:t>StoreOnce</a:t>
            </a:r>
            <a:r>
              <a:rPr lang="en-US" dirty="0">
                <a:cs typeface="Arial" pitchFamily="34" charset="0"/>
              </a:rPr>
              <a:t>: </a:t>
            </a:r>
            <a:r>
              <a:rPr lang="en-US" dirty="0"/>
              <a:t>HP </a:t>
            </a:r>
            <a:r>
              <a:rPr lang="en-US" dirty="0" err="1"/>
              <a:t>StoreOnce</a:t>
            </a:r>
            <a:r>
              <a:rPr lang="en-US" dirty="0"/>
              <a:t> </a:t>
            </a:r>
            <a:r>
              <a:rPr lang="en-US" dirty="0" err="1"/>
              <a:t>deduplication</a:t>
            </a:r>
            <a:r>
              <a:rPr lang="en-US" dirty="0"/>
              <a:t> and HP </a:t>
            </a:r>
            <a:r>
              <a:rPr lang="en-US" dirty="0" err="1"/>
              <a:t>StoreOnce</a:t>
            </a:r>
            <a:r>
              <a:rPr lang="en-US" dirty="0"/>
              <a:t> Catalyst— using a single </a:t>
            </a:r>
            <a:r>
              <a:rPr lang="en-US" dirty="0" err="1"/>
              <a:t>deduplication</a:t>
            </a:r>
            <a:r>
              <a:rPr lang="en-US" dirty="0"/>
              <a:t> engine designed at HP Labs—deliver the first federated </a:t>
            </a:r>
            <a:r>
              <a:rPr lang="en-US" dirty="0" err="1"/>
              <a:t>deduplication</a:t>
            </a:r>
            <a:r>
              <a:rPr lang="en-US" dirty="0"/>
              <a:t> solution in the industry. Our more efficient approach optimizes backup processes, eliminates wasted resources, reduces network bandwidth costs, and improves backup throughput.</a:t>
            </a:r>
            <a:endParaRPr lang="en-US" dirty="0">
              <a:cs typeface="Arial" pitchFamily="34" charset="0"/>
            </a:endParaRP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2 </a:t>
            </a:r>
            <a:r>
              <a:rPr lang="en-US" dirty="0" err="1">
                <a:cs typeface="Arial" pitchFamily="34" charset="0"/>
              </a:rPr>
              <a:t>StoreAll</a:t>
            </a:r>
            <a:r>
              <a:rPr lang="en-US" dirty="0">
                <a:cs typeface="Arial" pitchFamily="34" charset="0"/>
              </a:rPr>
              <a:t> with Express Query: HP’s revolutionary </a:t>
            </a:r>
            <a:r>
              <a:rPr lang="en-US" dirty="0" err="1">
                <a:cs typeface="Arial" pitchFamily="34" charset="0"/>
              </a:rPr>
              <a:t>hyperscale</a:t>
            </a:r>
            <a:r>
              <a:rPr lang="en-US" dirty="0">
                <a:cs typeface="Arial" pitchFamily="34" charset="0"/>
              </a:rPr>
              <a:t> storage platform provides massive scalability and structure to unstructured data, with </a:t>
            </a:r>
            <a:r>
              <a:rPr lang="en-US" dirty="0"/>
              <a:t>Express Query from HP Labs, that lets you access billions of files in minutes.</a:t>
            </a:r>
            <a:endParaRPr lang="en-US" dirty="0">
              <a:cs typeface="Arial" pitchFamily="34" charset="0"/>
            </a:endParaRP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3 Project Moonshot: revolutionary new way to build servers based on low-powered chips with ARM or Intel Atom architectures, like those in cell phones and other mobile devices. Reduces costs by 50%, cuts power consumption by nearly 90%, and reduces footprint of a server group by 80%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3 HP SureStart: a first of its kind technology that helps businesses protect against malicious attacks or malfunctions. The product of a long-standing collaboration between HP Labs and HP’s Business PC division, HP SureStart works with HP </a:t>
            </a:r>
            <a:r>
              <a:rPr lang="en-US" dirty="0" err="1">
                <a:cs typeface="Arial" pitchFamily="34" charset="0"/>
              </a:rPr>
              <a:t>BIOSphere</a:t>
            </a:r>
            <a:r>
              <a:rPr lang="en-US" dirty="0">
                <a:cs typeface="Arial" pitchFamily="34" charset="0"/>
              </a:rPr>
              <a:t>, the company’s industry-leading firmware ecosystem, to automatically restore a system’s BIOS firmware to its previously safe state if attacked or corrupted.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These successful transfers – and many more currently in the pipeline – are examples of how HP Labs is continuing a 45-year record of achievement…and driving the HP reputation for innovation into the future.</a:t>
            </a:r>
          </a:p>
        </p:txBody>
      </p:sp>
    </p:spTree>
    <p:extLst>
      <p:ext uri="{BB962C8B-B14F-4D97-AF65-F5344CB8AC3E}">
        <p14:creationId xmlns:p14="http://schemas.microsoft.com/office/powerpoint/2010/main" val="15189909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49">
              <a:spcBef>
                <a:spcPts val="0"/>
              </a:spcBef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</a:rPr>
              <a:pPr/>
              <a:t>2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08676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2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9076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2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400050" y="387350"/>
            <a:ext cx="4651375" cy="26162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90705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0050" y="387350"/>
            <a:ext cx="4651375" cy="26162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30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Notes Placeholder 2"/>
          <p:cNvSpPr txBox="1">
            <a:spLocks/>
          </p:cNvSpPr>
          <p:nvPr/>
        </p:nvSpPr>
        <p:spPr>
          <a:xfrm>
            <a:off x="295667" y="4489386"/>
            <a:ext cx="6443417" cy="4623023"/>
          </a:xfrm>
          <a:prstGeom prst="rect">
            <a:avLst/>
          </a:prstGeom>
        </p:spPr>
        <p:txBody>
          <a:bodyPr lIns="94937" tIns="47470" rIns="94937" bIns="47470">
            <a:noAutofit/>
          </a:bodyPr>
          <a:lstStyle/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ne of the most popular questions I and my Lab Directors get is “What’s Labs done for us lately?”  </a:t>
            </a:r>
          </a:p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uccessful technology transfer is a key focus for us, and an important part of how we interact with the HP business units and ultimately HP customers.  Here are a few of our more recent results. </a:t>
            </a:r>
          </a:p>
          <a:p>
            <a:pPr marL="118672" indent="-118672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010 ePrint  -- 30 years ago, HP introduced Printer Command Language so PCs can talk to printers; ePrint lets you use any Web-connected printer anywhere. Take a photo on vacation and send it so it comes out of the printer at your Mom’s house -- easily without inputting IP addresses.   </a:t>
            </a:r>
          </a:p>
          <a:p>
            <a:pPr marL="118672" indent="-118672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011 MagCloud  pioneers a new era of self-service printing and distribution, where anyone can affordably turn content into professional publications in print or digital format. This technology has been used to create communications – many of them award-winning – that capture a moment and are ready in an instant.  </a:t>
            </a:r>
          </a:p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011 Pluribus/3D Photon technology: Immersive 3D that combines innovations in screen technology, software, and camera equipment so realistic that some viewers have tried to walk through the screen. </a:t>
            </a:r>
          </a:p>
          <a:p>
            <a:pPr marL="118672" indent="-118672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011 Memristor.  I mentioned Memristor earlier -- bringing this kind of breakthrough to market can typically take 15-20 years. HP is working with Hynix Semiconductor to commercialize memory chips with memristor technology to deliver a replacement for flash memory.  </a:t>
            </a:r>
          </a:p>
          <a:p>
            <a:pPr marL="118672" indent="-118672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2012 Project Moonshot: revolutionary new way to build servers based on low-powered chips with ARM or Intel Atom architectures, like those in cell phones and other mobile devices. Reduces costs by 50%, cut power consumption by nearly 90%, and reduces footprint of a server group by 80%. </a:t>
            </a:r>
          </a:p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hese successful transfers – and many more currently in the pipeline – are examples of how HP Labs is continuing a 45-year record of achievement…and driving the HP reputation for innovation into the future.  </a:t>
            </a:r>
          </a:p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hank you.  </a:t>
            </a:r>
            <a:r>
              <a:rPr lang="en-US" sz="11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endParaRPr lang="en-US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178007" indent="-178007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endParaRPr lang="en-US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62500" lnSpcReduction="20000"/>
          </a:bodyPr>
          <a:lstStyle/>
          <a:p>
            <a:pPr>
              <a:spcAft>
                <a:spcPts val="318"/>
              </a:spcAft>
            </a:pPr>
            <a:r>
              <a:rPr lang="en-US" dirty="0">
                <a:latin typeface="Arial" pitchFamily="34" charset="0"/>
                <a:cs typeface="Arial" pitchFamily="34" charset="0"/>
              </a:rPr>
              <a:t>HP Labs was formed over 45 years ago to give HP’s researchers a protected environment in which to do blue-sky research. This helps to avoid the Innovator’s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Dilemma.</a:t>
            </a:r>
            <a:r>
              <a:rPr lang="en-US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The </a:t>
            </a:r>
            <a:r>
              <a:rPr lang="en-US" dirty="0">
                <a:latin typeface="Arial" pitchFamily="34" charset="0"/>
                <a:cs typeface="Arial" pitchFamily="34" charset="0"/>
              </a:rPr>
              <a:t>result is a series of remarkable breakthroughs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Many people know HP as an iconic American company started by Dave Packard and Bill Hewlett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They know us by the famous garage that came to symbolize the most celebrated and productive concentration of innovation anywhere:  Silicon Valley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HP’s reputation is the result of 75 years of innovation, featuring over 45 years of achievement on the part of HP Labs. 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1968: First programmable scientific desktop calculator.  Virtually the first PC, the HP 9100A  solves science and engineering problems 10x faster than other machines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1972: First pocket scientific calculator, the HP-35 that fits in a shirt pocket.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1984: HP launches its first inkjet printer. Based on thermal inkjet technology from HPL, the </a:t>
            </a:r>
            <a:r>
              <a:rPr lang="en-US" dirty="0" err="1">
                <a:cs typeface="Arial" pitchFamily="34" charset="0"/>
              </a:rPr>
              <a:t>ThinkJet</a:t>
            </a:r>
            <a:r>
              <a:rPr lang="en-US" dirty="0">
                <a:cs typeface="Arial" pitchFamily="34" charset="0"/>
              </a:rPr>
              <a:t> is high-quality, low-cost and much quieter than noisy dot matrix models. 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1986: HP is first to commercialize Reduced Instruction Set Computing.  RISC is faster and more productive than previous generations of chips. 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1999:  HP and UCLA build first molecular logic gate, a key step in creating chemically assembled electronic </a:t>
            </a:r>
            <a:r>
              <a:rPr lang="en-US" dirty="0" err="1">
                <a:cs typeface="Arial" pitchFamily="34" charset="0"/>
              </a:rPr>
              <a:t>nanocomputers</a:t>
            </a:r>
            <a:r>
              <a:rPr lang="en-US" dirty="0">
                <a:cs typeface="Arial" pitchFamily="34" charset="0"/>
              </a:rPr>
              <a:t>.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02:  HPL creates technology for first rewritable DVD system (DVD+RW) compatible with standard DVD players.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endParaRPr lang="en-US" dirty="0">
              <a:cs typeface="Arial" pitchFamily="34" charset="0"/>
            </a:endParaRP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Successful technology transfer is a key focus for us, and an important part of how we interact with the HP business units and ultimately HP customers.  Here are a few of our more recent results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0 </a:t>
            </a:r>
            <a:r>
              <a:rPr lang="en-US" dirty="0" err="1">
                <a:cs typeface="Arial" pitchFamily="34" charset="0"/>
              </a:rPr>
              <a:t>ePrint</a:t>
            </a:r>
            <a:r>
              <a:rPr lang="en-US" dirty="0">
                <a:cs typeface="Arial" pitchFamily="34" charset="0"/>
              </a:rPr>
              <a:t>  -- 30 years ago, HP introduced Printer Command Language so PCs can talk to printers; </a:t>
            </a:r>
            <a:r>
              <a:rPr lang="en-US" dirty="0" err="1">
                <a:cs typeface="Arial" pitchFamily="34" charset="0"/>
              </a:rPr>
              <a:t>ePrint</a:t>
            </a:r>
            <a:r>
              <a:rPr lang="en-US" dirty="0">
                <a:cs typeface="Arial" pitchFamily="34" charset="0"/>
              </a:rPr>
              <a:t> lets you use any Web-connected printer anywhere. Take a photo on vacation and send it so it comes out of the printer at your Mom’s house -- easily without inputting IP addresses.  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1 MagCloud  pioneers a new era of self-service printing and distribution, where anyone can affordably turn content into professional publications in print or digital format. This technology has been used to create communications – many of them award-winning – that capture a moment and are ready in an instant. 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1 3D Photon Engine technology: Immersive 3D that combines innovations in screen technology, software, and camera equipment so realistic that some viewers have tried to walk through the screen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1 </a:t>
            </a:r>
            <a:r>
              <a:rPr lang="en-US" dirty="0" err="1">
                <a:cs typeface="Arial" pitchFamily="34" charset="0"/>
              </a:rPr>
              <a:t>StoreOnce</a:t>
            </a:r>
            <a:r>
              <a:rPr lang="en-US" dirty="0">
                <a:cs typeface="Arial" pitchFamily="34" charset="0"/>
              </a:rPr>
              <a:t>: </a:t>
            </a:r>
            <a:r>
              <a:rPr lang="en-US" dirty="0"/>
              <a:t>HP </a:t>
            </a:r>
            <a:r>
              <a:rPr lang="en-US" dirty="0" err="1"/>
              <a:t>StoreOnce</a:t>
            </a:r>
            <a:r>
              <a:rPr lang="en-US" dirty="0"/>
              <a:t> </a:t>
            </a:r>
            <a:r>
              <a:rPr lang="en-US" dirty="0" err="1"/>
              <a:t>deduplication</a:t>
            </a:r>
            <a:r>
              <a:rPr lang="en-US" dirty="0"/>
              <a:t> and HP </a:t>
            </a:r>
            <a:r>
              <a:rPr lang="en-US" dirty="0" err="1"/>
              <a:t>StoreOnce</a:t>
            </a:r>
            <a:r>
              <a:rPr lang="en-US" dirty="0"/>
              <a:t> Catalyst— using a single </a:t>
            </a:r>
            <a:r>
              <a:rPr lang="en-US" dirty="0" err="1"/>
              <a:t>deduplication</a:t>
            </a:r>
            <a:r>
              <a:rPr lang="en-US" dirty="0"/>
              <a:t> engine designed at HP Labs—deliver the first federated </a:t>
            </a:r>
            <a:r>
              <a:rPr lang="en-US" dirty="0" err="1"/>
              <a:t>deduplication</a:t>
            </a:r>
            <a:r>
              <a:rPr lang="en-US" dirty="0"/>
              <a:t> solution in the industry. Our more efficient approach optimizes backup processes, eliminates wasted resources, reduces network bandwidth costs, and improves backup throughput.</a:t>
            </a:r>
            <a:endParaRPr lang="en-US" dirty="0">
              <a:cs typeface="Arial" pitchFamily="34" charset="0"/>
            </a:endParaRP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2 </a:t>
            </a:r>
            <a:r>
              <a:rPr lang="en-US" dirty="0" err="1">
                <a:cs typeface="Arial" pitchFamily="34" charset="0"/>
              </a:rPr>
              <a:t>StoreAll</a:t>
            </a:r>
            <a:r>
              <a:rPr lang="en-US" dirty="0">
                <a:cs typeface="Arial" pitchFamily="34" charset="0"/>
              </a:rPr>
              <a:t> with Express Query: HP’s revolutionary </a:t>
            </a:r>
            <a:r>
              <a:rPr lang="en-US" dirty="0" err="1">
                <a:cs typeface="Arial" pitchFamily="34" charset="0"/>
              </a:rPr>
              <a:t>hyperscale</a:t>
            </a:r>
            <a:r>
              <a:rPr lang="en-US" dirty="0">
                <a:cs typeface="Arial" pitchFamily="34" charset="0"/>
              </a:rPr>
              <a:t> storage platform provides massive scalability and structure to unstructured data, with </a:t>
            </a:r>
            <a:r>
              <a:rPr lang="en-US" dirty="0"/>
              <a:t>Express Query from HP Labs, that lets you access billions of files in minutes.</a:t>
            </a:r>
            <a:endParaRPr lang="en-US" dirty="0">
              <a:cs typeface="Arial" pitchFamily="34" charset="0"/>
            </a:endParaRP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3 Project Moonshot: revolutionary new way to build servers based on low-powered chips with ARM or Intel Atom architectures, like those in cell phones and other mobile devices. Reduces costs by 50%, cuts power consumption by nearly 90%, and reduces footprint of a server group by 80%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3 HP SureStart: a first of its kind technology that helps businesses protect against malicious attacks or malfunctions. The product of a long-standing collaboration between HP Labs and HP’s Business PC division, HP SureStart works with HP </a:t>
            </a:r>
            <a:r>
              <a:rPr lang="en-US" dirty="0" err="1">
                <a:cs typeface="Arial" pitchFamily="34" charset="0"/>
              </a:rPr>
              <a:t>BIOSphere</a:t>
            </a:r>
            <a:r>
              <a:rPr lang="en-US" dirty="0">
                <a:cs typeface="Arial" pitchFamily="34" charset="0"/>
              </a:rPr>
              <a:t>, the company’s industry-leading firmware ecosystem, to automatically restore a system’s BIOS firmware to its previously safe state if attacked or corrupted.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These successful transfers – and many more currently in the pipeline – are examples of how HP Labs is continuing a 45-year record of achievement…and driving the HP reputation for innovation into the future.</a:t>
            </a:r>
          </a:p>
        </p:txBody>
      </p:sp>
    </p:spTree>
    <p:extLst>
      <p:ext uri="{BB962C8B-B14F-4D97-AF65-F5344CB8AC3E}">
        <p14:creationId xmlns:p14="http://schemas.microsoft.com/office/powerpoint/2010/main" val="283055859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0050" y="387350"/>
            <a:ext cx="4651375" cy="26162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31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Notes Placeholder 2"/>
          <p:cNvSpPr txBox="1">
            <a:spLocks/>
          </p:cNvSpPr>
          <p:nvPr/>
        </p:nvSpPr>
        <p:spPr>
          <a:xfrm>
            <a:off x="295667" y="4489386"/>
            <a:ext cx="6443417" cy="4623023"/>
          </a:xfrm>
          <a:prstGeom prst="rect">
            <a:avLst/>
          </a:prstGeom>
        </p:spPr>
        <p:txBody>
          <a:bodyPr lIns="94937" tIns="47470" rIns="94937" bIns="47470">
            <a:noAutofit/>
          </a:bodyPr>
          <a:lstStyle/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ne of the most popular questions I and my Lab Directors get is “What’s Labs done for us lately?”  </a:t>
            </a:r>
          </a:p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uccessful technology transfer is a key focus for us, and an important part of how we interact with the HP business units and ultimately HP customers.  Here are a few of our more recent results. </a:t>
            </a:r>
          </a:p>
          <a:p>
            <a:pPr marL="118672" indent="-118672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010 ePrint  -- 30 years ago, HP introduced Printer Command Language so PCs can talk to printers; ePrint lets you use any Web-connected printer anywhere. Take a photo on vacation and send it so it comes out of the printer at your Mom’s house -- easily without inputting IP addresses.   </a:t>
            </a:r>
          </a:p>
          <a:p>
            <a:pPr marL="118672" indent="-118672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011 MagCloud  pioneers a new era of self-service printing and distribution, where anyone can affordably turn content into professional publications in print or digital format. This technology has been used to create communications – many of them award-winning – that capture a moment and are ready in an instant.  </a:t>
            </a:r>
          </a:p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011 Pluribus/3D Photon technology: Immersive 3D that combines innovations in screen technology, software, and camera equipment so realistic that some viewers have tried to walk through the screen. </a:t>
            </a:r>
          </a:p>
          <a:p>
            <a:pPr marL="118672" indent="-118672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011 Memristor.  I mentioned Memristor earlier -- bringing this kind of breakthrough to market can typically take 15-20 years. HP is working with Hynix Semiconductor to commercialize memory chips with memristor technology to deliver a replacement for flash memory.  </a:t>
            </a:r>
          </a:p>
          <a:p>
            <a:pPr marL="118672" indent="-118672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2012 Project Moonshot: revolutionary new way to build servers based on low-powered chips with ARM or Intel Atom architectures, like those in cell phones and other mobile devices. Reduces costs by 50%, cut power consumption by nearly 90%, and reduces footprint of a server group by 80%. </a:t>
            </a:r>
          </a:p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hese successful transfers – and many more currently in the pipeline – are examples of how HP Labs is continuing a 45-year record of achievement…and driving the HP reputation for innovation into the future.  </a:t>
            </a:r>
          </a:p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hank you.  </a:t>
            </a:r>
            <a:r>
              <a:rPr lang="en-US" sz="11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118672" indent="-118672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endParaRPr lang="en-US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178007" indent="-178007" defTabSz="949374">
              <a:spcBef>
                <a:spcPts val="510"/>
              </a:spcBef>
              <a:buFont typeface="Arial" pitchFamily="34" charset="0"/>
              <a:buChar char="•"/>
              <a:defRPr/>
            </a:pPr>
            <a:endParaRPr lang="en-US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62500" lnSpcReduction="20000"/>
          </a:bodyPr>
          <a:lstStyle/>
          <a:p>
            <a:pPr>
              <a:spcAft>
                <a:spcPts val="318"/>
              </a:spcAft>
            </a:pPr>
            <a:r>
              <a:rPr lang="en-US" dirty="0">
                <a:latin typeface="Arial" pitchFamily="34" charset="0"/>
                <a:cs typeface="Arial" pitchFamily="34" charset="0"/>
              </a:rPr>
              <a:t>HP Labs was formed over 45 years ago to give HP’s researchers a protected environment in which to do blue-sky research. This helps to avoid the Innovator’s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Dilemma.</a:t>
            </a:r>
            <a:r>
              <a:rPr lang="en-US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The </a:t>
            </a:r>
            <a:r>
              <a:rPr lang="en-US" dirty="0">
                <a:latin typeface="Arial" pitchFamily="34" charset="0"/>
                <a:cs typeface="Arial" pitchFamily="34" charset="0"/>
              </a:rPr>
              <a:t>result is a series of remarkable breakthroughs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Many people know HP as an iconic American company started by Dave Packard and Bill Hewlett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They know us by the famous garage that came to symbolize the most celebrated and productive concentration of innovation anywhere:  Silicon Valley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HP’s reputation is the result of 75 years of innovation, featuring over 45 years of achievement on the part of HP Labs. 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1968: First programmable scientific desktop calculator.  Virtually the first PC, the HP 9100A  solves science and engineering problems 10x faster than other machines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1972: First pocket scientific calculator, the HP-35 that fits in a shirt pocket.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1984: HP launches its first inkjet printer. Based on thermal inkjet technology from HPL, the </a:t>
            </a:r>
            <a:r>
              <a:rPr lang="en-US" dirty="0" err="1">
                <a:cs typeface="Arial" pitchFamily="34" charset="0"/>
              </a:rPr>
              <a:t>ThinkJet</a:t>
            </a:r>
            <a:r>
              <a:rPr lang="en-US" dirty="0">
                <a:cs typeface="Arial" pitchFamily="34" charset="0"/>
              </a:rPr>
              <a:t> is high-quality, low-cost and much quieter than noisy dot matrix models. 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1986: HP is first to commercialize Reduced Instruction Set Computing.  RISC is faster and more productive than previous generations of chips. 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1999:  HP and UCLA build first molecular logic gate, a key step in creating chemically assembled electronic </a:t>
            </a:r>
            <a:r>
              <a:rPr lang="en-US" dirty="0" err="1">
                <a:cs typeface="Arial" pitchFamily="34" charset="0"/>
              </a:rPr>
              <a:t>nanocomputers</a:t>
            </a:r>
            <a:r>
              <a:rPr lang="en-US" dirty="0">
                <a:cs typeface="Arial" pitchFamily="34" charset="0"/>
              </a:rPr>
              <a:t>.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02:  HPL creates technology for first rewritable DVD system (DVD+RW) compatible with standard DVD players.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endParaRPr lang="en-US" dirty="0">
              <a:cs typeface="Arial" pitchFamily="34" charset="0"/>
            </a:endParaRP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Successful technology transfer is a key focus for us, and an important part of how we interact with the HP business units and ultimately HP customers.  Here are a few of our more recent results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0 </a:t>
            </a:r>
            <a:r>
              <a:rPr lang="en-US" dirty="0" err="1">
                <a:cs typeface="Arial" pitchFamily="34" charset="0"/>
              </a:rPr>
              <a:t>ePrint</a:t>
            </a:r>
            <a:r>
              <a:rPr lang="en-US" dirty="0">
                <a:cs typeface="Arial" pitchFamily="34" charset="0"/>
              </a:rPr>
              <a:t>  -- 30 years ago, HP introduced Printer Command Language so PCs can talk to printers; </a:t>
            </a:r>
            <a:r>
              <a:rPr lang="en-US" dirty="0" err="1">
                <a:cs typeface="Arial" pitchFamily="34" charset="0"/>
              </a:rPr>
              <a:t>ePrint</a:t>
            </a:r>
            <a:r>
              <a:rPr lang="en-US" dirty="0">
                <a:cs typeface="Arial" pitchFamily="34" charset="0"/>
              </a:rPr>
              <a:t> lets you use any Web-connected printer anywhere. Take a photo on vacation and send it so it comes out of the printer at your Mom’s house -- easily without inputting IP addresses.  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1 MagCloud  pioneers a new era of self-service printing and distribution, where anyone can affordably turn content into professional publications in print or digital format. This technology has been used to create communications – many of them award-winning – that capture a moment and are ready in an instant. 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1 3D Photon Engine technology: Immersive 3D that combines innovations in screen technology, software, and camera equipment so realistic that some viewers have tried to walk through the screen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1 </a:t>
            </a:r>
            <a:r>
              <a:rPr lang="en-US" dirty="0" err="1">
                <a:cs typeface="Arial" pitchFamily="34" charset="0"/>
              </a:rPr>
              <a:t>StoreOnce</a:t>
            </a:r>
            <a:r>
              <a:rPr lang="en-US" dirty="0">
                <a:cs typeface="Arial" pitchFamily="34" charset="0"/>
              </a:rPr>
              <a:t>: </a:t>
            </a:r>
            <a:r>
              <a:rPr lang="en-US" dirty="0"/>
              <a:t>HP </a:t>
            </a:r>
            <a:r>
              <a:rPr lang="en-US" dirty="0" err="1"/>
              <a:t>StoreOnce</a:t>
            </a:r>
            <a:r>
              <a:rPr lang="en-US" dirty="0"/>
              <a:t> </a:t>
            </a:r>
            <a:r>
              <a:rPr lang="en-US" dirty="0" err="1"/>
              <a:t>deduplication</a:t>
            </a:r>
            <a:r>
              <a:rPr lang="en-US" dirty="0"/>
              <a:t> and HP </a:t>
            </a:r>
            <a:r>
              <a:rPr lang="en-US" dirty="0" err="1"/>
              <a:t>StoreOnce</a:t>
            </a:r>
            <a:r>
              <a:rPr lang="en-US" dirty="0"/>
              <a:t> Catalyst— using a single </a:t>
            </a:r>
            <a:r>
              <a:rPr lang="en-US" dirty="0" err="1"/>
              <a:t>deduplication</a:t>
            </a:r>
            <a:r>
              <a:rPr lang="en-US" dirty="0"/>
              <a:t> engine designed at HP Labs—deliver the first federated </a:t>
            </a:r>
            <a:r>
              <a:rPr lang="en-US" dirty="0" err="1"/>
              <a:t>deduplication</a:t>
            </a:r>
            <a:r>
              <a:rPr lang="en-US" dirty="0"/>
              <a:t> solution in the industry. Our more efficient approach optimizes backup processes, eliminates wasted resources, reduces network bandwidth costs, and improves backup throughput.</a:t>
            </a:r>
            <a:endParaRPr lang="en-US" dirty="0">
              <a:cs typeface="Arial" pitchFamily="34" charset="0"/>
            </a:endParaRP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2 </a:t>
            </a:r>
            <a:r>
              <a:rPr lang="en-US" dirty="0" err="1">
                <a:cs typeface="Arial" pitchFamily="34" charset="0"/>
              </a:rPr>
              <a:t>StoreAll</a:t>
            </a:r>
            <a:r>
              <a:rPr lang="en-US" dirty="0">
                <a:cs typeface="Arial" pitchFamily="34" charset="0"/>
              </a:rPr>
              <a:t> with Express Query: HP’s revolutionary </a:t>
            </a:r>
            <a:r>
              <a:rPr lang="en-US" dirty="0" err="1">
                <a:cs typeface="Arial" pitchFamily="34" charset="0"/>
              </a:rPr>
              <a:t>hyperscale</a:t>
            </a:r>
            <a:r>
              <a:rPr lang="en-US" dirty="0">
                <a:cs typeface="Arial" pitchFamily="34" charset="0"/>
              </a:rPr>
              <a:t> storage platform provides massive scalability and structure to unstructured data, with </a:t>
            </a:r>
            <a:r>
              <a:rPr lang="en-US" dirty="0"/>
              <a:t>Express Query from HP Labs, that lets you access billions of files in minutes.</a:t>
            </a:r>
            <a:endParaRPr lang="en-US" dirty="0">
              <a:cs typeface="Arial" pitchFamily="34" charset="0"/>
            </a:endParaRP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3 Project Moonshot: revolutionary new way to build servers based on low-powered chips with ARM or Intel Atom architectures, like those in cell phones and other mobile devices. Reduces costs by 50%, cuts power consumption by nearly 90%, and reduces footprint of a server group by 80%. 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2013 HP SureStart: a first of its kind technology that helps businesses protect against malicious attacks or malfunctions. The product of a long-standing collaboration between HP Labs and HP’s Business PC division, HP SureStart works with HP </a:t>
            </a:r>
            <a:r>
              <a:rPr lang="en-US" dirty="0" err="1">
                <a:cs typeface="Arial" pitchFamily="34" charset="0"/>
              </a:rPr>
              <a:t>BIOSphere</a:t>
            </a:r>
            <a:r>
              <a:rPr lang="en-US" dirty="0">
                <a:cs typeface="Arial" pitchFamily="34" charset="0"/>
              </a:rPr>
              <a:t>, the company’s industry-leading firmware ecosystem, to automatically restore a system’s BIOS firmware to its previously safe state if attacked or corrupted.</a:t>
            </a:r>
          </a:p>
          <a:p>
            <a:pPr marL="122620" indent="-122620">
              <a:spcAft>
                <a:spcPts val="330"/>
              </a:spcAft>
              <a:buFont typeface="Arial" pitchFamily="34" charset="0"/>
              <a:buChar char="•"/>
            </a:pPr>
            <a:r>
              <a:rPr lang="en-US" dirty="0">
                <a:cs typeface="Arial" pitchFamily="34" charset="0"/>
              </a:rPr>
              <a:t>These successful transfers – and many more currently in the pipeline – are examples of how HP Labs is continuing a 45-year record of achievement…and driving the HP reputation for innovation into the future.</a:t>
            </a:r>
          </a:p>
        </p:txBody>
      </p:sp>
    </p:spTree>
    <p:extLst>
      <p:ext uri="{BB962C8B-B14F-4D97-AF65-F5344CB8AC3E}">
        <p14:creationId xmlns:p14="http://schemas.microsoft.com/office/powerpoint/2010/main" val="267434347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0050" y="387350"/>
            <a:ext cx="4651375" cy="2616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8027" indent="-178027" defTabSz="438363">
              <a:spcAft>
                <a:spcPts val="408"/>
              </a:spcAft>
              <a:buSzPct val="100000"/>
              <a:buFont typeface="Arial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Where </a:t>
            </a:r>
            <a:r>
              <a:rPr lang="en-US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do we innovate to bring value and when to we leverage the broader ecosystem?</a:t>
            </a:r>
          </a:p>
          <a:p>
            <a:pPr marL="178027" indent="-178027" defTabSz="438363">
              <a:spcAft>
                <a:spcPts val="408"/>
              </a:spcAft>
              <a:buSzPct val="100000"/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When do we go deep? When we’re the only ones</a:t>
            </a:r>
          </a:p>
          <a:p>
            <a:pPr marL="178027" indent="-178027" defTabSz="438363">
              <a:spcAft>
                <a:spcPts val="408"/>
              </a:spcAft>
              <a:buSzPct val="100000"/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When do we leverage? When building on the work of others brings better </a:t>
            </a:r>
            <a:r>
              <a:rPr lang="en-US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results</a:t>
            </a:r>
            <a:endParaRPr lang="en-US" dirty="0">
              <a:solidFill>
                <a:srgbClr val="000000"/>
              </a:solidFill>
              <a:latin typeface="HP Simplified" pitchFamily="34" charset="0"/>
              <a:cs typeface="HP Simplified" pitchFamily="34" charset="0"/>
            </a:endParaRPr>
          </a:p>
          <a:p>
            <a:pPr defTabSz="438363">
              <a:spcAft>
                <a:spcPts val="408"/>
              </a:spcAft>
              <a:buSzPct val="100000"/>
            </a:pPr>
            <a:endParaRPr lang="en-US" dirty="0">
              <a:solidFill>
                <a:srgbClr val="000000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32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357471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 is the machine? What does it do?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3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86330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 smtClean="0">
                <a:latin typeface="HP Simplified"/>
                <a:cs typeface="HP Simplified"/>
              </a:rPr>
              <a:t>How does</a:t>
            </a:r>
            <a:r>
              <a:rPr lang="en-US" sz="1200" baseline="0" dirty="0" smtClean="0">
                <a:latin typeface="HP Simplified"/>
                <a:cs typeface="HP Simplified"/>
              </a:rPr>
              <a:t> it do it?</a:t>
            </a:r>
          </a:p>
          <a:p>
            <a:endParaRPr lang="en-US" sz="1200" baseline="0" dirty="0" smtClean="0">
              <a:latin typeface="HP Simplified"/>
              <a:cs typeface="HP Simplified"/>
            </a:endParaRPr>
          </a:p>
          <a:p>
            <a:r>
              <a:rPr lang="en-US" sz="1200" baseline="0" dirty="0" smtClean="0">
                <a:latin typeface="HP Simplified"/>
                <a:cs typeface="HP Simplified"/>
              </a:rPr>
              <a:t>---</a:t>
            </a:r>
            <a:endParaRPr lang="en-US" sz="1200" dirty="0" smtClean="0">
              <a:latin typeface="HP Simplified"/>
              <a:cs typeface="HP Simplified"/>
            </a:endParaRPr>
          </a:p>
          <a:p>
            <a:endParaRPr lang="en-US" sz="1200" dirty="0" smtClean="0">
              <a:latin typeface="HP Simplified"/>
              <a:cs typeface="HP Simplified"/>
            </a:endParaRPr>
          </a:p>
          <a:p>
            <a:r>
              <a:rPr lang="en-US" sz="1200" dirty="0" smtClean="0">
                <a:latin typeface="HP Simplified"/>
                <a:cs typeface="HP Simplified"/>
              </a:rPr>
              <a:t>This </a:t>
            </a:r>
            <a:r>
              <a:rPr lang="en-US" sz="1200" dirty="0">
                <a:latin typeface="HP Simplified"/>
                <a:cs typeface="HP Simplified"/>
              </a:rPr>
              <a:t>is what we’re building.</a:t>
            </a:r>
          </a:p>
          <a:p>
            <a:r>
              <a:rPr lang="en-US" sz="1200" dirty="0" err="1">
                <a:latin typeface="HP Simplified"/>
                <a:cs typeface="HP Simplified"/>
              </a:rPr>
              <a:t>SoC</a:t>
            </a:r>
            <a:r>
              <a:rPr lang="en-US" sz="1200" dirty="0">
                <a:latin typeface="HP Simplified"/>
                <a:cs typeface="HP Simplified"/>
              </a:rPr>
              <a:t>, universal memory and photonics are the key parts of the architecture of the future</a:t>
            </a:r>
          </a:p>
          <a:p>
            <a:r>
              <a:rPr lang="en-US" sz="1200" dirty="0">
                <a:latin typeface="HP Simplified"/>
                <a:cs typeface="HP Simplified"/>
              </a:rPr>
              <a:t>With this architecture, we can ingest, store and manipulate truly massive datasets while simultaneously achieving multiple orders of magnitude less energy/b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34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1083580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 do we mean by security for the machine? What does it mean for the customer or</a:t>
            </a:r>
            <a:r>
              <a:rPr lang="en-US" baseline="0" dirty="0" smtClean="0"/>
              <a:t> end user? </a:t>
            </a:r>
          </a:p>
          <a:p>
            <a:endParaRPr lang="en-US" baseline="0" dirty="0" smtClean="0"/>
          </a:p>
          <a:p>
            <a:r>
              <a:rPr lang="en-US" baseline="0" dirty="0" smtClean="0"/>
              <a:t>--</a:t>
            </a:r>
          </a:p>
          <a:p>
            <a:endParaRPr lang="en-US" baseline="0" dirty="0" smtClean="0"/>
          </a:p>
          <a:p>
            <a:r>
              <a:rPr lang="en-US" baseline="0" dirty="0" smtClean="0"/>
              <a:t>It certainly doesn’t cover all the security work we do. But I wanted to keep it simple in the beginning, and accessible to a general audience without any background in security.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3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09376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ny components to secure</a:t>
            </a:r>
          </a:p>
          <a:p>
            <a:r>
              <a:rPr lang="en-US" dirty="0" smtClean="0"/>
              <a:t>New architecture brings new security problems</a:t>
            </a:r>
          </a:p>
          <a:p>
            <a:r>
              <a:rPr lang="en-US" dirty="0" smtClean="0"/>
              <a:t>OS control points may vanish</a:t>
            </a:r>
          </a:p>
          <a:p>
            <a:r>
              <a:rPr lang="en-US" dirty="0" smtClean="0"/>
              <a:t>Security cant</a:t>
            </a:r>
            <a:r>
              <a:rPr lang="en-US" baseline="0" dirty="0" smtClean="0"/>
              <a:t> slow down operation</a:t>
            </a:r>
          </a:p>
          <a:p>
            <a:r>
              <a:rPr lang="en-US" baseline="0" dirty="0" smtClean="0"/>
              <a:t>Hard limits on power envelopes and energy usage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3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5741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0050" y="387350"/>
            <a:ext cx="4651375" cy="2616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8027" indent="-178027" defTabSz="438363">
              <a:spcAft>
                <a:spcPts val="408"/>
              </a:spcAft>
              <a:buSzPct val="100000"/>
              <a:buFont typeface="Arial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Where </a:t>
            </a:r>
            <a:r>
              <a:rPr lang="en-US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do we innovate to bring value and when to we leverage the broader ecosystem?</a:t>
            </a:r>
          </a:p>
          <a:p>
            <a:pPr marL="178027" indent="-178027" defTabSz="438363">
              <a:spcAft>
                <a:spcPts val="408"/>
              </a:spcAft>
              <a:buSzPct val="100000"/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When do we go deep? When we’re the only ones</a:t>
            </a:r>
          </a:p>
          <a:p>
            <a:pPr marL="178027" indent="-178027" defTabSz="438363">
              <a:spcAft>
                <a:spcPts val="408"/>
              </a:spcAft>
              <a:buSzPct val="100000"/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When do we leverage? When building on the work of others brings better </a:t>
            </a:r>
            <a:r>
              <a:rPr lang="en-US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results</a:t>
            </a:r>
            <a:endParaRPr lang="en-US" dirty="0">
              <a:solidFill>
                <a:srgbClr val="000000"/>
              </a:solidFill>
              <a:latin typeface="HP Simplified" pitchFamily="34" charset="0"/>
              <a:cs typeface="HP Simplified" pitchFamily="34" charset="0"/>
            </a:endParaRPr>
          </a:p>
          <a:p>
            <a:pPr defTabSz="438363">
              <a:spcAft>
                <a:spcPts val="408"/>
              </a:spcAft>
              <a:buSzPct val="100000"/>
            </a:pPr>
            <a:endParaRPr lang="en-US" dirty="0">
              <a:solidFill>
                <a:srgbClr val="000000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5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0517143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labs PDR story, to be consistent across all types of messaging, including the demo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3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15184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</a:t>
            </a:r>
            <a:r>
              <a:rPr lang="en-US" baseline="0" dirty="0" smtClean="0"/>
              <a:t> do PDR provide (relating to the initial slide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</a:rPr>
              <a:pPr/>
              <a:t>38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02382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ecurity built</a:t>
            </a:r>
            <a:r>
              <a:rPr lang="en-US" baseline="0" dirty="0" smtClean="0"/>
              <a:t> into all layers, top layers depend on mechanisms in the bottom layers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3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42908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ome mechanisms are inside the machine. Some others will be outside– e.g., SIEM, DLP, AV,</a:t>
            </a:r>
            <a:r>
              <a:rPr lang="en-US" baseline="0" dirty="0" smtClean="0"/>
              <a:t> and other network based protection wont go away. But we can build the machine in a way to interact with these systems better. For example, better event generation for SIEM.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4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72709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calable – scales to all architectures</a:t>
            </a:r>
          </a:p>
          <a:p>
            <a:r>
              <a:rPr lang="en-US" dirty="0" smtClean="0"/>
              <a:t>Efficient – security doesn’t slow downs functionality,</a:t>
            </a:r>
            <a:r>
              <a:rPr lang="en-US" baseline="0" dirty="0" smtClean="0"/>
              <a:t> uses less energy</a:t>
            </a:r>
            <a:endParaRPr lang="en-US" dirty="0" smtClean="0"/>
          </a:p>
          <a:p>
            <a:r>
              <a:rPr lang="en-US" dirty="0" smtClean="0"/>
              <a:t>Resilient – hard to circumvent</a:t>
            </a:r>
          </a:p>
          <a:p>
            <a:r>
              <a:rPr lang="en-US" dirty="0" smtClean="0"/>
              <a:t>Manageable – easy to deploy and manage</a:t>
            </a:r>
            <a:endParaRPr lang="hi-IN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4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83103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or every layer in the stack and for P, D, R, we are looking at techniques</a:t>
            </a:r>
            <a:r>
              <a:rPr lang="en-US" baseline="0" dirty="0" smtClean="0"/>
              <a:t> that are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Ubiquitous – currently present in all systems, e.g., access control</a:t>
            </a:r>
          </a:p>
          <a:p>
            <a:r>
              <a:rPr lang="en-US" dirty="0" smtClean="0"/>
              <a:t>Emerging – not widely adopted, e.g.,</a:t>
            </a:r>
            <a:r>
              <a:rPr lang="en-US" baseline="0" dirty="0" smtClean="0"/>
              <a:t> firmware recovery</a:t>
            </a:r>
            <a:endParaRPr lang="en-US" dirty="0" smtClean="0"/>
          </a:p>
          <a:p>
            <a:r>
              <a:rPr lang="en-US" dirty="0" smtClean="0"/>
              <a:t>Research – still in research, e.g., think of something later</a:t>
            </a:r>
          </a:p>
          <a:p>
            <a:r>
              <a:rPr lang="en-US" dirty="0" smtClean="0"/>
              <a:t>New – techniques that we need to come</a:t>
            </a:r>
            <a:r>
              <a:rPr lang="en-US" baseline="0" dirty="0" smtClean="0"/>
              <a:t> up with for the new architecture, e.g., </a:t>
            </a:r>
            <a:r>
              <a:rPr lang="en-US" baseline="0" dirty="0" err="1" smtClean="0"/>
              <a:t>SoC</a:t>
            </a:r>
            <a:r>
              <a:rPr lang="en-US" baseline="0" dirty="0" smtClean="0"/>
              <a:t> level isolation</a:t>
            </a:r>
            <a:endParaRPr lang="hi-IN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4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51849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ive some examples of protection we are thinking about. Tell them WHAT we plan to do, but not HOW we do it.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4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85720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ich </a:t>
            </a:r>
            <a:r>
              <a:rPr lang="en-US" dirty="0" err="1" smtClean="0"/>
              <a:t>SoC</a:t>
            </a:r>
            <a:r>
              <a:rPr lang="en-US" dirty="0" smtClean="0"/>
              <a:t> accesses which memory (memory broker)</a:t>
            </a:r>
          </a:p>
          <a:p>
            <a:endParaRPr lang="en-US" dirty="0" smtClean="0"/>
          </a:p>
          <a:p>
            <a:r>
              <a:rPr lang="en-US" dirty="0" smtClean="0"/>
              <a:t>Traditional OS level access control on each </a:t>
            </a:r>
            <a:r>
              <a:rPr lang="en-US" dirty="0" err="1" smtClean="0"/>
              <a:t>SoC</a:t>
            </a:r>
            <a:endParaRPr lang="hi-IN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4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29902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ncryption of NVM</a:t>
            </a:r>
          </a:p>
          <a:p>
            <a:endParaRPr lang="en-US" dirty="0" smtClean="0"/>
          </a:p>
          <a:p>
            <a:r>
              <a:rPr lang="en-US" dirty="0" smtClean="0"/>
              <a:t>Encryption/integrity on the fabric</a:t>
            </a:r>
          </a:p>
          <a:p>
            <a:endParaRPr lang="en-US" dirty="0" smtClean="0"/>
          </a:p>
          <a:p>
            <a:r>
              <a:rPr lang="en-US" dirty="0" smtClean="0"/>
              <a:t>Process isolation and access control in OS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4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4979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ome examples of detection</a:t>
            </a:r>
            <a:r>
              <a:rPr lang="en-US" baseline="0" dirty="0" smtClean="0"/>
              <a:t>. Via monitoring/inspection. The key message is monitoring has to be tamper proof.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4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7099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 is the machine? What does it do?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61764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eed a </a:t>
            </a:r>
            <a:r>
              <a:rPr lang="en-US" smtClean="0"/>
              <a:t>better picture</a:t>
            </a:r>
            <a:endParaRPr lang="hi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4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07346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ome detection will happen outside the machine. How do we facilitate that. For example, how do we generate</a:t>
            </a:r>
            <a:r>
              <a:rPr lang="en-US" baseline="0" dirty="0" smtClean="0"/>
              <a:t> events and send them to the analytics system? How does the analytics system communicate remediation action to the machine? We are thinking about building APIs to facilitate these.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4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96899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49">
              <a:spcBef>
                <a:spcPts val="0"/>
              </a:spcBef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</a:rPr>
              <a:pPr/>
              <a:t>5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1627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5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0232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 smtClean="0">
                <a:latin typeface="HP Simplified"/>
                <a:cs typeface="HP Simplified"/>
              </a:rPr>
              <a:t>How does</a:t>
            </a:r>
            <a:r>
              <a:rPr lang="en-US" sz="1200" baseline="0" dirty="0" smtClean="0">
                <a:latin typeface="HP Simplified"/>
                <a:cs typeface="HP Simplified"/>
              </a:rPr>
              <a:t> it do it?</a:t>
            </a:r>
          </a:p>
          <a:p>
            <a:endParaRPr lang="en-US" sz="1200" baseline="0" dirty="0" smtClean="0">
              <a:latin typeface="HP Simplified"/>
              <a:cs typeface="HP Simplified"/>
            </a:endParaRPr>
          </a:p>
          <a:p>
            <a:r>
              <a:rPr lang="en-US" sz="1200" baseline="0" dirty="0" smtClean="0">
                <a:latin typeface="HP Simplified"/>
                <a:cs typeface="HP Simplified"/>
              </a:rPr>
              <a:t>---</a:t>
            </a:r>
            <a:endParaRPr lang="en-US" sz="1200" dirty="0" smtClean="0">
              <a:latin typeface="HP Simplified"/>
              <a:cs typeface="HP Simplified"/>
            </a:endParaRPr>
          </a:p>
          <a:p>
            <a:endParaRPr lang="en-US" sz="1200" dirty="0" smtClean="0">
              <a:latin typeface="HP Simplified"/>
              <a:cs typeface="HP Simplified"/>
            </a:endParaRPr>
          </a:p>
          <a:p>
            <a:r>
              <a:rPr lang="en-US" sz="1200" dirty="0" smtClean="0">
                <a:latin typeface="HP Simplified"/>
                <a:cs typeface="HP Simplified"/>
              </a:rPr>
              <a:t>This </a:t>
            </a:r>
            <a:r>
              <a:rPr lang="en-US" sz="1200" dirty="0">
                <a:latin typeface="HP Simplified"/>
                <a:cs typeface="HP Simplified"/>
              </a:rPr>
              <a:t>is what we’re building.</a:t>
            </a:r>
          </a:p>
          <a:p>
            <a:r>
              <a:rPr lang="en-US" sz="1200" dirty="0" err="1">
                <a:latin typeface="HP Simplified"/>
                <a:cs typeface="HP Simplified"/>
              </a:rPr>
              <a:t>SoC</a:t>
            </a:r>
            <a:r>
              <a:rPr lang="en-US" sz="1200" dirty="0">
                <a:latin typeface="HP Simplified"/>
                <a:cs typeface="HP Simplified"/>
              </a:rPr>
              <a:t>, universal memory and photonics are the key parts of the architecture of the future</a:t>
            </a:r>
          </a:p>
          <a:p>
            <a:r>
              <a:rPr lang="en-US" sz="1200" dirty="0">
                <a:latin typeface="HP Simplified"/>
                <a:cs typeface="HP Simplified"/>
              </a:rPr>
              <a:t>With this architecture, we can ingest, store and manipulate truly massive datasets while simultaneously achieving multiple orders of magnitude less energy/b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7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777444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 do we mean by security for the machine? What does it mean for the customer or</a:t>
            </a:r>
            <a:r>
              <a:rPr lang="en-US" baseline="0" dirty="0" smtClean="0"/>
              <a:t> end user? </a:t>
            </a:r>
          </a:p>
          <a:p>
            <a:endParaRPr lang="en-US" baseline="0" dirty="0" smtClean="0"/>
          </a:p>
          <a:p>
            <a:r>
              <a:rPr lang="en-US" baseline="0" dirty="0" smtClean="0"/>
              <a:t>--</a:t>
            </a:r>
          </a:p>
          <a:p>
            <a:endParaRPr lang="en-US" baseline="0" dirty="0" smtClean="0"/>
          </a:p>
          <a:p>
            <a:r>
              <a:rPr lang="en-US" baseline="0" dirty="0" smtClean="0"/>
              <a:t>It certainly doesn’t cover all the security work we do. But I wanted to keep it simple in the beginning, and accessible to a general audience without any background in security.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8392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ny components to secure</a:t>
            </a:r>
          </a:p>
          <a:p>
            <a:r>
              <a:rPr lang="en-US" dirty="0" smtClean="0"/>
              <a:t>New architecture brings new security problems</a:t>
            </a:r>
          </a:p>
          <a:p>
            <a:r>
              <a:rPr lang="en-US" dirty="0" smtClean="0"/>
              <a:t>OS control points may vanish</a:t>
            </a:r>
          </a:p>
          <a:p>
            <a:r>
              <a:rPr lang="en-US" dirty="0" smtClean="0"/>
              <a:t>Security cant</a:t>
            </a:r>
            <a:r>
              <a:rPr lang="en-US" baseline="0" dirty="0" smtClean="0"/>
              <a:t> slow down operation</a:t>
            </a:r>
          </a:p>
          <a:p>
            <a:r>
              <a:rPr lang="en-US" baseline="0" dirty="0" smtClean="0"/>
              <a:t>Hard limits on power envelopes and energy usage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6734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labs PDR story, to be consistent across all types of messaging, including the demo</a:t>
            </a:r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20031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</a:t>
            </a:r>
            <a:r>
              <a:rPr lang="en-US" baseline="0" dirty="0" smtClean="0"/>
              <a:t> do PDR provide (relating to the initial slide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06721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miscon\Desktop\text_bg1_v3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8279" y="1"/>
            <a:ext cx="12207753" cy="6868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0" y="0"/>
            <a:ext cx="12199473" cy="6858000"/>
          </a:xfrm>
          <a:prstGeom prst="rect">
            <a:avLst/>
          </a:prstGeom>
          <a:solidFill>
            <a:schemeClr val="accent1">
              <a:alpha val="7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4" tIns="60892" rIns="121784" bIns="60892" anchor="ctr"/>
          <a:lstStyle/>
          <a:p>
            <a:pPr algn="ctr" defTabSz="1086755">
              <a:defRPr/>
            </a:pPr>
            <a:r>
              <a:rPr lang="en-US" sz="2399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876" y="2286000"/>
            <a:ext cx="8577072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64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phical Section Header 4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4400" b="1" cap="none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212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phical Section Header 5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4400" b="1" cap="none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3087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/>
        </p:nvSpPr>
        <p:spPr bwMode="invGray">
          <a:xfrm>
            <a:off x="11586739" y="6321203"/>
            <a:ext cx="356616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609441" y="6482536"/>
            <a:ext cx="6602280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tx1"/>
                </a:solidFill>
                <a:latin typeface="+mn-lt"/>
                <a:cs typeface="HP Simplified"/>
              </a:rPr>
              <a:t>© Copyright 2015 Hewlett-Packard Development Company, L.P. </a:t>
            </a:r>
            <a:r>
              <a:rPr lang="en-US" sz="700" b="0" i="0" baseline="0" dirty="0" smtClean="0">
                <a:solidFill>
                  <a:schemeClr val="tx1"/>
                </a:solidFill>
                <a:latin typeface="+mn-lt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tx1"/>
                </a:solidFill>
                <a:latin typeface="+mn-lt"/>
                <a:cs typeface="HP Simplified"/>
              </a:rPr>
              <a:t>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121" y="304800"/>
            <a:ext cx="9141619" cy="2743200"/>
          </a:xfrm>
        </p:spPr>
        <p:txBody>
          <a:bodyPr anchor="t"/>
          <a:lstStyle>
            <a:lvl1pPr marL="233363" indent="-233363" algn="l">
              <a:defRPr sz="4400" b="1" cap="none" spc="-100" baseline="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4419600"/>
            <a:ext cx="9141619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add quoted person’s name, title and compan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7960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0098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676400"/>
            <a:ext cx="10969943" cy="44196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439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441" y="1661890"/>
            <a:ext cx="10969943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2057400"/>
            <a:ext cx="10969943" cy="4038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829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72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0534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73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295401"/>
            <a:ext cx="5314328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5056" y="1295401"/>
            <a:ext cx="5314328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73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609441" y="6482536"/>
            <a:ext cx="6602280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2">
                    <a:lumMod val="75000"/>
                  </a:schemeClr>
                </a:solidFill>
                <a:latin typeface="+mn-lt"/>
                <a:cs typeface="HP Simplified"/>
              </a:rPr>
              <a:t>© Copyright 2015 Hewlett-Packard Development Company, L.P. </a:t>
            </a:r>
            <a:r>
              <a:rPr lang="en-US" sz="700" b="0" i="0" baseline="0" dirty="0" smtClean="0">
                <a:solidFill>
                  <a:schemeClr val="bg2">
                    <a:lumMod val="75000"/>
                  </a:schemeClr>
                </a:solidFill>
                <a:latin typeface="+mn-lt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bg2">
                    <a:lumMod val="75000"/>
                  </a:schemeClr>
                </a:solidFill>
                <a:latin typeface="+mn-lt"/>
                <a:cs typeface="HP Simplified"/>
              </a:rPr>
              <a:t>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2763520"/>
            <a:ext cx="9141619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4419600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9" name="logo"/>
          <p:cNvSpPr>
            <a:spLocks noChangeAspect="1" noEditPoints="1"/>
          </p:cNvSpPr>
          <p:nvPr/>
        </p:nvSpPr>
        <p:spPr bwMode="black">
          <a:xfrm>
            <a:off x="9925748" y="377225"/>
            <a:ext cx="1883664" cy="1883664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58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295400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676400"/>
            <a:ext cx="5314328" cy="441960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5056" y="1295400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5056" y="1676400"/>
            <a:ext cx="5314328" cy="441960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92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676399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057401"/>
            <a:ext cx="5314328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5056" y="1676399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5056" y="2057401"/>
            <a:ext cx="5314328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316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441" y="1295400"/>
            <a:ext cx="3412871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7977" y="1295400"/>
            <a:ext cx="3412871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6513" y="1295400"/>
            <a:ext cx="3412871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61535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295400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7977" y="1295400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6513" y="1295400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441" y="1676400"/>
            <a:ext cx="3412871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7977" y="1676400"/>
            <a:ext cx="3412871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6513" y="1676400"/>
            <a:ext cx="3412871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23770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676399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7977" y="1676399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6513" y="1676399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441" y="2057400"/>
            <a:ext cx="3412871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7977" y="2057400"/>
            <a:ext cx="3412871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6513" y="2057400"/>
            <a:ext cx="3412871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75190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295401"/>
            <a:ext cx="7618016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32178" y="1295400"/>
            <a:ext cx="3047206" cy="48006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116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441" y="1295400"/>
            <a:ext cx="6703854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78960" y="1295400"/>
            <a:ext cx="3900424" cy="48006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9535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441" y="1295400"/>
            <a:ext cx="6703854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78960" y="1295400"/>
            <a:ext cx="3900424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11066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441" y="1295400"/>
            <a:ext cx="5314328" cy="3505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265056" y="1295400"/>
            <a:ext cx="5314328" cy="3505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953000"/>
            <a:ext cx="5314328" cy="113049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265056" y="4953000"/>
            <a:ext cx="5314328" cy="113049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36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441" y="1295400"/>
            <a:ext cx="3412871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211392"/>
            <a:ext cx="3412871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4387977" y="1295400"/>
            <a:ext cx="3412871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idx="16"/>
          </p:nvPr>
        </p:nvSpPr>
        <p:spPr>
          <a:xfrm>
            <a:off x="8166513" y="1295400"/>
            <a:ext cx="3412871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4387977" y="4211392"/>
            <a:ext cx="3412871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8"/>
          </p:nvPr>
        </p:nvSpPr>
        <p:spPr>
          <a:xfrm>
            <a:off x="8166513" y="4211392"/>
            <a:ext cx="3412871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4970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609441" y="6482536"/>
            <a:ext cx="6602280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tx1"/>
                </a:solidFill>
                <a:latin typeface="+mn-lt"/>
                <a:cs typeface="HP Simplified"/>
              </a:rPr>
              <a:t>© Copyright 2015 Hewlett-Packard Development Company, L.P. </a:t>
            </a:r>
            <a:r>
              <a:rPr lang="en-US" sz="700" b="0" i="0" baseline="0" dirty="0" smtClean="0">
                <a:solidFill>
                  <a:schemeClr val="tx1"/>
                </a:solidFill>
                <a:latin typeface="+mn-lt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tx1"/>
                </a:solidFill>
                <a:latin typeface="+mn-lt"/>
                <a:cs typeface="HP Simplified"/>
              </a:rPr>
              <a:t>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2763520"/>
            <a:ext cx="9141619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4419600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5/20/2015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logo"/>
          <p:cNvSpPr>
            <a:spLocks noChangeAspect="1" noEditPoints="1"/>
          </p:cNvSpPr>
          <p:nvPr/>
        </p:nvSpPr>
        <p:spPr bwMode="invGray">
          <a:xfrm>
            <a:off x="9925747" y="377225"/>
            <a:ext cx="1883664" cy="1883664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369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484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567712" y="304801"/>
            <a:ext cx="1011672" cy="5791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304801"/>
            <a:ext cx="9649486" cy="5791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853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Line with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41844" y="880226"/>
            <a:ext cx="11277202" cy="5027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999"/>
              </a:lnSpc>
              <a:buNone/>
              <a:defRPr sz="2399" b="0">
                <a:solidFill>
                  <a:srgbClr val="000000"/>
                </a:solidFill>
              </a:defRPr>
            </a:lvl1pPr>
            <a:lvl2pPr marL="609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41844" y="313417"/>
            <a:ext cx="11277202" cy="550579"/>
          </a:xfrm>
        </p:spPr>
        <p:txBody>
          <a:bodyPr>
            <a:noAutofit/>
          </a:bodyPr>
          <a:lstStyle>
            <a:lvl1pPr>
              <a:defRPr>
                <a:latin typeface="+mj-lt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59197" y="1907588"/>
            <a:ext cx="10576345" cy="3989445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1698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438799" y="313418"/>
            <a:ext cx="11277202" cy="38779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798" y="1584961"/>
            <a:ext cx="5372816" cy="42930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0180" y="1584960"/>
            <a:ext cx="5169672" cy="4296832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1847" y="1001854"/>
            <a:ext cx="11277202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399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8218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1845" y="1001854"/>
            <a:ext cx="10820123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399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38798" y="313419"/>
            <a:ext cx="10820123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798" y="1584962"/>
            <a:ext cx="10823677" cy="4305300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903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urvey slide_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609440" y="1584962"/>
            <a:ext cx="10969943" cy="4305300"/>
          </a:xfrm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b="0"/>
            </a:lvl1pPr>
            <a:lvl2pPr marL="571500" indent="-342900">
              <a:buFont typeface="+mj-lt"/>
              <a:buAutoNum type="arabicPeriod"/>
              <a:defRPr baseline="0"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07067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miscon\Desktop\text_bg1_v3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8279" y="1"/>
            <a:ext cx="12207753" cy="6868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12199473" cy="6858000"/>
          </a:xfrm>
          <a:prstGeom prst="rect">
            <a:avLst/>
          </a:prstGeom>
          <a:solidFill>
            <a:schemeClr val="accent1">
              <a:alpha val="7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4" tIns="60892" rIns="121784" bIns="60892" anchor="ctr"/>
          <a:lstStyle/>
          <a:p>
            <a:pPr algn="ctr" defTabSz="1086755">
              <a:defRPr/>
            </a:pPr>
            <a:r>
              <a:rPr lang="en-US" sz="2399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876" y="2286000"/>
            <a:ext cx="8577072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25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1387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ue 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miscon\Desktop\text_bg1_v3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8279" y="2"/>
            <a:ext cx="12207753" cy="6868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12199473" cy="6858000"/>
          </a:xfrm>
          <a:prstGeom prst="rect">
            <a:avLst/>
          </a:prstGeom>
          <a:solidFill>
            <a:schemeClr val="accent1">
              <a:alpha val="7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52" tIns="60876" rIns="121752" bIns="60876" anchor="ctr"/>
          <a:lstStyle/>
          <a:p>
            <a:pPr algn="ctr" defTabSz="1086483">
              <a:defRPr/>
            </a:pPr>
            <a:r>
              <a:rPr lang="en-US" sz="2398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877" y="2286000"/>
            <a:ext cx="8577072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315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aphical Section Header 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4399" b="1" cap="none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344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609441" y="6482536"/>
            <a:ext cx="6602280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tx1"/>
                </a:solidFill>
                <a:latin typeface="+mn-lt"/>
                <a:cs typeface="HP Simplified"/>
              </a:rPr>
              <a:t>© Copyright 2015 Hewlett-Packard Development Company, L.P. </a:t>
            </a:r>
            <a:r>
              <a:rPr lang="en-US" sz="700" b="0" i="0" baseline="0" dirty="0" smtClean="0">
                <a:solidFill>
                  <a:schemeClr val="tx1"/>
                </a:solidFill>
                <a:latin typeface="+mn-lt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tx1"/>
                </a:solidFill>
                <a:latin typeface="+mn-lt"/>
                <a:cs typeface="HP Simplified"/>
              </a:rPr>
              <a:t>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2763520"/>
            <a:ext cx="9141619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4419600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10" name="logo"/>
          <p:cNvSpPr>
            <a:spLocks noChangeAspect="1" noEditPoints="1"/>
          </p:cNvSpPr>
          <p:nvPr/>
        </p:nvSpPr>
        <p:spPr bwMode="invGray">
          <a:xfrm>
            <a:off x="9925747" y="377225"/>
            <a:ext cx="1883664" cy="1883664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3977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7"/>
            <a:ext cx="10969943" cy="26057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419138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ue 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miscon\Desktop\text_bg1_v3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8279" y="1"/>
            <a:ext cx="12207753" cy="6868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12199473" cy="6858000"/>
          </a:xfrm>
          <a:prstGeom prst="rect">
            <a:avLst/>
          </a:prstGeom>
          <a:solidFill>
            <a:schemeClr val="accent1">
              <a:alpha val="7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4" tIns="60892" rIns="121784" bIns="60892" anchor="ctr"/>
          <a:lstStyle/>
          <a:p>
            <a:pPr algn="ctr" defTabSz="1086755">
              <a:defRPr/>
            </a:pPr>
            <a:r>
              <a:rPr lang="en-US" sz="2399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876" y="2286000"/>
            <a:ext cx="8577072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507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99038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4400" b="1" cap="none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4419600"/>
            <a:ext cx="9141619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089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/>
        </p:nvSpPr>
        <p:spPr bwMode="invGray">
          <a:xfrm>
            <a:off x="11586739" y="6321203"/>
            <a:ext cx="356616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609441" y="6482536"/>
            <a:ext cx="6602280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tx1"/>
                </a:solidFill>
                <a:latin typeface="+mn-lt"/>
                <a:cs typeface="HP Simplified"/>
              </a:rPr>
              <a:t>© Copyright 2015 Hewlett-Packard Development Company, L.P. </a:t>
            </a:r>
            <a:r>
              <a:rPr lang="en-US" sz="700" b="0" i="0" baseline="0" dirty="0" smtClean="0">
                <a:solidFill>
                  <a:schemeClr val="tx1"/>
                </a:solidFill>
                <a:latin typeface="+mn-lt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tx1"/>
                </a:solidFill>
                <a:latin typeface="+mn-lt"/>
                <a:cs typeface="HP Simplified"/>
              </a:rPr>
              <a:t>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4400" b="1" cap="none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4419600"/>
            <a:ext cx="9141619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5/20/2015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0601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phical Section Header 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4400" b="1" cap="none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398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phical Section Header 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4400" b="1" cap="none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460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phical Section Header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4400" b="1" cap="none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951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295401"/>
            <a:ext cx="10969943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157354" y="6478524"/>
            <a:ext cx="812588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/2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11722" y="6478524"/>
            <a:ext cx="2844059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1611" y="6478524"/>
            <a:ext cx="304721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10" name="copyright"/>
          <p:cNvSpPr txBox="1"/>
          <p:nvPr/>
        </p:nvSpPr>
        <p:spPr>
          <a:xfrm>
            <a:off x="609441" y="6482536"/>
            <a:ext cx="6602280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2">
                    <a:lumMod val="75000"/>
                  </a:schemeClr>
                </a:solidFill>
                <a:latin typeface="+mn-lt"/>
                <a:cs typeface="HP Simplified"/>
              </a:rPr>
              <a:t>© Copyright 2015 Hewlett-Packard Development Company, L.P. </a:t>
            </a:r>
            <a:r>
              <a:rPr lang="en-US" sz="700" b="0" i="0" baseline="0" dirty="0" smtClean="0">
                <a:solidFill>
                  <a:schemeClr val="bg2">
                    <a:lumMod val="75000"/>
                  </a:schemeClr>
                </a:solidFill>
                <a:latin typeface="+mn-lt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bg2">
                    <a:lumMod val="75000"/>
                  </a:schemeClr>
                </a:solidFill>
                <a:latin typeface="+mn-lt"/>
                <a:cs typeface="HP Simplified"/>
              </a:rPr>
              <a:t>The information contained herein is subject to change without notice.</a:t>
            </a:r>
          </a:p>
        </p:txBody>
      </p:sp>
      <p:sp>
        <p:nvSpPr>
          <p:cNvPr id="11" name="logo"/>
          <p:cNvSpPr>
            <a:spLocks noChangeAspect="1" noEditPoints="1"/>
          </p:cNvSpPr>
          <p:nvPr/>
        </p:nvSpPr>
        <p:spPr bwMode="black">
          <a:xfrm>
            <a:off x="11586740" y="6321203"/>
            <a:ext cx="356616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213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  <p:sldLayoutId id="2147483743" r:id="rId26"/>
    <p:sldLayoutId id="2147483744" r:id="rId27"/>
    <p:sldLayoutId id="2147483745" r:id="rId28"/>
    <p:sldLayoutId id="2147483746" r:id="rId29"/>
    <p:sldLayoutId id="2147483747" r:id="rId30"/>
    <p:sldLayoutId id="2147483748" r:id="rId31"/>
    <p:sldLayoutId id="2147483749" r:id="rId32"/>
    <p:sldLayoutId id="2147483750" r:id="rId33"/>
    <p:sldLayoutId id="2147483751" r:id="rId34"/>
    <p:sldLayoutId id="2147483752" r:id="rId35"/>
    <p:sldLayoutId id="2147483680" r:id="rId36"/>
    <p:sldLayoutId id="2147483700" r:id="rId37"/>
    <p:sldLayoutId id="2147483710" r:id="rId38"/>
    <p:sldLayoutId id="2147483713" r:id="rId39"/>
    <p:sldLayoutId id="2147483715" r:id="rId40"/>
    <p:sldLayoutId id="2147483703" r:id="rId41"/>
    <p:sldLayoutId id="2147483707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HP Simplified" panose="020B0604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SzPct val="80000"/>
        <a:buFont typeface="HP Simplified" panose="020B0604020204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HP Simplified" panose="020B0604020204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4.png"/><Relationship Id="rId5" Type="http://schemas.openxmlformats.org/officeDocument/2006/relationships/image" Target="../media/image12.png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2.png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2.png"/><Relationship Id="rId4" Type="http://schemas.microsoft.com/office/2007/relationships/hdphoto" Target="../media/hdphoto1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9.png"/><Relationship Id="rId4" Type="http://schemas.openxmlformats.org/officeDocument/2006/relationships/image" Target="../media/image16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tags" Target="../tags/tag64.xml"/><Relationship Id="rId18" Type="http://schemas.openxmlformats.org/officeDocument/2006/relationships/tags" Target="../tags/tag69.xml"/><Relationship Id="rId26" Type="http://schemas.openxmlformats.org/officeDocument/2006/relationships/tags" Target="../tags/tag77.xml"/><Relationship Id="rId39" Type="http://schemas.openxmlformats.org/officeDocument/2006/relationships/tags" Target="../tags/tag90.xml"/><Relationship Id="rId21" Type="http://schemas.openxmlformats.org/officeDocument/2006/relationships/tags" Target="../tags/tag72.xml"/><Relationship Id="rId34" Type="http://schemas.openxmlformats.org/officeDocument/2006/relationships/tags" Target="../tags/tag85.xml"/><Relationship Id="rId42" Type="http://schemas.openxmlformats.org/officeDocument/2006/relationships/tags" Target="../tags/tag93.xml"/><Relationship Id="rId47" Type="http://schemas.openxmlformats.org/officeDocument/2006/relationships/tags" Target="../tags/tag98.xml"/><Relationship Id="rId50" Type="http://schemas.openxmlformats.org/officeDocument/2006/relationships/tags" Target="../tags/tag101.xml"/><Relationship Id="rId55" Type="http://schemas.openxmlformats.org/officeDocument/2006/relationships/oleObject" Target="../embeddings/oleObject2.bin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tags" Target="../tags/tag68.xml"/><Relationship Id="rId25" Type="http://schemas.openxmlformats.org/officeDocument/2006/relationships/tags" Target="../tags/tag76.xml"/><Relationship Id="rId33" Type="http://schemas.openxmlformats.org/officeDocument/2006/relationships/tags" Target="../tags/tag84.xml"/><Relationship Id="rId38" Type="http://schemas.openxmlformats.org/officeDocument/2006/relationships/tags" Target="../tags/tag89.xml"/><Relationship Id="rId46" Type="http://schemas.openxmlformats.org/officeDocument/2006/relationships/tags" Target="../tags/tag97.xml"/><Relationship Id="rId2" Type="http://schemas.openxmlformats.org/officeDocument/2006/relationships/tags" Target="../tags/tag53.xml"/><Relationship Id="rId16" Type="http://schemas.openxmlformats.org/officeDocument/2006/relationships/tags" Target="../tags/tag67.xml"/><Relationship Id="rId20" Type="http://schemas.openxmlformats.org/officeDocument/2006/relationships/tags" Target="../tags/tag71.xml"/><Relationship Id="rId29" Type="http://schemas.openxmlformats.org/officeDocument/2006/relationships/tags" Target="../tags/tag80.xml"/><Relationship Id="rId41" Type="http://schemas.openxmlformats.org/officeDocument/2006/relationships/tags" Target="../tags/tag92.xml"/><Relationship Id="rId54" Type="http://schemas.openxmlformats.org/officeDocument/2006/relationships/notesSlide" Target="../notesSlides/notesSlide23.xml"/><Relationship Id="rId1" Type="http://schemas.openxmlformats.org/officeDocument/2006/relationships/vmlDrawing" Target="../drawings/vmlDrawing2.v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24" Type="http://schemas.openxmlformats.org/officeDocument/2006/relationships/tags" Target="../tags/tag75.xml"/><Relationship Id="rId32" Type="http://schemas.openxmlformats.org/officeDocument/2006/relationships/tags" Target="../tags/tag83.xml"/><Relationship Id="rId37" Type="http://schemas.openxmlformats.org/officeDocument/2006/relationships/tags" Target="../tags/tag88.xml"/><Relationship Id="rId40" Type="http://schemas.openxmlformats.org/officeDocument/2006/relationships/tags" Target="../tags/tag91.xml"/><Relationship Id="rId45" Type="http://schemas.openxmlformats.org/officeDocument/2006/relationships/tags" Target="../tags/tag96.xml"/><Relationship Id="rId53" Type="http://schemas.openxmlformats.org/officeDocument/2006/relationships/slideLayout" Target="../slideLayouts/slideLayout16.xml"/><Relationship Id="rId5" Type="http://schemas.openxmlformats.org/officeDocument/2006/relationships/tags" Target="../tags/tag56.xml"/><Relationship Id="rId15" Type="http://schemas.openxmlformats.org/officeDocument/2006/relationships/tags" Target="../tags/tag66.xml"/><Relationship Id="rId23" Type="http://schemas.openxmlformats.org/officeDocument/2006/relationships/tags" Target="../tags/tag74.xml"/><Relationship Id="rId28" Type="http://schemas.openxmlformats.org/officeDocument/2006/relationships/tags" Target="../tags/tag79.xml"/><Relationship Id="rId36" Type="http://schemas.openxmlformats.org/officeDocument/2006/relationships/tags" Target="../tags/tag87.xml"/><Relationship Id="rId49" Type="http://schemas.openxmlformats.org/officeDocument/2006/relationships/tags" Target="../tags/tag100.xml"/><Relationship Id="rId57" Type="http://schemas.openxmlformats.org/officeDocument/2006/relationships/image" Target="../media/image10.jpeg"/><Relationship Id="rId10" Type="http://schemas.openxmlformats.org/officeDocument/2006/relationships/tags" Target="../tags/tag61.xml"/><Relationship Id="rId19" Type="http://schemas.openxmlformats.org/officeDocument/2006/relationships/tags" Target="../tags/tag70.xml"/><Relationship Id="rId31" Type="http://schemas.openxmlformats.org/officeDocument/2006/relationships/tags" Target="../tags/tag82.xml"/><Relationship Id="rId44" Type="http://schemas.openxmlformats.org/officeDocument/2006/relationships/tags" Target="../tags/tag95.xml"/><Relationship Id="rId52" Type="http://schemas.openxmlformats.org/officeDocument/2006/relationships/tags" Target="../tags/tag103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tags" Target="../tags/tag65.xml"/><Relationship Id="rId22" Type="http://schemas.openxmlformats.org/officeDocument/2006/relationships/tags" Target="../tags/tag73.xml"/><Relationship Id="rId27" Type="http://schemas.openxmlformats.org/officeDocument/2006/relationships/tags" Target="../tags/tag78.xml"/><Relationship Id="rId30" Type="http://schemas.openxmlformats.org/officeDocument/2006/relationships/tags" Target="../tags/tag81.xml"/><Relationship Id="rId35" Type="http://schemas.openxmlformats.org/officeDocument/2006/relationships/tags" Target="../tags/tag86.xml"/><Relationship Id="rId43" Type="http://schemas.openxmlformats.org/officeDocument/2006/relationships/tags" Target="../tags/tag94.xml"/><Relationship Id="rId48" Type="http://schemas.openxmlformats.org/officeDocument/2006/relationships/tags" Target="../tags/tag99.xml"/><Relationship Id="rId56" Type="http://schemas.openxmlformats.org/officeDocument/2006/relationships/image" Target="../media/image9.emf"/><Relationship Id="rId8" Type="http://schemas.openxmlformats.org/officeDocument/2006/relationships/tags" Target="../tags/tag59.xml"/><Relationship Id="rId51" Type="http://schemas.openxmlformats.org/officeDocument/2006/relationships/tags" Target="../tags/tag102.xml"/><Relationship Id="rId3" Type="http://schemas.openxmlformats.org/officeDocument/2006/relationships/tags" Target="../tags/tag54.xml"/></Relationships>
</file>

<file path=ppt/slides/_rels/slide31.xml.rels><?xml version="1.0" encoding="UTF-8" standalone="yes"?>
<Relationships xmlns="http://schemas.openxmlformats.org/package/2006/relationships"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26" Type="http://schemas.openxmlformats.org/officeDocument/2006/relationships/tags" Target="../tags/tag128.xml"/><Relationship Id="rId39" Type="http://schemas.openxmlformats.org/officeDocument/2006/relationships/tags" Target="../tags/tag141.xml"/><Relationship Id="rId21" Type="http://schemas.openxmlformats.org/officeDocument/2006/relationships/tags" Target="../tags/tag123.xml"/><Relationship Id="rId34" Type="http://schemas.openxmlformats.org/officeDocument/2006/relationships/tags" Target="../tags/tag136.xml"/><Relationship Id="rId42" Type="http://schemas.openxmlformats.org/officeDocument/2006/relationships/tags" Target="../tags/tag144.xml"/><Relationship Id="rId47" Type="http://schemas.openxmlformats.org/officeDocument/2006/relationships/tags" Target="../tags/tag149.xml"/><Relationship Id="rId50" Type="http://schemas.openxmlformats.org/officeDocument/2006/relationships/tags" Target="../tags/tag152.xml"/><Relationship Id="rId55" Type="http://schemas.openxmlformats.org/officeDocument/2006/relationships/oleObject" Target="../embeddings/oleObject3.bin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5" Type="http://schemas.openxmlformats.org/officeDocument/2006/relationships/tags" Target="../tags/tag127.xml"/><Relationship Id="rId33" Type="http://schemas.openxmlformats.org/officeDocument/2006/relationships/tags" Target="../tags/tag135.xml"/><Relationship Id="rId38" Type="http://schemas.openxmlformats.org/officeDocument/2006/relationships/tags" Target="../tags/tag140.xml"/><Relationship Id="rId46" Type="http://schemas.openxmlformats.org/officeDocument/2006/relationships/tags" Target="../tags/tag148.xml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29" Type="http://schemas.openxmlformats.org/officeDocument/2006/relationships/tags" Target="../tags/tag131.xml"/><Relationship Id="rId41" Type="http://schemas.openxmlformats.org/officeDocument/2006/relationships/tags" Target="../tags/tag143.xml"/><Relationship Id="rId54" Type="http://schemas.openxmlformats.org/officeDocument/2006/relationships/notesSlide" Target="../notesSlides/notesSlide2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tags" Target="../tags/tag126.xml"/><Relationship Id="rId32" Type="http://schemas.openxmlformats.org/officeDocument/2006/relationships/tags" Target="../tags/tag134.xml"/><Relationship Id="rId37" Type="http://schemas.openxmlformats.org/officeDocument/2006/relationships/tags" Target="../tags/tag139.xml"/><Relationship Id="rId40" Type="http://schemas.openxmlformats.org/officeDocument/2006/relationships/tags" Target="../tags/tag142.xml"/><Relationship Id="rId45" Type="http://schemas.openxmlformats.org/officeDocument/2006/relationships/tags" Target="../tags/tag147.xml"/><Relationship Id="rId53" Type="http://schemas.openxmlformats.org/officeDocument/2006/relationships/slideLayout" Target="../slideLayouts/slideLayout16.xml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tags" Target="../tags/tag125.xml"/><Relationship Id="rId28" Type="http://schemas.openxmlformats.org/officeDocument/2006/relationships/tags" Target="../tags/tag130.xml"/><Relationship Id="rId36" Type="http://schemas.openxmlformats.org/officeDocument/2006/relationships/tags" Target="../tags/tag138.xml"/><Relationship Id="rId49" Type="http://schemas.openxmlformats.org/officeDocument/2006/relationships/tags" Target="../tags/tag151.xml"/><Relationship Id="rId57" Type="http://schemas.openxmlformats.org/officeDocument/2006/relationships/image" Target="../media/image10.jpeg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31" Type="http://schemas.openxmlformats.org/officeDocument/2006/relationships/tags" Target="../tags/tag133.xml"/><Relationship Id="rId44" Type="http://schemas.openxmlformats.org/officeDocument/2006/relationships/tags" Target="../tags/tag146.xml"/><Relationship Id="rId52" Type="http://schemas.openxmlformats.org/officeDocument/2006/relationships/tags" Target="../tags/tag154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tags" Target="../tags/tag124.xml"/><Relationship Id="rId27" Type="http://schemas.openxmlformats.org/officeDocument/2006/relationships/tags" Target="../tags/tag129.xml"/><Relationship Id="rId30" Type="http://schemas.openxmlformats.org/officeDocument/2006/relationships/tags" Target="../tags/tag132.xml"/><Relationship Id="rId35" Type="http://schemas.openxmlformats.org/officeDocument/2006/relationships/tags" Target="../tags/tag137.xml"/><Relationship Id="rId43" Type="http://schemas.openxmlformats.org/officeDocument/2006/relationships/tags" Target="../tags/tag145.xml"/><Relationship Id="rId48" Type="http://schemas.openxmlformats.org/officeDocument/2006/relationships/tags" Target="../tags/tag150.xml"/><Relationship Id="rId56" Type="http://schemas.openxmlformats.org/officeDocument/2006/relationships/image" Target="../media/image9.emf"/><Relationship Id="rId8" Type="http://schemas.openxmlformats.org/officeDocument/2006/relationships/tags" Target="../tags/tag110.xml"/><Relationship Id="rId51" Type="http://schemas.openxmlformats.org/officeDocument/2006/relationships/tags" Target="../tags/tag153.xml"/><Relationship Id="rId3" Type="http://schemas.openxmlformats.org/officeDocument/2006/relationships/tags" Target="../tags/tag10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2.png"/><Relationship Id="rId4" Type="http://schemas.microsoft.com/office/2007/relationships/hdphoto" Target="../media/hdphoto1.wdp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4.png"/><Relationship Id="rId5" Type="http://schemas.openxmlformats.org/officeDocument/2006/relationships/image" Target="../media/image12.png"/><Relationship Id="rId4" Type="http://schemas.microsoft.com/office/2007/relationships/hdphoto" Target="../media/hdphoto1.wdp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oleObject" Target="../embeddings/oleObject1.bin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54" Type="http://schemas.openxmlformats.org/officeDocument/2006/relationships/notesSlide" Target="../notesSlides/notesSlide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slideLayout" Target="../slideLayouts/slideLayout16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image" Target="../media/image10.jpe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image" Target="../media/image9.emf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2.png"/><Relationship Id="rId4" Type="http://schemas.microsoft.com/office/2007/relationships/hdphoto" Target="../media/hdphoto1.wdp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2.png"/><Relationship Id="rId4" Type="http://schemas.microsoft.com/office/2007/relationships/hdphoto" Target="../media/hdphoto1.wdp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9.png"/><Relationship Id="rId4" Type="http://schemas.openxmlformats.org/officeDocument/2006/relationships/image" Target="../media/image16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2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5887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</a:t>
            </a:r>
            <a:r>
              <a:rPr lang="en-US" dirty="0"/>
              <a:t>S</a:t>
            </a:r>
            <a:r>
              <a:rPr lang="en-US" dirty="0" smtClean="0"/>
              <a:t>ecurity framework</a:t>
            </a:r>
            <a:endParaRPr lang="hi-IN" dirty="0"/>
          </a:p>
        </p:txBody>
      </p:sp>
      <p:grpSp>
        <p:nvGrpSpPr>
          <p:cNvPr id="85" name="Group 84"/>
          <p:cNvGrpSpPr/>
          <p:nvPr/>
        </p:nvGrpSpPr>
        <p:grpSpPr>
          <a:xfrm rot="5400000" flipH="1">
            <a:off x="1192076" y="3073536"/>
            <a:ext cx="4529817" cy="1639480"/>
            <a:chOff x="1013273" y="1065562"/>
            <a:chExt cx="10150996" cy="3487508"/>
          </a:xfrm>
        </p:grpSpPr>
        <p:grpSp>
          <p:nvGrpSpPr>
            <p:cNvPr id="93" name="Group 92"/>
            <p:cNvGrpSpPr/>
            <p:nvPr/>
          </p:nvGrpSpPr>
          <p:grpSpPr>
            <a:xfrm>
              <a:off x="7386242" y="1065562"/>
              <a:ext cx="3778027" cy="3487508"/>
              <a:chOff x="823262" y="2395110"/>
              <a:chExt cx="1914328" cy="2002986"/>
            </a:xfrm>
          </p:grpSpPr>
          <p:sp>
            <p:nvSpPr>
              <p:cNvPr id="122" name="Round Diagonal Corner Rectangle 121"/>
              <p:cNvSpPr/>
              <p:nvPr/>
            </p:nvSpPr>
            <p:spPr>
              <a:xfrm>
                <a:off x="823262" y="2395110"/>
                <a:ext cx="1914328" cy="2002986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grpSp>
            <p:nvGrpSpPr>
              <p:cNvPr id="123" name="Group 122"/>
              <p:cNvGrpSpPr/>
              <p:nvPr/>
            </p:nvGrpSpPr>
            <p:grpSpPr>
              <a:xfrm>
                <a:off x="904258" y="2491861"/>
                <a:ext cx="1752336" cy="1809484"/>
                <a:chOff x="884969" y="2458561"/>
                <a:chExt cx="1752336" cy="1809484"/>
              </a:xfrm>
            </p:grpSpPr>
            <p:grpSp>
              <p:nvGrpSpPr>
                <p:cNvPr id="124" name="Group 123"/>
                <p:cNvGrpSpPr/>
                <p:nvPr/>
              </p:nvGrpSpPr>
              <p:grpSpPr>
                <a:xfrm>
                  <a:off x="884969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7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7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5" name="Group 124"/>
                <p:cNvGrpSpPr/>
                <p:nvPr/>
              </p:nvGrpSpPr>
              <p:grpSpPr>
                <a:xfrm>
                  <a:off x="1333755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6" name="Group 125"/>
                <p:cNvGrpSpPr/>
                <p:nvPr/>
              </p:nvGrpSpPr>
              <p:grpSpPr>
                <a:xfrm>
                  <a:off x="1782540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7" name="Group 126"/>
                <p:cNvGrpSpPr/>
                <p:nvPr/>
              </p:nvGrpSpPr>
              <p:grpSpPr>
                <a:xfrm>
                  <a:off x="2231325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8" name="Group 127"/>
                <p:cNvGrpSpPr/>
                <p:nvPr/>
              </p:nvGrpSpPr>
              <p:grpSpPr>
                <a:xfrm>
                  <a:off x="884969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9" name="Group 128"/>
                <p:cNvGrpSpPr/>
                <p:nvPr/>
              </p:nvGrpSpPr>
              <p:grpSpPr>
                <a:xfrm>
                  <a:off x="1333755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0" name="Group 129"/>
                <p:cNvGrpSpPr/>
                <p:nvPr/>
              </p:nvGrpSpPr>
              <p:grpSpPr>
                <a:xfrm>
                  <a:off x="1782540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1" name="Group 130"/>
                <p:cNvGrpSpPr/>
                <p:nvPr/>
              </p:nvGrpSpPr>
              <p:grpSpPr>
                <a:xfrm>
                  <a:off x="2231325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2" name="Group 131"/>
                <p:cNvGrpSpPr/>
                <p:nvPr/>
              </p:nvGrpSpPr>
              <p:grpSpPr>
                <a:xfrm>
                  <a:off x="884969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3" name="Group 132"/>
                <p:cNvGrpSpPr/>
                <p:nvPr/>
              </p:nvGrpSpPr>
              <p:grpSpPr>
                <a:xfrm>
                  <a:off x="1333755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4" name="Group 133"/>
                <p:cNvGrpSpPr/>
                <p:nvPr/>
              </p:nvGrpSpPr>
              <p:grpSpPr>
                <a:xfrm>
                  <a:off x="1782540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5" name="Group 134"/>
                <p:cNvGrpSpPr/>
                <p:nvPr/>
              </p:nvGrpSpPr>
              <p:grpSpPr>
                <a:xfrm>
                  <a:off x="2231325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6" name="Group 135"/>
                <p:cNvGrpSpPr/>
                <p:nvPr/>
              </p:nvGrpSpPr>
              <p:grpSpPr>
                <a:xfrm>
                  <a:off x="884969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7" name="Group 136"/>
                <p:cNvGrpSpPr/>
                <p:nvPr/>
              </p:nvGrpSpPr>
              <p:grpSpPr>
                <a:xfrm>
                  <a:off x="1333755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8" name="Group 137"/>
                <p:cNvGrpSpPr/>
                <p:nvPr/>
              </p:nvGrpSpPr>
              <p:grpSpPr>
                <a:xfrm>
                  <a:off x="1782540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9" name="Group 138"/>
                <p:cNvGrpSpPr/>
                <p:nvPr/>
              </p:nvGrpSpPr>
              <p:grpSpPr>
                <a:xfrm>
                  <a:off x="2231325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</p:grpSp>
        </p:grpSp>
        <p:grpSp>
          <p:nvGrpSpPr>
            <p:cNvPr id="94" name="Group 93"/>
            <p:cNvGrpSpPr/>
            <p:nvPr/>
          </p:nvGrpSpPr>
          <p:grpSpPr>
            <a:xfrm>
              <a:off x="1013273" y="1065562"/>
              <a:ext cx="3778027" cy="3487508"/>
              <a:chOff x="1495490" y="1832272"/>
              <a:chExt cx="1914328" cy="2002986"/>
            </a:xfrm>
          </p:grpSpPr>
          <p:sp>
            <p:nvSpPr>
              <p:cNvPr id="100" name="Round Diagonal Corner Rectangle 99"/>
              <p:cNvSpPr/>
              <p:nvPr/>
            </p:nvSpPr>
            <p:spPr>
              <a:xfrm>
                <a:off x="1495490" y="1832272"/>
                <a:ext cx="1914328" cy="2002986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grpSp>
            <p:nvGrpSpPr>
              <p:cNvPr id="101" name="Group 100"/>
              <p:cNvGrpSpPr/>
              <p:nvPr/>
            </p:nvGrpSpPr>
            <p:grpSpPr>
              <a:xfrm>
                <a:off x="1571547" y="1947128"/>
                <a:ext cx="1762214" cy="1773274"/>
                <a:chOff x="1576486" y="1934992"/>
                <a:chExt cx="1762214" cy="1773274"/>
              </a:xfrm>
            </p:grpSpPr>
            <p:grpSp>
              <p:nvGrpSpPr>
                <p:cNvPr id="102" name="Group 101"/>
                <p:cNvGrpSpPr/>
                <p:nvPr/>
              </p:nvGrpSpPr>
              <p:grpSpPr>
                <a:xfrm>
                  <a:off x="1576486" y="1934992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118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9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20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21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03" name="Group 102"/>
                <p:cNvGrpSpPr/>
                <p:nvPr/>
              </p:nvGrpSpPr>
              <p:grpSpPr>
                <a:xfrm>
                  <a:off x="1576486" y="2390757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114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5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6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7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04" name="Group 103"/>
                <p:cNvGrpSpPr/>
                <p:nvPr/>
              </p:nvGrpSpPr>
              <p:grpSpPr>
                <a:xfrm>
                  <a:off x="1576486" y="2846522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110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1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2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3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05" name="Group 104"/>
                <p:cNvGrpSpPr/>
                <p:nvPr/>
              </p:nvGrpSpPr>
              <p:grpSpPr>
                <a:xfrm>
                  <a:off x="1576486" y="3302286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106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7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8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9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</p:grpSp>
        </p:grpSp>
        <p:cxnSp>
          <p:nvCxnSpPr>
            <p:cNvPr id="95" name="Straight Connector 94"/>
            <p:cNvCxnSpPr/>
            <p:nvPr/>
          </p:nvCxnSpPr>
          <p:spPr>
            <a:xfrm>
              <a:off x="4791301" y="2809316"/>
              <a:ext cx="520167" cy="0"/>
            </a:xfrm>
            <a:prstGeom prst="line">
              <a:avLst/>
            </a:prstGeom>
            <a:ln w="5715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/>
          </p:nvCxnSpPr>
          <p:spPr>
            <a:xfrm>
              <a:off x="6823935" y="2809316"/>
              <a:ext cx="562308" cy="0"/>
            </a:xfrm>
            <a:prstGeom prst="line">
              <a:avLst/>
            </a:prstGeom>
            <a:ln w="5715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7" name="Group 96"/>
            <p:cNvGrpSpPr/>
            <p:nvPr/>
          </p:nvGrpSpPr>
          <p:grpSpPr>
            <a:xfrm>
              <a:off x="5311467" y="2111233"/>
              <a:ext cx="1512467" cy="1396163"/>
              <a:chOff x="3984638" y="1583425"/>
              <a:chExt cx="1134646" cy="1047122"/>
            </a:xfrm>
          </p:grpSpPr>
          <p:sp>
            <p:nvSpPr>
              <p:cNvPr id="98" name="Round Diagonal Corner Rectangle 97"/>
              <p:cNvSpPr/>
              <p:nvPr/>
            </p:nvSpPr>
            <p:spPr>
              <a:xfrm>
                <a:off x="3984638" y="1583425"/>
                <a:ext cx="1134646" cy="1047122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sp>
            <p:nvSpPr>
              <p:cNvPr id="99" name="Freeform 98"/>
              <p:cNvSpPr/>
              <p:nvPr/>
            </p:nvSpPr>
            <p:spPr>
              <a:xfrm>
                <a:off x="4108954" y="1693740"/>
                <a:ext cx="875235" cy="826492"/>
              </a:xfrm>
              <a:custGeom>
                <a:avLst/>
                <a:gdLst>
                  <a:gd name="connsiteX0" fmla="*/ 437712 w 875235"/>
                  <a:gd name="connsiteY0" fmla="*/ 753602 h 826492"/>
                  <a:gd name="connsiteX1" fmla="*/ 414852 w 875235"/>
                  <a:gd name="connsiteY1" fmla="*/ 776462 h 826492"/>
                  <a:gd name="connsiteX2" fmla="*/ 437712 w 875235"/>
                  <a:gd name="connsiteY2" fmla="*/ 799322 h 826492"/>
                  <a:gd name="connsiteX3" fmla="*/ 460572 w 875235"/>
                  <a:gd name="connsiteY3" fmla="*/ 776462 h 826492"/>
                  <a:gd name="connsiteX4" fmla="*/ 437712 w 875235"/>
                  <a:gd name="connsiteY4" fmla="*/ 753602 h 826492"/>
                  <a:gd name="connsiteX5" fmla="*/ 488486 w 875235"/>
                  <a:gd name="connsiteY5" fmla="*/ 726187 h 826492"/>
                  <a:gd name="connsiteX6" fmla="*/ 465626 w 875235"/>
                  <a:gd name="connsiteY6" fmla="*/ 749047 h 826492"/>
                  <a:gd name="connsiteX7" fmla="*/ 488486 w 875235"/>
                  <a:gd name="connsiteY7" fmla="*/ 771907 h 826492"/>
                  <a:gd name="connsiteX8" fmla="*/ 511346 w 875235"/>
                  <a:gd name="connsiteY8" fmla="*/ 749047 h 826492"/>
                  <a:gd name="connsiteX9" fmla="*/ 488486 w 875235"/>
                  <a:gd name="connsiteY9" fmla="*/ 726187 h 826492"/>
                  <a:gd name="connsiteX10" fmla="*/ 386938 w 875235"/>
                  <a:gd name="connsiteY10" fmla="*/ 726187 h 826492"/>
                  <a:gd name="connsiteX11" fmla="*/ 364078 w 875235"/>
                  <a:gd name="connsiteY11" fmla="*/ 749047 h 826492"/>
                  <a:gd name="connsiteX12" fmla="*/ 386938 w 875235"/>
                  <a:gd name="connsiteY12" fmla="*/ 771907 h 826492"/>
                  <a:gd name="connsiteX13" fmla="*/ 409798 w 875235"/>
                  <a:gd name="connsiteY13" fmla="*/ 749047 h 826492"/>
                  <a:gd name="connsiteX14" fmla="*/ 386938 w 875235"/>
                  <a:gd name="connsiteY14" fmla="*/ 726187 h 826492"/>
                  <a:gd name="connsiteX15" fmla="*/ 437712 w 875235"/>
                  <a:gd name="connsiteY15" fmla="*/ 696400 h 826492"/>
                  <a:gd name="connsiteX16" fmla="*/ 414852 w 875235"/>
                  <a:gd name="connsiteY16" fmla="*/ 719260 h 826492"/>
                  <a:gd name="connsiteX17" fmla="*/ 437712 w 875235"/>
                  <a:gd name="connsiteY17" fmla="*/ 742120 h 826492"/>
                  <a:gd name="connsiteX18" fmla="*/ 460572 w 875235"/>
                  <a:gd name="connsiteY18" fmla="*/ 719260 h 826492"/>
                  <a:gd name="connsiteX19" fmla="*/ 437712 w 875235"/>
                  <a:gd name="connsiteY19" fmla="*/ 696400 h 826492"/>
                  <a:gd name="connsiteX20" fmla="*/ 488486 w 875235"/>
                  <a:gd name="connsiteY20" fmla="*/ 665784 h 826492"/>
                  <a:gd name="connsiteX21" fmla="*/ 465626 w 875235"/>
                  <a:gd name="connsiteY21" fmla="*/ 688644 h 826492"/>
                  <a:gd name="connsiteX22" fmla="*/ 488486 w 875235"/>
                  <a:gd name="connsiteY22" fmla="*/ 711504 h 826492"/>
                  <a:gd name="connsiteX23" fmla="*/ 511346 w 875235"/>
                  <a:gd name="connsiteY23" fmla="*/ 688644 h 826492"/>
                  <a:gd name="connsiteX24" fmla="*/ 488486 w 875235"/>
                  <a:gd name="connsiteY24" fmla="*/ 665784 h 826492"/>
                  <a:gd name="connsiteX25" fmla="*/ 386938 w 875235"/>
                  <a:gd name="connsiteY25" fmla="*/ 665784 h 826492"/>
                  <a:gd name="connsiteX26" fmla="*/ 364078 w 875235"/>
                  <a:gd name="connsiteY26" fmla="*/ 688644 h 826492"/>
                  <a:gd name="connsiteX27" fmla="*/ 386938 w 875235"/>
                  <a:gd name="connsiteY27" fmla="*/ 711504 h 826492"/>
                  <a:gd name="connsiteX28" fmla="*/ 409798 w 875235"/>
                  <a:gd name="connsiteY28" fmla="*/ 688644 h 826492"/>
                  <a:gd name="connsiteX29" fmla="*/ 386938 w 875235"/>
                  <a:gd name="connsiteY29" fmla="*/ 665784 h 826492"/>
                  <a:gd name="connsiteX30" fmla="*/ 437712 w 875235"/>
                  <a:gd name="connsiteY30" fmla="*/ 639199 h 826492"/>
                  <a:gd name="connsiteX31" fmla="*/ 414852 w 875235"/>
                  <a:gd name="connsiteY31" fmla="*/ 662059 h 826492"/>
                  <a:gd name="connsiteX32" fmla="*/ 437712 w 875235"/>
                  <a:gd name="connsiteY32" fmla="*/ 684919 h 826492"/>
                  <a:gd name="connsiteX33" fmla="*/ 460572 w 875235"/>
                  <a:gd name="connsiteY33" fmla="*/ 662059 h 826492"/>
                  <a:gd name="connsiteX34" fmla="*/ 437712 w 875235"/>
                  <a:gd name="connsiteY34" fmla="*/ 639199 h 826492"/>
                  <a:gd name="connsiteX35" fmla="*/ 765165 w 875235"/>
                  <a:gd name="connsiteY35" fmla="*/ 449417 h 826492"/>
                  <a:gd name="connsiteX36" fmla="*/ 742305 w 875235"/>
                  <a:gd name="connsiteY36" fmla="*/ 472277 h 826492"/>
                  <a:gd name="connsiteX37" fmla="*/ 765165 w 875235"/>
                  <a:gd name="connsiteY37" fmla="*/ 495137 h 826492"/>
                  <a:gd name="connsiteX38" fmla="*/ 788025 w 875235"/>
                  <a:gd name="connsiteY38" fmla="*/ 472277 h 826492"/>
                  <a:gd name="connsiteX39" fmla="*/ 765165 w 875235"/>
                  <a:gd name="connsiteY39" fmla="*/ 449417 h 826492"/>
                  <a:gd name="connsiteX40" fmla="*/ 437712 w 875235"/>
                  <a:gd name="connsiteY40" fmla="*/ 449417 h 826492"/>
                  <a:gd name="connsiteX41" fmla="*/ 414852 w 875235"/>
                  <a:gd name="connsiteY41" fmla="*/ 472277 h 826492"/>
                  <a:gd name="connsiteX42" fmla="*/ 437712 w 875235"/>
                  <a:gd name="connsiteY42" fmla="*/ 495137 h 826492"/>
                  <a:gd name="connsiteX43" fmla="*/ 460572 w 875235"/>
                  <a:gd name="connsiteY43" fmla="*/ 472277 h 826492"/>
                  <a:gd name="connsiteX44" fmla="*/ 437712 w 875235"/>
                  <a:gd name="connsiteY44" fmla="*/ 449417 h 826492"/>
                  <a:gd name="connsiteX45" fmla="*/ 104693 w 875235"/>
                  <a:gd name="connsiteY45" fmla="*/ 449417 h 826492"/>
                  <a:gd name="connsiteX46" fmla="*/ 81833 w 875235"/>
                  <a:gd name="connsiteY46" fmla="*/ 472277 h 826492"/>
                  <a:gd name="connsiteX47" fmla="*/ 104693 w 875235"/>
                  <a:gd name="connsiteY47" fmla="*/ 495137 h 826492"/>
                  <a:gd name="connsiteX48" fmla="*/ 127553 w 875235"/>
                  <a:gd name="connsiteY48" fmla="*/ 472277 h 826492"/>
                  <a:gd name="connsiteX49" fmla="*/ 104693 w 875235"/>
                  <a:gd name="connsiteY49" fmla="*/ 449417 h 826492"/>
                  <a:gd name="connsiteX50" fmla="*/ 815266 w 875235"/>
                  <a:gd name="connsiteY50" fmla="*/ 425491 h 826492"/>
                  <a:gd name="connsiteX51" fmla="*/ 792406 w 875235"/>
                  <a:gd name="connsiteY51" fmla="*/ 448351 h 826492"/>
                  <a:gd name="connsiteX52" fmla="*/ 815266 w 875235"/>
                  <a:gd name="connsiteY52" fmla="*/ 471211 h 826492"/>
                  <a:gd name="connsiteX53" fmla="*/ 838126 w 875235"/>
                  <a:gd name="connsiteY53" fmla="*/ 448351 h 826492"/>
                  <a:gd name="connsiteX54" fmla="*/ 815266 w 875235"/>
                  <a:gd name="connsiteY54" fmla="*/ 425491 h 826492"/>
                  <a:gd name="connsiteX55" fmla="*/ 713718 w 875235"/>
                  <a:gd name="connsiteY55" fmla="*/ 425491 h 826492"/>
                  <a:gd name="connsiteX56" fmla="*/ 690858 w 875235"/>
                  <a:gd name="connsiteY56" fmla="*/ 448351 h 826492"/>
                  <a:gd name="connsiteX57" fmla="*/ 713718 w 875235"/>
                  <a:gd name="connsiteY57" fmla="*/ 471211 h 826492"/>
                  <a:gd name="connsiteX58" fmla="*/ 736578 w 875235"/>
                  <a:gd name="connsiteY58" fmla="*/ 448351 h 826492"/>
                  <a:gd name="connsiteX59" fmla="*/ 713718 w 875235"/>
                  <a:gd name="connsiteY59" fmla="*/ 425491 h 826492"/>
                  <a:gd name="connsiteX60" fmla="*/ 488486 w 875235"/>
                  <a:gd name="connsiteY60" fmla="*/ 425491 h 826492"/>
                  <a:gd name="connsiteX61" fmla="*/ 465626 w 875235"/>
                  <a:gd name="connsiteY61" fmla="*/ 448351 h 826492"/>
                  <a:gd name="connsiteX62" fmla="*/ 488486 w 875235"/>
                  <a:gd name="connsiteY62" fmla="*/ 471211 h 826492"/>
                  <a:gd name="connsiteX63" fmla="*/ 511346 w 875235"/>
                  <a:gd name="connsiteY63" fmla="*/ 448351 h 826492"/>
                  <a:gd name="connsiteX64" fmla="*/ 488486 w 875235"/>
                  <a:gd name="connsiteY64" fmla="*/ 425491 h 826492"/>
                  <a:gd name="connsiteX65" fmla="*/ 386938 w 875235"/>
                  <a:gd name="connsiteY65" fmla="*/ 425491 h 826492"/>
                  <a:gd name="connsiteX66" fmla="*/ 364078 w 875235"/>
                  <a:gd name="connsiteY66" fmla="*/ 448351 h 826492"/>
                  <a:gd name="connsiteX67" fmla="*/ 386938 w 875235"/>
                  <a:gd name="connsiteY67" fmla="*/ 471211 h 826492"/>
                  <a:gd name="connsiteX68" fmla="*/ 409798 w 875235"/>
                  <a:gd name="connsiteY68" fmla="*/ 448351 h 826492"/>
                  <a:gd name="connsiteX69" fmla="*/ 386938 w 875235"/>
                  <a:gd name="connsiteY69" fmla="*/ 425491 h 826492"/>
                  <a:gd name="connsiteX70" fmla="*/ 160771 w 875235"/>
                  <a:gd name="connsiteY70" fmla="*/ 425491 h 826492"/>
                  <a:gd name="connsiteX71" fmla="*/ 137911 w 875235"/>
                  <a:gd name="connsiteY71" fmla="*/ 448351 h 826492"/>
                  <a:gd name="connsiteX72" fmla="*/ 160771 w 875235"/>
                  <a:gd name="connsiteY72" fmla="*/ 471211 h 826492"/>
                  <a:gd name="connsiteX73" fmla="*/ 183631 w 875235"/>
                  <a:gd name="connsiteY73" fmla="*/ 448351 h 826492"/>
                  <a:gd name="connsiteX74" fmla="*/ 160771 w 875235"/>
                  <a:gd name="connsiteY74" fmla="*/ 425491 h 826492"/>
                  <a:gd name="connsiteX75" fmla="*/ 59223 w 875235"/>
                  <a:gd name="connsiteY75" fmla="*/ 425491 h 826492"/>
                  <a:gd name="connsiteX76" fmla="*/ 36363 w 875235"/>
                  <a:gd name="connsiteY76" fmla="*/ 448351 h 826492"/>
                  <a:gd name="connsiteX77" fmla="*/ 59223 w 875235"/>
                  <a:gd name="connsiteY77" fmla="*/ 471211 h 826492"/>
                  <a:gd name="connsiteX78" fmla="*/ 82083 w 875235"/>
                  <a:gd name="connsiteY78" fmla="*/ 448351 h 826492"/>
                  <a:gd name="connsiteX79" fmla="*/ 59223 w 875235"/>
                  <a:gd name="connsiteY79" fmla="*/ 425491 h 826492"/>
                  <a:gd name="connsiteX80" fmla="*/ 763819 w 875235"/>
                  <a:gd name="connsiteY80" fmla="*/ 393660 h 826492"/>
                  <a:gd name="connsiteX81" fmla="*/ 740959 w 875235"/>
                  <a:gd name="connsiteY81" fmla="*/ 416520 h 826492"/>
                  <a:gd name="connsiteX82" fmla="*/ 763819 w 875235"/>
                  <a:gd name="connsiteY82" fmla="*/ 439380 h 826492"/>
                  <a:gd name="connsiteX83" fmla="*/ 786679 w 875235"/>
                  <a:gd name="connsiteY83" fmla="*/ 416520 h 826492"/>
                  <a:gd name="connsiteX84" fmla="*/ 763819 w 875235"/>
                  <a:gd name="connsiteY84" fmla="*/ 393660 h 826492"/>
                  <a:gd name="connsiteX85" fmla="*/ 437712 w 875235"/>
                  <a:gd name="connsiteY85" fmla="*/ 393660 h 826492"/>
                  <a:gd name="connsiteX86" fmla="*/ 414852 w 875235"/>
                  <a:gd name="connsiteY86" fmla="*/ 416520 h 826492"/>
                  <a:gd name="connsiteX87" fmla="*/ 437712 w 875235"/>
                  <a:gd name="connsiteY87" fmla="*/ 439380 h 826492"/>
                  <a:gd name="connsiteX88" fmla="*/ 460572 w 875235"/>
                  <a:gd name="connsiteY88" fmla="*/ 416520 h 826492"/>
                  <a:gd name="connsiteX89" fmla="*/ 437712 w 875235"/>
                  <a:gd name="connsiteY89" fmla="*/ 393660 h 826492"/>
                  <a:gd name="connsiteX90" fmla="*/ 104266 w 875235"/>
                  <a:gd name="connsiteY90" fmla="*/ 393660 h 826492"/>
                  <a:gd name="connsiteX91" fmla="*/ 81406 w 875235"/>
                  <a:gd name="connsiteY91" fmla="*/ 416520 h 826492"/>
                  <a:gd name="connsiteX92" fmla="*/ 104266 w 875235"/>
                  <a:gd name="connsiteY92" fmla="*/ 439380 h 826492"/>
                  <a:gd name="connsiteX93" fmla="*/ 127126 w 875235"/>
                  <a:gd name="connsiteY93" fmla="*/ 416520 h 826492"/>
                  <a:gd name="connsiteX94" fmla="*/ 104266 w 875235"/>
                  <a:gd name="connsiteY94" fmla="*/ 393660 h 826492"/>
                  <a:gd name="connsiteX95" fmla="*/ 815266 w 875235"/>
                  <a:gd name="connsiteY95" fmla="*/ 365088 h 826492"/>
                  <a:gd name="connsiteX96" fmla="*/ 792406 w 875235"/>
                  <a:gd name="connsiteY96" fmla="*/ 387948 h 826492"/>
                  <a:gd name="connsiteX97" fmla="*/ 815266 w 875235"/>
                  <a:gd name="connsiteY97" fmla="*/ 410808 h 826492"/>
                  <a:gd name="connsiteX98" fmla="*/ 838126 w 875235"/>
                  <a:gd name="connsiteY98" fmla="*/ 387948 h 826492"/>
                  <a:gd name="connsiteX99" fmla="*/ 815266 w 875235"/>
                  <a:gd name="connsiteY99" fmla="*/ 365088 h 826492"/>
                  <a:gd name="connsiteX100" fmla="*/ 713718 w 875235"/>
                  <a:gd name="connsiteY100" fmla="*/ 365088 h 826492"/>
                  <a:gd name="connsiteX101" fmla="*/ 690858 w 875235"/>
                  <a:gd name="connsiteY101" fmla="*/ 387948 h 826492"/>
                  <a:gd name="connsiteX102" fmla="*/ 713718 w 875235"/>
                  <a:gd name="connsiteY102" fmla="*/ 410808 h 826492"/>
                  <a:gd name="connsiteX103" fmla="*/ 736578 w 875235"/>
                  <a:gd name="connsiteY103" fmla="*/ 387948 h 826492"/>
                  <a:gd name="connsiteX104" fmla="*/ 713718 w 875235"/>
                  <a:gd name="connsiteY104" fmla="*/ 365088 h 826492"/>
                  <a:gd name="connsiteX105" fmla="*/ 488486 w 875235"/>
                  <a:gd name="connsiteY105" fmla="*/ 365088 h 826492"/>
                  <a:gd name="connsiteX106" fmla="*/ 465626 w 875235"/>
                  <a:gd name="connsiteY106" fmla="*/ 387948 h 826492"/>
                  <a:gd name="connsiteX107" fmla="*/ 488486 w 875235"/>
                  <a:gd name="connsiteY107" fmla="*/ 410808 h 826492"/>
                  <a:gd name="connsiteX108" fmla="*/ 511346 w 875235"/>
                  <a:gd name="connsiteY108" fmla="*/ 387948 h 826492"/>
                  <a:gd name="connsiteX109" fmla="*/ 488486 w 875235"/>
                  <a:gd name="connsiteY109" fmla="*/ 365088 h 826492"/>
                  <a:gd name="connsiteX110" fmla="*/ 386938 w 875235"/>
                  <a:gd name="connsiteY110" fmla="*/ 365088 h 826492"/>
                  <a:gd name="connsiteX111" fmla="*/ 364078 w 875235"/>
                  <a:gd name="connsiteY111" fmla="*/ 387948 h 826492"/>
                  <a:gd name="connsiteX112" fmla="*/ 386938 w 875235"/>
                  <a:gd name="connsiteY112" fmla="*/ 410808 h 826492"/>
                  <a:gd name="connsiteX113" fmla="*/ 409798 w 875235"/>
                  <a:gd name="connsiteY113" fmla="*/ 387948 h 826492"/>
                  <a:gd name="connsiteX114" fmla="*/ 386938 w 875235"/>
                  <a:gd name="connsiteY114" fmla="*/ 365088 h 826492"/>
                  <a:gd name="connsiteX115" fmla="*/ 160771 w 875235"/>
                  <a:gd name="connsiteY115" fmla="*/ 365088 h 826492"/>
                  <a:gd name="connsiteX116" fmla="*/ 137911 w 875235"/>
                  <a:gd name="connsiteY116" fmla="*/ 387948 h 826492"/>
                  <a:gd name="connsiteX117" fmla="*/ 160771 w 875235"/>
                  <a:gd name="connsiteY117" fmla="*/ 410808 h 826492"/>
                  <a:gd name="connsiteX118" fmla="*/ 183631 w 875235"/>
                  <a:gd name="connsiteY118" fmla="*/ 387948 h 826492"/>
                  <a:gd name="connsiteX119" fmla="*/ 160771 w 875235"/>
                  <a:gd name="connsiteY119" fmla="*/ 365088 h 826492"/>
                  <a:gd name="connsiteX120" fmla="*/ 59223 w 875235"/>
                  <a:gd name="connsiteY120" fmla="*/ 365088 h 826492"/>
                  <a:gd name="connsiteX121" fmla="*/ 36363 w 875235"/>
                  <a:gd name="connsiteY121" fmla="*/ 387948 h 826492"/>
                  <a:gd name="connsiteX122" fmla="*/ 59223 w 875235"/>
                  <a:gd name="connsiteY122" fmla="*/ 410808 h 826492"/>
                  <a:gd name="connsiteX123" fmla="*/ 82083 w 875235"/>
                  <a:gd name="connsiteY123" fmla="*/ 387948 h 826492"/>
                  <a:gd name="connsiteX124" fmla="*/ 59223 w 875235"/>
                  <a:gd name="connsiteY124" fmla="*/ 365088 h 826492"/>
                  <a:gd name="connsiteX125" fmla="*/ 765165 w 875235"/>
                  <a:gd name="connsiteY125" fmla="*/ 335014 h 826492"/>
                  <a:gd name="connsiteX126" fmla="*/ 742305 w 875235"/>
                  <a:gd name="connsiteY126" fmla="*/ 357874 h 826492"/>
                  <a:gd name="connsiteX127" fmla="*/ 765165 w 875235"/>
                  <a:gd name="connsiteY127" fmla="*/ 380734 h 826492"/>
                  <a:gd name="connsiteX128" fmla="*/ 788025 w 875235"/>
                  <a:gd name="connsiteY128" fmla="*/ 357874 h 826492"/>
                  <a:gd name="connsiteX129" fmla="*/ 765165 w 875235"/>
                  <a:gd name="connsiteY129" fmla="*/ 335014 h 826492"/>
                  <a:gd name="connsiteX130" fmla="*/ 437712 w 875235"/>
                  <a:gd name="connsiteY130" fmla="*/ 335014 h 826492"/>
                  <a:gd name="connsiteX131" fmla="*/ 414852 w 875235"/>
                  <a:gd name="connsiteY131" fmla="*/ 357874 h 826492"/>
                  <a:gd name="connsiteX132" fmla="*/ 437712 w 875235"/>
                  <a:gd name="connsiteY132" fmla="*/ 380734 h 826492"/>
                  <a:gd name="connsiteX133" fmla="*/ 460572 w 875235"/>
                  <a:gd name="connsiteY133" fmla="*/ 357874 h 826492"/>
                  <a:gd name="connsiteX134" fmla="*/ 437712 w 875235"/>
                  <a:gd name="connsiteY134" fmla="*/ 335014 h 826492"/>
                  <a:gd name="connsiteX135" fmla="*/ 104693 w 875235"/>
                  <a:gd name="connsiteY135" fmla="*/ 335014 h 826492"/>
                  <a:gd name="connsiteX136" fmla="*/ 81833 w 875235"/>
                  <a:gd name="connsiteY136" fmla="*/ 357874 h 826492"/>
                  <a:gd name="connsiteX137" fmla="*/ 104693 w 875235"/>
                  <a:gd name="connsiteY137" fmla="*/ 380734 h 826492"/>
                  <a:gd name="connsiteX138" fmla="*/ 127553 w 875235"/>
                  <a:gd name="connsiteY138" fmla="*/ 357874 h 826492"/>
                  <a:gd name="connsiteX139" fmla="*/ 104693 w 875235"/>
                  <a:gd name="connsiteY139" fmla="*/ 335014 h 826492"/>
                  <a:gd name="connsiteX140" fmla="*/ 437712 w 875235"/>
                  <a:gd name="connsiteY140" fmla="*/ 138633 h 826492"/>
                  <a:gd name="connsiteX141" fmla="*/ 414852 w 875235"/>
                  <a:gd name="connsiteY141" fmla="*/ 161493 h 826492"/>
                  <a:gd name="connsiteX142" fmla="*/ 437712 w 875235"/>
                  <a:gd name="connsiteY142" fmla="*/ 184353 h 826492"/>
                  <a:gd name="connsiteX143" fmla="*/ 460572 w 875235"/>
                  <a:gd name="connsiteY143" fmla="*/ 161493 h 826492"/>
                  <a:gd name="connsiteX144" fmla="*/ 437712 w 875235"/>
                  <a:gd name="connsiteY144" fmla="*/ 138633 h 826492"/>
                  <a:gd name="connsiteX145" fmla="*/ 488486 w 875235"/>
                  <a:gd name="connsiteY145" fmla="*/ 113932 h 826492"/>
                  <a:gd name="connsiteX146" fmla="*/ 465626 w 875235"/>
                  <a:gd name="connsiteY146" fmla="*/ 136792 h 826492"/>
                  <a:gd name="connsiteX147" fmla="*/ 488486 w 875235"/>
                  <a:gd name="connsiteY147" fmla="*/ 159652 h 826492"/>
                  <a:gd name="connsiteX148" fmla="*/ 511346 w 875235"/>
                  <a:gd name="connsiteY148" fmla="*/ 136792 h 826492"/>
                  <a:gd name="connsiteX149" fmla="*/ 488486 w 875235"/>
                  <a:gd name="connsiteY149" fmla="*/ 113932 h 826492"/>
                  <a:gd name="connsiteX150" fmla="*/ 386938 w 875235"/>
                  <a:gd name="connsiteY150" fmla="*/ 113932 h 826492"/>
                  <a:gd name="connsiteX151" fmla="*/ 364078 w 875235"/>
                  <a:gd name="connsiteY151" fmla="*/ 136792 h 826492"/>
                  <a:gd name="connsiteX152" fmla="*/ 386938 w 875235"/>
                  <a:gd name="connsiteY152" fmla="*/ 159652 h 826492"/>
                  <a:gd name="connsiteX153" fmla="*/ 409798 w 875235"/>
                  <a:gd name="connsiteY153" fmla="*/ 136792 h 826492"/>
                  <a:gd name="connsiteX154" fmla="*/ 386938 w 875235"/>
                  <a:gd name="connsiteY154" fmla="*/ 113932 h 826492"/>
                  <a:gd name="connsiteX155" fmla="*/ 437712 w 875235"/>
                  <a:gd name="connsiteY155" fmla="*/ 81407 h 826492"/>
                  <a:gd name="connsiteX156" fmla="*/ 414852 w 875235"/>
                  <a:gd name="connsiteY156" fmla="*/ 104267 h 826492"/>
                  <a:gd name="connsiteX157" fmla="*/ 437712 w 875235"/>
                  <a:gd name="connsiteY157" fmla="*/ 127127 h 826492"/>
                  <a:gd name="connsiteX158" fmla="*/ 460572 w 875235"/>
                  <a:gd name="connsiteY158" fmla="*/ 104267 h 826492"/>
                  <a:gd name="connsiteX159" fmla="*/ 437712 w 875235"/>
                  <a:gd name="connsiteY159" fmla="*/ 81407 h 826492"/>
                  <a:gd name="connsiteX160" fmla="*/ 488486 w 875235"/>
                  <a:gd name="connsiteY160" fmla="*/ 53529 h 826492"/>
                  <a:gd name="connsiteX161" fmla="*/ 465626 w 875235"/>
                  <a:gd name="connsiteY161" fmla="*/ 76389 h 826492"/>
                  <a:gd name="connsiteX162" fmla="*/ 488486 w 875235"/>
                  <a:gd name="connsiteY162" fmla="*/ 99249 h 826492"/>
                  <a:gd name="connsiteX163" fmla="*/ 511346 w 875235"/>
                  <a:gd name="connsiteY163" fmla="*/ 76389 h 826492"/>
                  <a:gd name="connsiteX164" fmla="*/ 488486 w 875235"/>
                  <a:gd name="connsiteY164" fmla="*/ 53529 h 826492"/>
                  <a:gd name="connsiteX165" fmla="*/ 386938 w 875235"/>
                  <a:gd name="connsiteY165" fmla="*/ 53529 h 826492"/>
                  <a:gd name="connsiteX166" fmla="*/ 364078 w 875235"/>
                  <a:gd name="connsiteY166" fmla="*/ 76389 h 826492"/>
                  <a:gd name="connsiteX167" fmla="*/ 386938 w 875235"/>
                  <a:gd name="connsiteY167" fmla="*/ 99249 h 826492"/>
                  <a:gd name="connsiteX168" fmla="*/ 409798 w 875235"/>
                  <a:gd name="connsiteY168" fmla="*/ 76389 h 826492"/>
                  <a:gd name="connsiteX169" fmla="*/ 386938 w 875235"/>
                  <a:gd name="connsiteY169" fmla="*/ 53529 h 826492"/>
                  <a:gd name="connsiteX170" fmla="*/ 437712 w 875235"/>
                  <a:gd name="connsiteY170" fmla="*/ 24230 h 826492"/>
                  <a:gd name="connsiteX171" fmla="*/ 414852 w 875235"/>
                  <a:gd name="connsiteY171" fmla="*/ 47090 h 826492"/>
                  <a:gd name="connsiteX172" fmla="*/ 437712 w 875235"/>
                  <a:gd name="connsiteY172" fmla="*/ 69950 h 826492"/>
                  <a:gd name="connsiteX173" fmla="*/ 460572 w 875235"/>
                  <a:gd name="connsiteY173" fmla="*/ 47090 h 826492"/>
                  <a:gd name="connsiteX174" fmla="*/ 437712 w 875235"/>
                  <a:gd name="connsiteY174" fmla="*/ 24230 h 826492"/>
                  <a:gd name="connsiteX175" fmla="*/ 437617 w 875235"/>
                  <a:gd name="connsiteY175" fmla="*/ 0 h 826492"/>
                  <a:gd name="connsiteX176" fmla="*/ 545922 w 875235"/>
                  <a:gd name="connsiteY176" fmla="*/ 108305 h 826492"/>
                  <a:gd name="connsiteX177" fmla="*/ 479774 w 875235"/>
                  <a:gd name="connsiteY177" fmla="*/ 208099 h 826492"/>
                  <a:gd name="connsiteX178" fmla="*/ 477170 w 875235"/>
                  <a:gd name="connsiteY178" fmla="*/ 208624 h 826492"/>
                  <a:gd name="connsiteX179" fmla="*/ 477170 w 875235"/>
                  <a:gd name="connsiteY179" fmla="*/ 312925 h 826492"/>
                  <a:gd name="connsiteX180" fmla="*/ 479774 w 875235"/>
                  <a:gd name="connsiteY180" fmla="*/ 313451 h 826492"/>
                  <a:gd name="connsiteX181" fmla="*/ 537411 w 875235"/>
                  <a:gd name="connsiteY181" fmla="*/ 371087 h 826492"/>
                  <a:gd name="connsiteX182" fmla="*/ 537655 w 875235"/>
                  <a:gd name="connsiteY182" fmla="*/ 372297 h 826492"/>
                  <a:gd name="connsiteX183" fmla="*/ 666891 w 875235"/>
                  <a:gd name="connsiteY183" fmla="*/ 372297 h 826492"/>
                  <a:gd name="connsiteX184" fmla="*/ 667135 w 875235"/>
                  <a:gd name="connsiteY184" fmla="*/ 371088 h 826492"/>
                  <a:gd name="connsiteX185" fmla="*/ 766930 w 875235"/>
                  <a:gd name="connsiteY185" fmla="*/ 304940 h 826492"/>
                  <a:gd name="connsiteX186" fmla="*/ 875235 w 875235"/>
                  <a:gd name="connsiteY186" fmla="*/ 413246 h 826492"/>
                  <a:gd name="connsiteX187" fmla="*/ 766930 w 875235"/>
                  <a:gd name="connsiteY187" fmla="*/ 521551 h 826492"/>
                  <a:gd name="connsiteX188" fmla="*/ 667135 w 875235"/>
                  <a:gd name="connsiteY188" fmla="*/ 455403 h 826492"/>
                  <a:gd name="connsiteX189" fmla="*/ 666328 w 875235"/>
                  <a:gd name="connsiteY189" fmla="*/ 451404 h 826492"/>
                  <a:gd name="connsiteX190" fmla="*/ 538218 w 875235"/>
                  <a:gd name="connsiteY190" fmla="*/ 451404 h 826492"/>
                  <a:gd name="connsiteX191" fmla="*/ 537411 w 875235"/>
                  <a:gd name="connsiteY191" fmla="*/ 455402 h 826492"/>
                  <a:gd name="connsiteX192" fmla="*/ 479774 w 875235"/>
                  <a:gd name="connsiteY192" fmla="*/ 513039 h 826492"/>
                  <a:gd name="connsiteX193" fmla="*/ 477170 w 875235"/>
                  <a:gd name="connsiteY193" fmla="*/ 513565 h 826492"/>
                  <a:gd name="connsiteX194" fmla="*/ 477170 w 875235"/>
                  <a:gd name="connsiteY194" fmla="*/ 617868 h 826492"/>
                  <a:gd name="connsiteX195" fmla="*/ 479774 w 875235"/>
                  <a:gd name="connsiteY195" fmla="*/ 618393 h 826492"/>
                  <a:gd name="connsiteX196" fmla="*/ 545922 w 875235"/>
                  <a:gd name="connsiteY196" fmla="*/ 718187 h 826492"/>
                  <a:gd name="connsiteX197" fmla="*/ 437617 w 875235"/>
                  <a:gd name="connsiteY197" fmla="*/ 826492 h 826492"/>
                  <a:gd name="connsiteX198" fmla="*/ 329312 w 875235"/>
                  <a:gd name="connsiteY198" fmla="*/ 718187 h 826492"/>
                  <a:gd name="connsiteX199" fmla="*/ 395460 w 875235"/>
                  <a:gd name="connsiteY199" fmla="*/ 618393 h 826492"/>
                  <a:gd name="connsiteX200" fmla="*/ 398064 w 875235"/>
                  <a:gd name="connsiteY200" fmla="*/ 617868 h 826492"/>
                  <a:gd name="connsiteX201" fmla="*/ 398064 w 875235"/>
                  <a:gd name="connsiteY201" fmla="*/ 513565 h 826492"/>
                  <a:gd name="connsiteX202" fmla="*/ 395460 w 875235"/>
                  <a:gd name="connsiteY202" fmla="*/ 513039 h 826492"/>
                  <a:gd name="connsiteX203" fmla="*/ 337823 w 875235"/>
                  <a:gd name="connsiteY203" fmla="*/ 455402 h 826492"/>
                  <a:gd name="connsiteX204" fmla="*/ 337016 w 875235"/>
                  <a:gd name="connsiteY204" fmla="*/ 451404 h 826492"/>
                  <a:gd name="connsiteX205" fmla="*/ 208906 w 875235"/>
                  <a:gd name="connsiteY205" fmla="*/ 451404 h 826492"/>
                  <a:gd name="connsiteX206" fmla="*/ 208099 w 875235"/>
                  <a:gd name="connsiteY206" fmla="*/ 455403 h 826492"/>
                  <a:gd name="connsiteX207" fmla="*/ 108305 w 875235"/>
                  <a:gd name="connsiteY207" fmla="*/ 521551 h 826492"/>
                  <a:gd name="connsiteX208" fmla="*/ 0 w 875235"/>
                  <a:gd name="connsiteY208" fmla="*/ 413246 h 826492"/>
                  <a:gd name="connsiteX209" fmla="*/ 108305 w 875235"/>
                  <a:gd name="connsiteY209" fmla="*/ 304940 h 826492"/>
                  <a:gd name="connsiteX210" fmla="*/ 208099 w 875235"/>
                  <a:gd name="connsiteY210" fmla="*/ 371088 h 826492"/>
                  <a:gd name="connsiteX211" fmla="*/ 208343 w 875235"/>
                  <a:gd name="connsiteY211" fmla="*/ 372297 h 826492"/>
                  <a:gd name="connsiteX212" fmla="*/ 337579 w 875235"/>
                  <a:gd name="connsiteY212" fmla="*/ 372297 h 826492"/>
                  <a:gd name="connsiteX213" fmla="*/ 337823 w 875235"/>
                  <a:gd name="connsiteY213" fmla="*/ 371087 h 826492"/>
                  <a:gd name="connsiteX214" fmla="*/ 395460 w 875235"/>
                  <a:gd name="connsiteY214" fmla="*/ 313451 h 826492"/>
                  <a:gd name="connsiteX215" fmla="*/ 398064 w 875235"/>
                  <a:gd name="connsiteY215" fmla="*/ 312925 h 826492"/>
                  <a:gd name="connsiteX216" fmla="*/ 398064 w 875235"/>
                  <a:gd name="connsiteY216" fmla="*/ 208624 h 826492"/>
                  <a:gd name="connsiteX217" fmla="*/ 395460 w 875235"/>
                  <a:gd name="connsiteY217" fmla="*/ 208099 h 826492"/>
                  <a:gd name="connsiteX218" fmla="*/ 329312 w 875235"/>
                  <a:gd name="connsiteY218" fmla="*/ 108305 h 826492"/>
                  <a:gd name="connsiteX219" fmla="*/ 437617 w 875235"/>
                  <a:gd name="connsiteY219" fmla="*/ 0 h 826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875235" h="826492">
                    <a:moveTo>
                      <a:pt x="437712" y="753602"/>
                    </a:moveTo>
                    <a:cubicBezTo>
                      <a:pt x="425087" y="753602"/>
                      <a:pt x="414852" y="763837"/>
                      <a:pt x="414852" y="776462"/>
                    </a:cubicBezTo>
                    <a:cubicBezTo>
                      <a:pt x="414852" y="789087"/>
                      <a:pt x="425087" y="799322"/>
                      <a:pt x="437712" y="799322"/>
                    </a:cubicBezTo>
                    <a:cubicBezTo>
                      <a:pt x="450337" y="799322"/>
                      <a:pt x="460572" y="789087"/>
                      <a:pt x="460572" y="776462"/>
                    </a:cubicBezTo>
                    <a:cubicBezTo>
                      <a:pt x="460572" y="763837"/>
                      <a:pt x="450337" y="753602"/>
                      <a:pt x="437712" y="753602"/>
                    </a:cubicBezTo>
                    <a:close/>
                    <a:moveTo>
                      <a:pt x="488486" y="726187"/>
                    </a:moveTo>
                    <a:cubicBezTo>
                      <a:pt x="475861" y="726187"/>
                      <a:pt x="465626" y="736422"/>
                      <a:pt x="465626" y="749047"/>
                    </a:cubicBezTo>
                    <a:cubicBezTo>
                      <a:pt x="465626" y="761672"/>
                      <a:pt x="475861" y="771907"/>
                      <a:pt x="488486" y="771907"/>
                    </a:cubicBezTo>
                    <a:cubicBezTo>
                      <a:pt x="501111" y="771907"/>
                      <a:pt x="511346" y="761672"/>
                      <a:pt x="511346" y="749047"/>
                    </a:cubicBezTo>
                    <a:cubicBezTo>
                      <a:pt x="511346" y="736422"/>
                      <a:pt x="501111" y="726187"/>
                      <a:pt x="488486" y="726187"/>
                    </a:cubicBezTo>
                    <a:close/>
                    <a:moveTo>
                      <a:pt x="386938" y="726187"/>
                    </a:moveTo>
                    <a:cubicBezTo>
                      <a:pt x="374313" y="726187"/>
                      <a:pt x="364078" y="736422"/>
                      <a:pt x="364078" y="749047"/>
                    </a:cubicBezTo>
                    <a:cubicBezTo>
                      <a:pt x="364078" y="761672"/>
                      <a:pt x="374313" y="771907"/>
                      <a:pt x="386938" y="771907"/>
                    </a:cubicBezTo>
                    <a:cubicBezTo>
                      <a:pt x="399563" y="771907"/>
                      <a:pt x="409798" y="761672"/>
                      <a:pt x="409798" y="749047"/>
                    </a:cubicBezTo>
                    <a:cubicBezTo>
                      <a:pt x="409798" y="736422"/>
                      <a:pt x="399563" y="726187"/>
                      <a:pt x="386938" y="726187"/>
                    </a:cubicBezTo>
                    <a:close/>
                    <a:moveTo>
                      <a:pt x="437712" y="696400"/>
                    </a:moveTo>
                    <a:cubicBezTo>
                      <a:pt x="425087" y="696400"/>
                      <a:pt x="414852" y="706635"/>
                      <a:pt x="414852" y="719260"/>
                    </a:cubicBezTo>
                    <a:cubicBezTo>
                      <a:pt x="414852" y="731885"/>
                      <a:pt x="425087" y="742120"/>
                      <a:pt x="437712" y="742120"/>
                    </a:cubicBezTo>
                    <a:cubicBezTo>
                      <a:pt x="450337" y="742120"/>
                      <a:pt x="460572" y="731885"/>
                      <a:pt x="460572" y="719260"/>
                    </a:cubicBezTo>
                    <a:cubicBezTo>
                      <a:pt x="460572" y="706635"/>
                      <a:pt x="450337" y="696400"/>
                      <a:pt x="437712" y="696400"/>
                    </a:cubicBezTo>
                    <a:close/>
                    <a:moveTo>
                      <a:pt x="488486" y="665784"/>
                    </a:moveTo>
                    <a:cubicBezTo>
                      <a:pt x="475861" y="665784"/>
                      <a:pt x="465626" y="676019"/>
                      <a:pt x="465626" y="688644"/>
                    </a:cubicBezTo>
                    <a:cubicBezTo>
                      <a:pt x="465626" y="701269"/>
                      <a:pt x="475861" y="711504"/>
                      <a:pt x="488486" y="711504"/>
                    </a:cubicBezTo>
                    <a:cubicBezTo>
                      <a:pt x="501111" y="711504"/>
                      <a:pt x="511346" y="701269"/>
                      <a:pt x="511346" y="688644"/>
                    </a:cubicBezTo>
                    <a:cubicBezTo>
                      <a:pt x="511346" y="676019"/>
                      <a:pt x="501111" y="665784"/>
                      <a:pt x="488486" y="665784"/>
                    </a:cubicBezTo>
                    <a:close/>
                    <a:moveTo>
                      <a:pt x="386938" y="665784"/>
                    </a:moveTo>
                    <a:cubicBezTo>
                      <a:pt x="374313" y="665784"/>
                      <a:pt x="364078" y="676019"/>
                      <a:pt x="364078" y="688644"/>
                    </a:cubicBezTo>
                    <a:cubicBezTo>
                      <a:pt x="364078" y="701269"/>
                      <a:pt x="374313" y="711504"/>
                      <a:pt x="386938" y="711504"/>
                    </a:cubicBezTo>
                    <a:cubicBezTo>
                      <a:pt x="399563" y="711504"/>
                      <a:pt x="409798" y="701269"/>
                      <a:pt x="409798" y="688644"/>
                    </a:cubicBezTo>
                    <a:cubicBezTo>
                      <a:pt x="409798" y="676019"/>
                      <a:pt x="399563" y="665784"/>
                      <a:pt x="386938" y="665784"/>
                    </a:cubicBezTo>
                    <a:close/>
                    <a:moveTo>
                      <a:pt x="437712" y="639199"/>
                    </a:moveTo>
                    <a:cubicBezTo>
                      <a:pt x="425087" y="639199"/>
                      <a:pt x="414852" y="649434"/>
                      <a:pt x="414852" y="662059"/>
                    </a:cubicBezTo>
                    <a:cubicBezTo>
                      <a:pt x="414852" y="674684"/>
                      <a:pt x="425087" y="684919"/>
                      <a:pt x="437712" y="684919"/>
                    </a:cubicBezTo>
                    <a:cubicBezTo>
                      <a:pt x="450337" y="684919"/>
                      <a:pt x="460572" y="674684"/>
                      <a:pt x="460572" y="662059"/>
                    </a:cubicBezTo>
                    <a:cubicBezTo>
                      <a:pt x="460572" y="649434"/>
                      <a:pt x="450337" y="639199"/>
                      <a:pt x="437712" y="639199"/>
                    </a:cubicBezTo>
                    <a:close/>
                    <a:moveTo>
                      <a:pt x="765165" y="449417"/>
                    </a:moveTo>
                    <a:cubicBezTo>
                      <a:pt x="752540" y="449417"/>
                      <a:pt x="742305" y="459652"/>
                      <a:pt x="742305" y="472277"/>
                    </a:cubicBezTo>
                    <a:cubicBezTo>
                      <a:pt x="742305" y="484902"/>
                      <a:pt x="752540" y="495137"/>
                      <a:pt x="765165" y="495137"/>
                    </a:cubicBezTo>
                    <a:cubicBezTo>
                      <a:pt x="777790" y="495137"/>
                      <a:pt x="788025" y="484902"/>
                      <a:pt x="788025" y="472277"/>
                    </a:cubicBezTo>
                    <a:cubicBezTo>
                      <a:pt x="788025" y="459652"/>
                      <a:pt x="777790" y="449417"/>
                      <a:pt x="765165" y="449417"/>
                    </a:cubicBezTo>
                    <a:close/>
                    <a:moveTo>
                      <a:pt x="437712" y="449417"/>
                    </a:moveTo>
                    <a:cubicBezTo>
                      <a:pt x="425087" y="449417"/>
                      <a:pt x="414852" y="459652"/>
                      <a:pt x="414852" y="472277"/>
                    </a:cubicBezTo>
                    <a:cubicBezTo>
                      <a:pt x="414852" y="484902"/>
                      <a:pt x="425087" y="495137"/>
                      <a:pt x="437712" y="495137"/>
                    </a:cubicBezTo>
                    <a:cubicBezTo>
                      <a:pt x="450337" y="495137"/>
                      <a:pt x="460572" y="484902"/>
                      <a:pt x="460572" y="472277"/>
                    </a:cubicBezTo>
                    <a:cubicBezTo>
                      <a:pt x="460572" y="459652"/>
                      <a:pt x="450337" y="449417"/>
                      <a:pt x="437712" y="449417"/>
                    </a:cubicBezTo>
                    <a:close/>
                    <a:moveTo>
                      <a:pt x="104693" y="449417"/>
                    </a:moveTo>
                    <a:cubicBezTo>
                      <a:pt x="92068" y="449417"/>
                      <a:pt x="81833" y="459652"/>
                      <a:pt x="81833" y="472277"/>
                    </a:cubicBezTo>
                    <a:cubicBezTo>
                      <a:pt x="81833" y="484902"/>
                      <a:pt x="92068" y="495137"/>
                      <a:pt x="104693" y="495137"/>
                    </a:cubicBezTo>
                    <a:cubicBezTo>
                      <a:pt x="117318" y="495137"/>
                      <a:pt x="127553" y="484902"/>
                      <a:pt x="127553" y="472277"/>
                    </a:cubicBezTo>
                    <a:cubicBezTo>
                      <a:pt x="127553" y="459652"/>
                      <a:pt x="117318" y="449417"/>
                      <a:pt x="104693" y="449417"/>
                    </a:cubicBezTo>
                    <a:close/>
                    <a:moveTo>
                      <a:pt x="815266" y="425491"/>
                    </a:moveTo>
                    <a:cubicBezTo>
                      <a:pt x="802641" y="425491"/>
                      <a:pt x="792406" y="435726"/>
                      <a:pt x="792406" y="448351"/>
                    </a:cubicBezTo>
                    <a:cubicBezTo>
                      <a:pt x="792406" y="460976"/>
                      <a:pt x="802641" y="471211"/>
                      <a:pt x="815266" y="471211"/>
                    </a:cubicBezTo>
                    <a:cubicBezTo>
                      <a:pt x="827891" y="471211"/>
                      <a:pt x="838126" y="460976"/>
                      <a:pt x="838126" y="448351"/>
                    </a:cubicBezTo>
                    <a:cubicBezTo>
                      <a:pt x="838126" y="435726"/>
                      <a:pt x="827891" y="425491"/>
                      <a:pt x="815266" y="425491"/>
                    </a:cubicBezTo>
                    <a:close/>
                    <a:moveTo>
                      <a:pt x="713718" y="425491"/>
                    </a:moveTo>
                    <a:cubicBezTo>
                      <a:pt x="701093" y="425491"/>
                      <a:pt x="690858" y="435726"/>
                      <a:pt x="690858" y="448351"/>
                    </a:cubicBezTo>
                    <a:cubicBezTo>
                      <a:pt x="690858" y="460976"/>
                      <a:pt x="701093" y="471211"/>
                      <a:pt x="713718" y="471211"/>
                    </a:cubicBezTo>
                    <a:cubicBezTo>
                      <a:pt x="726343" y="471211"/>
                      <a:pt x="736578" y="460976"/>
                      <a:pt x="736578" y="448351"/>
                    </a:cubicBezTo>
                    <a:cubicBezTo>
                      <a:pt x="736578" y="435726"/>
                      <a:pt x="726343" y="425491"/>
                      <a:pt x="713718" y="425491"/>
                    </a:cubicBezTo>
                    <a:close/>
                    <a:moveTo>
                      <a:pt x="488486" y="425491"/>
                    </a:moveTo>
                    <a:cubicBezTo>
                      <a:pt x="475861" y="425491"/>
                      <a:pt x="465626" y="435726"/>
                      <a:pt x="465626" y="448351"/>
                    </a:cubicBezTo>
                    <a:cubicBezTo>
                      <a:pt x="465626" y="460976"/>
                      <a:pt x="475861" y="471211"/>
                      <a:pt x="488486" y="471211"/>
                    </a:cubicBezTo>
                    <a:cubicBezTo>
                      <a:pt x="501111" y="471211"/>
                      <a:pt x="511346" y="460976"/>
                      <a:pt x="511346" y="448351"/>
                    </a:cubicBezTo>
                    <a:cubicBezTo>
                      <a:pt x="511346" y="435726"/>
                      <a:pt x="501111" y="425491"/>
                      <a:pt x="488486" y="425491"/>
                    </a:cubicBezTo>
                    <a:close/>
                    <a:moveTo>
                      <a:pt x="386938" y="425491"/>
                    </a:moveTo>
                    <a:cubicBezTo>
                      <a:pt x="374313" y="425491"/>
                      <a:pt x="364078" y="435726"/>
                      <a:pt x="364078" y="448351"/>
                    </a:cubicBezTo>
                    <a:cubicBezTo>
                      <a:pt x="364078" y="460976"/>
                      <a:pt x="374313" y="471211"/>
                      <a:pt x="386938" y="471211"/>
                    </a:cubicBezTo>
                    <a:cubicBezTo>
                      <a:pt x="399563" y="471211"/>
                      <a:pt x="409798" y="460976"/>
                      <a:pt x="409798" y="448351"/>
                    </a:cubicBezTo>
                    <a:cubicBezTo>
                      <a:pt x="409798" y="435726"/>
                      <a:pt x="399563" y="425491"/>
                      <a:pt x="386938" y="425491"/>
                    </a:cubicBezTo>
                    <a:close/>
                    <a:moveTo>
                      <a:pt x="160771" y="425491"/>
                    </a:moveTo>
                    <a:cubicBezTo>
                      <a:pt x="148146" y="425491"/>
                      <a:pt x="137911" y="435726"/>
                      <a:pt x="137911" y="448351"/>
                    </a:cubicBezTo>
                    <a:cubicBezTo>
                      <a:pt x="137911" y="460976"/>
                      <a:pt x="148146" y="471211"/>
                      <a:pt x="160771" y="471211"/>
                    </a:cubicBezTo>
                    <a:cubicBezTo>
                      <a:pt x="173396" y="471211"/>
                      <a:pt x="183631" y="460976"/>
                      <a:pt x="183631" y="448351"/>
                    </a:cubicBezTo>
                    <a:cubicBezTo>
                      <a:pt x="183631" y="435726"/>
                      <a:pt x="173396" y="425491"/>
                      <a:pt x="160771" y="425491"/>
                    </a:cubicBezTo>
                    <a:close/>
                    <a:moveTo>
                      <a:pt x="59223" y="425491"/>
                    </a:moveTo>
                    <a:cubicBezTo>
                      <a:pt x="46598" y="425491"/>
                      <a:pt x="36363" y="435726"/>
                      <a:pt x="36363" y="448351"/>
                    </a:cubicBezTo>
                    <a:cubicBezTo>
                      <a:pt x="36363" y="460976"/>
                      <a:pt x="46598" y="471211"/>
                      <a:pt x="59223" y="471211"/>
                    </a:cubicBezTo>
                    <a:cubicBezTo>
                      <a:pt x="71848" y="471211"/>
                      <a:pt x="82083" y="460976"/>
                      <a:pt x="82083" y="448351"/>
                    </a:cubicBezTo>
                    <a:cubicBezTo>
                      <a:pt x="82083" y="435726"/>
                      <a:pt x="71848" y="425491"/>
                      <a:pt x="59223" y="425491"/>
                    </a:cubicBezTo>
                    <a:close/>
                    <a:moveTo>
                      <a:pt x="763819" y="393660"/>
                    </a:moveTo>
                    <a:cubicBezTo>
                      <a:pt x="751194" y="393660"/>
                      <a:pt x="740959" y="403895"/>
                      <a:pt x="740959" y="416520"/>
                    </a:cubicBezTo>
                    <a:cubicBezTo>
                      <a:pt x="740959" y="429145"/>
                      <a:pt x="751194" y="439380"/>
                      <a:pt x="763819" y="439380"/>
                    </a:cubicBezTo>
                    <a:cubicBezTo>
                      <a:pt x="776444" y="439380"/>
                      <a:pt x="786679" y="429145"/>
                      <a:pt x="786679" y="416520"/>
                    </a:cubicBezTo>
                    <a:cubicBezTo>
                      <a:pt x="786679" y="403895"/>
                      <a:pt x="776444" y="393660"/>
                      <a:pt x="763819" y="393660"/>
                    </a:cubicBezTo>
                    <a:close/>
                    <a:moveTo>
                      <a:pt x="437712" y="393660"/>
                    </a:moveTo>
                    <a:cubicBezTo>
                      <a:pt x="425087" y="393660"/>
                      <a:pt x="414852" y="403895"/>
                      <a:pt x="414852" y="416520"/>
                    </a:cubicBezTo>
                    <a:cubicBezTo>
                      <a:pt x="414852" y="429145"/>
                      <a:pt x="425087" y="439380"/>
                      <a:pt x="437712" y="439380"/>
                    </a:cubicBezTo>
                    <a:cubicBezTo>
                      <a:pt x="450337" y="439380"/>
                      <a:pt x="460572" y="429145"/>
                      <a:pt x="460572" y="416520"/>
                    </a:cubicBezTo>
                    <a:cubicBezTo>
                      <a:pt x="460572" y="403895"/>
                      <a:pt x="450337" y="393660"/>
                      <a:pt x="437712" y="393660"/>
                    </a:cubicBezTo>
                    <a:close/>
                    <a:moveTo>
                      <a:pt x="104266" y="393660"/>
                    </a:moveTo>
                    <a:cubicBezTo>
                      <a:pt x="91641" y="393660"/>
                      <a:pt x="81406" y="403895"/>
                      <a:pt x="81406" y="416520"/>
                    </a:cubicBezTo>
                    <a:cubicBezTo>
                      <a:pt x="81406" y="429145"/>
                      <a:pt x="91641" y="439380"/>
                      <a:pt x="104266" y="439380"/>
                    </a:cubicBezTo>
                    <a:cubicBezTo>
                      <a:pt x="116891" y="439380"/>
                      <a:pt x="127126" y="429145"/>
                      <a:pt x="127126" y="416520"/>
                    </a:cubicBezTo>
                    <a:cubicBezTo>
                      <a:pt x="127126" y="403895"/>
                      <a:pt x="116891" y="393660"/>
                      <a:pt x="104266" y="393660"/>
                    </a:cubicBezTo>
                    <a:close/>
                    <a:moveTo>
                      <a:pt x="815266" y="365088"/>
                    </a:moveTo>
                    <a:cubicBezTo>
                      <a:pt x="802641" y="365088"/>
                      <a:pt x="792406" y="375323"/>
                      <a:pt x="792406" y="387948"/>
                    </a:cubicBezTo>
                    <a:cubicBezTo>
                      <a:pt x="792406" y="400573"/>
                      <a:pt x="802641" y="410808"/>
                      <a:pt x="815266" y="410808"/>
                    </a:cubicBezTo>
                    <a:cubicBezTo>
                      <a:pt x="827891" y="410808"/>
                      <a:pt x="838126" y="400573"/>
                      <a:pt x="838126" y="387948"/>
                    </a:cubicBezTo>
                    <a:cubicBezTo>
                      <a:pt x="838126" y="375323"/>
                      <a:pt x="827891" y="365088"/>
                      <a:pt x="815266" y="365088"/>
                    </a:cubicBezTo>
                    <a:close/>
                    <a:moveTo>
                      <a:pt x="713718" y="365088"/>
                    </a:moveTo>
                    <a:cubicBezTo>
                      <a:pt x="701093" y="365088"/>
                      <a:pt x="690858" y="375323"/>
                      <a:pt x="690858" y="387948"/>
                    </a:cubicBezTo>
                    <a:cubicBezTo>
                      <a:pt x="690858" y="400573"/>
                      <a:pt x="701093" y="410808"/>
                      <a:pt x="713718" y="410808"/>
                    </a:cubicBezTo>
                    <a:cubicBezTo>
                      <a:pt x="726343" y="410808"/>
                      <a:pt x="736578" y="400573"/>
                      <a:pt x="736578" y="387948"/>
                    </a:cubicBezTo>
                    <a:cubicBezTo>
                      <a:pt x="736578" y="375323"/>
                      <a:pt x="726343" y="365088"/>
                      <a:pt x="713718" y="365088"/>
                    </a:cubicBezTo>
                    <a:close/>
                    <a:moveTo>
                      <a:pt x="488486" y="365088"/>
                    </a:moveTo>
                    <a:cubicBezTo>
                      <a:pt x="475861" y="365088"/>
                      <a:pt x="465626" y="375323"/>
                      <a:pt x="465626" y="387948"/>
                    </a:cubicBezTo>
                    <a:cubicBezTo>
                      <a:pt x="465626" y="400573"/>
                      <a:pt x="475861" y="410808"/>
                      <a:pt x="488486" y="410808"/>
                    </a:cubicBezTo>
                    <a:cubicBezTo>
                      <a:pt x="501111" y="410808"/>
                      <a:pt x="511346" y="400573"/>
                      <a:pt x="511346" y="387948"/>
                    </a:cubicBezTo>
                    <a:cubicBezTo>
                      <a:pt x="511346" y="375323"/>
                      <a:pt x="501111" y="365088"/>
                      <a:pt x="488486" y="365088"/>
                    </a:cubicBezTo>
                    <a:close/>
                    <a:moveTo>
                      <a:pt x="386938" y="365088"/>
                    </a:moveTo>
                    <a:cubicBezTo>
                      <a:pt x="374313" y="365088"/>
                      <a:pt x="364078" y="375323"/>
                      <a:pt x="364078" y="387948"/>
                    </a:cubicBezTo>
                    <a:cubicBezTo>
                      <a:pt x="364078" y="400573"/>
                      <a:pt x="374313" y="410808"/>
                      <a:pt x="386938" y="410808"/>
                    </a:cubicBezTo>
                    <a:cubicBezTo>
                      <a:pt x="399563" y="410808"/>
                      <a:pt x="409798" y="400573"/>
                      <a:pt x="409798" y="387948"/>
                    </a:cubicBezTo>
                    <a:cubicBezTo>
                      <a:pt x="409798" y="375323"/>
                      <a:pt x="399563" y="365088"/>
                      <a:pt x="386938" y="365088"/>
                    </a:cubicBezTo>
                    <a:close/>
                    <a:moveTo>
                      <a:pt x="160771" y="365088"/>
                    </a:moveTo>
                    <a:cubicBezTo>
                      <a:pt x="148146" y="365088"/>
                      <a:pt x="137911" y="375323"/>
                      <a:pt x="137911" y="387948"/>
                    </a:cubicBezTo>
                    <a:cubicBezTo>
                      <a:pt x="137911" y="400573"/>
                      <a:pt x="148146" y="410808"/>
                      <a:pt x="160771" y="410808"/>
                    </a:cubicBezTo>
                    <a:cubicBezTo>
                      <a:pt x="173396" y="410808"/>
                      <a:pt x="183631" y="400573"/>
                      <a:pt x="183631" y="387948"/>
                    </a:cubicBezTo>
                    <a:cubicBezTo>
                      <a:pt x="183631" y="375323"/>
                      <a:pt x="173396" y="365088"/>
                      <a:pt x="160771" y="365088"/>
                    </a:cubicBezTo>
                    <a:close/>
                    <a:moveTo>
                      <a:pt x="59223" y="365088"/>
                    </a:moveTo>
                    <a:cubicBezTo>
                      <a:pt x="46598" y="365088"/>
                      <a:pt x="36363" y="375323"/>
                      <a:pt x="36363" y="387948"/>
                    </a:cubicBezTo>
                    <a:cubicBezTo>
                      <a:pt x="36363" y="400573"/>
                      <a:pt x="46598" y="410808"/>
                      <a:pt x="59223" y="410808"/>
                    </a:cubicBezTo>
                    <a:cubicBezTo>
                      <a:pt x="71848" y="410808"/>
                      <a:pt x="82083" y="400573"/>
                      <a:pt x="82083" y="387948"/>
                    </a:cubicBezTo>
                    <a:cubicBezTo>
                      <a:pt x="82083" y="375323"/>
                      <a:pt x="71848" y="365088"/>
                      <a:pt x="59223" y="365088"/>
                    </a:cubicBezTo>
                    <a:close/>
                    <a:moveTo>
                      <a:pt x="765165" y="335014"/>
                    </a:moveTo>
                    <a:cubicBezTo>
                      <a:pt x="752540" y="335014"/>
                      <a:pt x="742305" y="345249"/>
                      <a:pt x="742305" y="357874"/>
                    </a:cubicBezTo>
                    <a:cubicBezTo>
                      <a:pt x="742305" y="370499"/>
                      <a:pt x="752540" y="380734"/>
                      <a:pt x="765165" y="380734"/>
                    </a:cubicBezTo>
                    <a:cubicBezTo>
                      <a:pt x="777790" y="380734"/>
                      <a:pt x="788025" y="370499"/>
                      <a:pt x="788025" y="357874"/>
                    </a:cubicBezTo>
                    <a:cubicBezTo>
                      <a:pt x="788025" y="345249"/>
                      <a:pt x="777790" y="335014"/>
                      <a:pt x="765165" y="335014"/>
                    </a:cubicBezTo>
                    <a:close/>
                    <a:moveTo>
                      <a:pt x="437712" y="335014"/>
                    </a:moveTo>
                    <a:cubicBezTo>
                      <a:pt x="425087" y="335014"/>
                      <a:pt x="414852" y="345249"/>
                      <a:pt x="414852" y="357874"/>
                    </a:cubicBezTo>
                    <a:cubicBezTo>
                      <a:pt x="414852" y="370499"/>
                      <a:pt x="425087" y="380734"/>
                      <a:pt x="437712" y="380734"/>
                    </a:cubicBezTo>
                    <a:cubicBezTo>
                      <a:pt x="450337" y="380734"/>
                      <a:pt x="460572" y="370499"/>
                      <a:pt x="460572" y="357874"/>
                    </a:cubicBezTo>
                    <a:cubicBezTo>
                      <a:pt x="460572" y="345249"/>
                      <a:pt x="450337" y="335014"/>
                      <a:pt x="437712" y="335014"/>
                    </a:cubicBezTo>
                    <a:close/>
                    <a:moveTo>
                      <a:pt x="104693" y="335014"/>
                    </a:moveTo>
                    <a:cubicBezTo>
                      <a:pt x="92068" y="335014"/>
                      <a:pt x="81833" y="345249"/>
                      <a:pt x="81833" y="357874"/>
                    </a:cubicBezTo>
                    <a:cubicBezTo>
                      <a:pt x="81833" y="370499"/>
                      <a:pt x="92068" y="380734"/>
                      <a:pt x="104693" y="380734"/>
                    </a:cubicBezTo>
                    <a:cubicBezTo>
                      <a:pt x="117318" y="380734"/>
                      <a:pt x="127553" y="370499"/>
                      <a:pt x="127553" y="357874"/>
                    </a:cubicBezTo>
                    <a:cubicBezTo>
                      <a:pt x="127553" y="345249"/>
                      <a:pt x="117318" y="335014"/>
                      <a:pt x="104693" y="335014"/>
                    </a:cubicBezTo>
                    <a:close/>
                    <a:moveTo>
                      <a:pt x="437712" y="138633"/>
                    </a:moveTo>
                    <a:cubicBezTo>
                      <a:pt x="425087" y="138633"/>
                      <a:pt x="414852" y="148868"/>
                      <a:pt x="414852" y="161493"/>
                    </a:cubicBezTo>
                    <a:cubicBezTo>
                      <a:pt x="414852" y="174118"/>
                      <a:pt x="425087" y="184353"/>
                      <a:pt x="437712" y="184353"/>
                    </a:cubicBezTo>
                    <a:cubicBezTo>
                      <a:pt x="450337" y="184353"/>
                      <a:pt x="460572" y="174118"/>
                      <a:pt x="460572" y="161493"/>
                    </a:cubicBezTo>
                    <a:cubicBezTo>
                      <a:pt x="460572" y="148868"/>
                      <a:pt x="450337" y="138633"/>
                      <a:pt x="437712" y="138633"/>
                    </a:cubicBezTo>
                    <a:close/>
                    <a:moveTo>
                      <a:pt x="488486" y="113932"/>
                    </a:moveTo>
                    <a:cubicBezTo>
                      <a:pt x="475861" y="113932"/>
                      <a:pt x="465626" y="124167"/>
                      <a:pt x="465626" y="136792"/>
                    </a:cubicBezTo>
                    <a:cubicBezTo>
                      <a:pt x="465626" y="149417"/>
                      <a:pt x="475861" y="159652"/>
                      <a:pt x="488486" y="159652"/>
                    </a:cubicBezTo>
                    <a:cubicBezTo>
                      <a:pt x="501111" y="159652"/>
                      <a:pt x="511346" y="149417"/>
                      <a:pt x="511346" y="136792"/>
                    </a:cubicBezTo>
                    <a:cubicBezTo>
                      <a:pt x="511346" y="124167"/>
                      <a:pt x="501111" y="113932"/>
                      <a:pt x="488486" y="113932"/>
                    </a:cubicBezTo>
                    <a:close/>
                    <a:moveTo>
                      <a:pt x="386938" y="113932"/>
                    </a:moveTo>
                    <a:cubicBezTo>
                      <a:pt x="374313" y="113932"/>
                      <a:pt x="364078" y="124167"/>
                      <a:pt x="364078" y="136792"/>
                    </a:cubicBezTo>
                    <a:cubicBezTo>
                      <a:pt x="364078" y="149417"/>
                      <a:pt x="374313" y="159652"/>
                      <a:pt x="386938" y="159652"/>
                    </a:cubicBezTo>
                    <a:cubicBezTo>
                      <a:pt x="399563" y="159652"/>
                      <a:pt x="409798" y="149417"/>
                      <a:pt x="409798" y="136792"/>
                    </a:cubicBezTo>
                    <a:cubicBezTo>
                      <a:pt x="409798" y="124167"/>
                      <a:pt x="399563" y="113932"/>
                      <a:pt x="386938" y="113932"/>
                    </a:cubicBezTo>
                    <a:close/>
                    <a:moveTo>
                      <a:pt x="437712" y="81407"/>
                    </a:moveTo>
                    <a:cubicBezTo>
                      <a:pt x="425087" y="81407"/>
                      <a:pt x="414852" y="91642"/>
                      <a:pt x="414852" y="104267"/>
                    </a:cubicBezTo>
                    <a:cubicBezTo>
                      <a:pt x="414852" y="116892"/>
                      <a:pt x="425087" y="127127"/>
                      <a:pt x="437712" y="127127"/>
                    </a:cubicBezTo>
                    <a:cubicBezTo>
                      <a:pt x="450337" y="127127"/>
                      <a:pt x="460572" y="116892"/>
                      <a:pt x="460572" y="104267"/>
                    </a:cubicBezTo>
                    <a:cubicBezTo>
                      <a:pt x="460572" y="91642"/>
                      <a:pt x="450337" y="81407"/>
                      <a:pt x="437712" y="81407"/>
                    </a:cubicBezTo>
                    <a:close/>
                    <a:moveTo>
                      <a:pt x="488486" y="53529"/>
                    </a:moveTo>
                    <a:cubicBezTo>
                      <a:pt x="475861" y="53529"/>
                      <a:pt x="465626" y="63764"/>
                      <a:pt x="465626" y="76389"/>
                    </a:cubicBezTo>
                    <a:cubicBezTo>
                      <a:pt x="465626" y="89014"/>
                      <a:pt x="475861" y="99249"/>
                      <a:pt x="488486" y="99249"/>
                    </a:cubicBezTo>
                    <a:cubicBezTo>
                      <a:pt x="501111" y="99249"/>
                      <a:pt x="511346" y="89014"/>
                      <a:pt x="511346" y="76389"/>
                    </a:cubicBezTo>
                    <a:cubicBezTo>
                      <a:pt x="511346" y="63764"/>
                      <a:pt x="501111" y="53529"/>
                      <a:pt x="488486" y="53529"/>
                    </a:cubicBezTo>
                    <a:close/>
                    <a:moveTo>
                      <a:pt x="386938" y="53529"/>
                    </a:moveTo>
                    <a:cubicBezTo>
                      <a:pt x="374313" y="53529"/>
                      <a:pt x="364078" y="63764"/>
                      <a:pt x="364078" y="76389"/>
                    </a:cubicBezTo>
                    <a:cubicBezTo>
                      <a:pt x="364078" y="89014"/>
                      <a:pt x="374313" y="99249"/>
                      <a:pt x="386938" y="99249"/>
                    </a:cubicBezTo>
                    <a:cubicBezTo>
                      <a:pt x="399563" y="99249"/>
                      <a:pt x="409798" y="89014"/>
                      <a:pt x="409798" y="76389"/>
                    </a:cubicBezTo>
                    <a:cubicBezTo>
                      <a:pt x="409798" y="63764"/>
                      <a:pt x="399563" y="53529"/>
                      <a:pt x="386938" y="53529"/>
                    </a:cubicBezTo>
                    <a:close/>
                    <a:moveTo>
                      <a:pt x="437712" y="24230"/>
                    </a:moveTo>
                    <a:cubicBezTo>
                      <a:pt x="425087" y="24230"/>
                      <a:pt x="414852" y="34465"/>
                      <a:pt x="414852" y="47090"/>
                    </a:cubicBezTo>
                    <a:cubicBezTo>
                      <a:pt x="414852" y="59715"/>
                      <a:pt x="425087" y="69950"/>
                      <a:pt x="437712" y="69950"/>
                    </a:cubicBezTo>
                    <a:cubicBezTo>
                      <a:pt x="450337" y="69950"/>
                      <a:pt x="460572" y="59715"/>
                      <a:pt x="460572" y="47090"/>
                    </a:cubicBezTo>
                    <a:cubicBezTo>
                      <a:pt x="460572" y="34465"/>
                      <a:pt x="450337" y="24230"/>
                      <a:pt x="437712" y="24230"/>
                    </a:cubicBezTo>
                    <a:close/>
                    <a:moveTo>
                      <a:pt x="437617" y="0"/>
                    </a:moveTo>
                    <a:cubicBezTo>
                      <a:pt x="497432" y="0"/>
                      <a:pt x="545922" y="48490"/>
                      <a:pt x="545922" y="108305"/>
                    </a:cubicBezTo>
                    <a:cubicBezTo>
                      <a:pt x="545922" y="153166"/>
                      <a:pt x="518647" y="191657"/>
                      <a:pt x="479774" y="208099"/>
                    </a:cubicBezTo>
                    <a:lnTo>
                      <a:pt x="477170" y="208624"/>
                    </a:lnTo>
                    <a:lnTo>
                      <a:pt x="477170" y="312925"/>
                    </a:lnTo>
                    <a:lnTo>
                      <a:pt x="479774" y="313451"/>
                    </a:lnTo>
                    <a:cubicBezTo>
                      <a:pt x="505689" y="324412"/>
                      <a:pt x="526449" y="345172"/>
                      <a:pt x="537411" y="371087"/>
                    </a:cubicBezTo>
                    <a:lnTo>
                      <a:pt x="537655" y="372297"/>
                    </a:lnTo>
                    <a:lnTo>
                      <a:pt x="666891" y="372297"/>
                    </a:lnTo>
                    <a:lnTo>
                      <a:pt x="667135" y="371088"/>
                    </a:lnTo>
                    <a:cubicBezTo>
                      <a:pt x="683577" y="332216"/>
                      <a:pt x="722068" y="304940"/>
                      <a:pt x="766930" y="304940"/>
                    </a:cubicBezTo>
                    <a:cubicBezTo>
                      <a:pt x="826745" y="304940"/>
                      <a:pt x="875235" y="353430"/>
                      <a:pt x="875235" y="413246"/>
                    </a:cubicBezTo>
                    <a:cubicBezTo>
                      <a:pt x="875235" y="473061"/>
                      <a:pt x="826745" y="521551"/>
                      <a:pt x="766930" y="521551"/>
                    </a:cubicBezTo>
                    <a:cubicBezTo>
                      <a:pt x="722068" y="521551"/>
                      <a:pt x="683577" y="494276"/>
                      <a:pt x="667135" y="455403"/>
                    </a:cubicBezTo>
                    <a:lnTo>
                      <a:pt x="666328" y="451404"/>
                    </a:lnTo>
                    <a:lnTo>
                      <a:pt x="538218" y="451404"/>
                    </a:lnTo>
                    <a:lnTo>
                      <a:pt x="537411" y="455402"/>
                    </a:lnTo>
                    <a:cubicBezTo>
                      <a:pt x="526449" y="481317"/>
                      <a:pt x="505689" y="502078"/>
                      <a:pt x="479774" y="513039"/>
                    </a:cubicBezTo>
                    <a:lnTo>
                      <a:pt x="477170" y="513565"/>
                    </a:lnTo>
                    <a:lnTo>
                      <a:pt x="477170" y="617868"/>
                    </a:lnTo>
                    <a:lnTo>
                      <a:pt x="479774" y="618393"/>
                    </a:lnTo>
                    <a:cubicBezTo>
                      <a:pt x="518647" y="634835"/>
                      <a:pt x="545922" y="673326"/>
                      <a:pt x="545922" y="718187"/>
                    </a:cubicBezTo>
                    <a:cubicBezTo>
                      <a:pt x="545922" y="778002"/>
                      <a:pt x="497432" y="826492"/>
                      <a:pt x="437617" y="826492"/>
                    </a:cubicBezTo>
                    <a:cubicBezTo>
                      <a:pt x="377802" y="826492"/>
                      <a:pt x="329312" y="778002"/>
                      <a:pt x="329312" y="718187"/>
                    </a:cubicBezTo>
                    <a:cubicBezTo>
                      <a:pt x="329312" y="673326"/>
                      <a:pt x="356588" y="634835"/>
                      <a:pt x="395460" y="618393"/>
                    </a:cubicBezTo>
                    <a:lnTo>
                      <a:pt x="398064" y="617868"/>
                    </a:lnTo>
                    <a:lnTo>
                      <a:pt x="398064" y="513565"/>
                    </a:lnTo>
                    <a:lnTo>
                      <a:pt x="395460" y="513039"/>
                    </a:lnTo>
                    <a:cubicBezTo>
                      <a:pt x="369545" y="502078"/>
                      <a:pt x="348784" y="481317"/>
                      <a:pt x="337823" y="455402"/>
                    </a:cubicBezTo>
                    <a:lnTo>
                      <a:pt x="337016" y="451404"/>
                    </a:lnTo>
                    <a:lnTo>
                      <a:pt x="208906" y="451404"/>
                    </a:lnTo>
                    <a:lnTo>
                      <a:pt x="208099" y="455403"/>
                    </a:lnTo>
                    <a:cubicBezTo>
                      <a:pt x="191657" y="494276"/>
                      <a:pt x="153167" y="521551"/>
                      <a:pt x="108305" y="521551"/>
                    </a:cubicBezTo>
                    <a:cubicBezTo>
                      <a:pt x="48490" y="521551"/>
                      <a:pt x="0" y="473061"/>
                      <a:pt x="0" y="413246"/>
                    </a:cubicBezTo>
                    <a:cubicBezTo>
                      <a:pt x="0" y="353430"/>
                      <a:pt x="48490" y="304940"/>
                      <a:pt x="108305" y="304940"/>
                    </a:cubicBezTo>
                    <a:cubicBezTo>
                      <a:pt x="153167" y="304940"/>
                      <a:pt x="191657" y="332216"/>
                      <a:pt x="208099" y="371088"/>
                    </a:cubicBezTo>
                    <a:lnTo>
                      <a:pt x="208343" y="372297"/>
                    </a:lnTo>
                    <a:lnTo>
                      <a:pt x="337579" y="372297"/>
                    </a:lnTo>
                    <a:lnTo>
                      <a:pt x="337823" y="371087"/>
                    </a:lnTo>
                    <a:cubicBezTo>
                      <a:pt x="348784" y="345172"/>
                      <a:pt x="369545" y="324412"/>
                      <a:pt x="395460" y="313451"/>
                    </a:cubicBezTo>
                    <a:lnTo>
                      <a:pt x="398064" y="312925"/>
                    </a:lnTo>
                    <a:lnTo>
                      <a:pt x="398064" y="208624"/>
                    </a:lnTo>
                    <a:lnTo>
                      <a:pt x="395460" y="208099"/>
                    </a:lnTo>
                    <a:cubicBezTo>
                      <a:pt x="356588" y="191657"/>
                      <a:pt x="329312" y="153166"/>
                      <a:pt x="329312" y="108305"/>
                    </a:cubicBezTo>
                    <a:cubicBezTo>
                      <a:pt x="329312" y="48490"/>
                      <a:pt x="377802" y="0"/>
                      <a:pt x="43761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90" name="Round Single Corner Rectangle 89"/>
          <p:cNvSpPr/>
          <p:nvPr/>
        </p:nvSpPr>
        <p:spPr>
          <a:xfrm>
            <a:off x="4636662" y="1628367"/>
            <a:ext cx="4571999" cy="1255594"/>
          </a:xfrm>
          <a:prstGeom prst="round1Rect">
            <a:avLst/>
          </a:prstGeom>
          <a:solidFill>
            <a:schemeClr val="bg2"/>
          </a:solidFill>
        </p:spPr>
        <p:txBody>
          <a:bodyPr wrap="square" lIns="182880" anchor="ctr">
            <a:noAutofit/>
          </a:bodyPr>
          <a:lstStyle/>
          <a:p>
            <a:pPr lvl="0">
              <a:lnSpc>
                <a:spcPct val="90000"/>
              </a:lnSpc>
            </a:pPr>
            <a:r>
              <a:rPr lang="en-GB" sz="4400" b="1" dirty="0" smtClean="0">
                <a:solidFill>
                  <a:schemeClr val="bg2">
                    <a:lumMod val="50000"/>
                  </a:schemeClr>
                </a:solidFill>
              </a:rPr>
              <a:t>Protect</a:t>
            </a:r>
            <a:endParaRPr lang="en-US" sz="4400" b="1" dirty="0" err="1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91" name="Round Diagonal Corner Rectangle 90"/>
          <p:cNvSpPr/>
          <p:nvPr/>
        </p:nvSpPr>
        <p:spPr>
          <a:xfrm flipH="1">
            <a:off x="4636661" y="3251482"/>
            <a:ext cx="4572000" cy="1255594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2"/>
          </a:solidFill>
        </p:spPr>
        <p:txBody>
          <a:bodyPr wrap="square" lIns="182880" anchor="ctr">
            <a:noAutofit/>
          </a:bodyPr>
          <a:lstStyle/>
          <a:p>
            <a:pPr lvl="0">
              <a:lnSpc>
                <a:spcPct val="90000"/>
              </a:lnSpc>
            </a:pPr>
            <a:r>
              <a:rPr lang="en-GB" sz="4400" b="1" dirty="0" smtClean="0">
                <a:solidFill>
                  <a:schemeClr val="bg2">
                    <a:lumMod val="50000"/>
                  </a:schemeClr>
                </a:solidFill>
              </a:rPr>
              <a:t>Detect</a:t>
            </a:r>
            <a:endParaRPr lang="en-US" sz="4400" b="1" dirty="0" err="1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92" name="Round Single Corner Rectangle 91"/>
          <p:cNvSpPr/>
          <p:nvPr/>
        </p:nvSpPr>
        <p:spPr>
          <a:xfrm rot="10800000">
            <a:off x="4636661" y="4902591"/>
            <a:ext cx="4572000" cy="1255594"/>
          </a:xfrm>
          <a:prstGeom prst="round1Rect">
            <a:avLst/>
          </a:prstGeom>
          <a:solidFill>
            <a:schemeClr val="bg2"/>
          </a:solidFill>
        </p:spPr>
        <p:txBody>
          <a:bodyPr wrap="square" lIns="182880" anchor="ctr">
            <a:noAutofit/>
          </a:bodyPr>
          <a:lstStyle/>
          <a:p>
            <a:pPr lvl="0">
              <a:lnSpc>
                <a:spcPct val="90000"/>
              </a:lnSpc>
            </a:pPr>
            <a:endParaRPr lang="en-US" sz="4400" b="1" dirty="0" err="1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87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257" y="3708811"/>
            <a:ext cx="1746468" cy="3877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3" name="Freeform 34"/>
          <p:cNvSpPr>
            <a:spLocks noEditPoints="1"/>
          </p:cNvSpPr>
          <p:nvPr/>
        </p:nvSpPr>
        <p:spPr bwMode="auto">
          <a:xfrm>
            <a:off x="7621349" y="1856709"/>
            <a:ext cx="708284" cy="838756"/>
          </a:xfrm>
          <a:custGeom>
            <a:avLst/>
            <a:gdLst>
              <a:gd name="T0" fmla="*/ 257 w 303"/>
              <a:gd name="T1" fmla="*/ 165 h 359"/>
              <a:gd name="T2" fmla="*/ 257 w 303"/>
              <a:gd name="T3" fmla="*/ 108 h 359"/>
              <a:gd name="T4" fmla="*/ 255 w 303"/>
              <a:gd name="T5" fmla="*/ 86 h 359"/>
              <a:gd name="T6" fmla="*/ 248 w 303"/>
              <a:gd name="T7" fmla="*/ 66 h 359"/>
              <a:gd name="T8" fmla="*/ 238 w 303"/>
              <a:gd name="T9" fmla="*/ 48 h 359"/>
              <a:gd name="T10" fmla="*/ 225 w 303"/>
              <a:gd name="T11" fmla="*/ 33 h 359"/>
              <a:gd name="T12" fmla="*/ 209 w 303"/>
              <a:gd name="T13" fmla="*/ 19 h 359"/>
              <a:gd name="T14" fmla="*/ 191 w 303"/>
              <a:gd name="T15" fmla="*/ 9 h 359"/>
              <a:gd name="T16" fmla="*/ 171 w 303"/>
              <a:gd name="T17" fmla="*/ 3 h 359"/>
              <a:gd name="T18" fmla="*/ 150 w 303"/>
              <a:gd name="T19" fmla="*/ 0 h 359"/>
              <a:gd name="T20" fmla="*/ 139 w 303"/>
              <a:gd name="T21" fmla="*/ 2 h 359"/>
              <a:gd name="T22" fmla="*/ 118 w 303"/>
              <a:gd name="T23" fmla="*/ 6 h 359"/>
              <a:gd name="T24" fmla="*/ 98 w 303"/>
              <a:gd name="T25" fmla="*/ 13 h 359"/>
              <a:gd name="T26" fmla="*/ 82 w 303"/>
              <a:gd name="T27" fmla="*/ 25 h 359"/>
              <a:gd name="T28" fmla="*/ 67 w 303"/>
              <a:gd name="T29" fmla="*/ 40 h 359"/>
              <a:gd name="T30" fmla="*/ 55 w 303"/>
              <a:gd name="T31" fmla="*/ 56 h 359"/>
              <a:gd name="T32" fmla="*/ 48 w 303"/>
              <a:gd name="T33" fmla="*/ 76 h 359"/>
              <a:gd name="T34" fmla="*/ 43 w 303"/>
              <a:gd name="T35" fmla="*/ 97 h 359"/>
              <a:gd name="T36" fmla="*/ 42 w 303"/>
              <a:gd name="T37" fmla="*/ 165 h 359"/>
              <a:gd name="T38" fmla="*/ 0 w 303"/>
              <a:gd name="T39" fmla="*/ 337 h 359"/>
              <a:gd name="T40" fmla="*/ 1 w 303"/>
              <a:gd name="T41" fmla="*/ 341 h 359"/>
              <a:gd name="T42" fmla="*/ 4 w 303"/>
              <a:gd name="T43" fmla="*/ 350 h 359"/>
              <a:gd name="T44" fmla="*/ 11 w 303"/>
              <a:gd name="T45" fmla="*/ 355 h 359"/>
              <a:gd name="T46" fmla="*/ 18 w 303"/>
              <a:gd name="T47" fmla="*/ 359 h 359"/>
              <a:gd name="T48" fmla="*/ 303 w 303"/>
              <a:gd name="T49" fmla="*/ 359 h 359"/>
              <a:gd name="T50" fmla="*/ 303 w 303"/>
              <a:gd name="T51" fmla="*/ 187 h 359"/>
              <a:gd name="T52" fmla="*/ 301 w 303"/>
              <a:gd name="T53" fmla="*/ 179 h 359"/>
              <a:gd name="T54" fmla="*/ 297 w 303"/>
              <a:gd name="T55" fmla="*/ 171 h 359"/>
              <a:gd name="T56" fmla="*/ 289 w 303"/>
              <a:gd name="T57" fmla="*/ 167 h 359"/>
              <a:gd name="T58" fmla="*/ 280 w 303"/>
              <a:gd name="T59" fmla="*/ 165 h 359"/>
              <a:gd name="T60" fmla="*/ 88 w 303"/>
              <a:gd name="T61" fmla="*/ 108 h 359"/>
              <a:gd name="T62" fmla="*/ 90 w 303"/>
              <a:gd name="T63" fmla="*/ 95 h 359"/>
              <a:gd name="T64" fmla="*/ 99 w 303"/>
              <a:gd name="T65" fmla="*/ 74 h 359"/>
              <a:gd name="T66" fmla="*/ 115 w 303"/>
              <a:gd name="T67" fmla="*/ 57 h 359"/>
              <a:gd name="T68" fmla="*/ 137 w 303"/>
              <a:gd name="T69" fmla="*/ 48 h 359"/>
              <a:gd name="T70" fmla="*/ 150 w 303"/>
              <a:gd name="T71" fmla="*/ 47 h 359"/>
              <a:gd name="T72" fmla="*/ 174 w 303"/>
              <a:gd name="T73" fmla="*/ 51 h 359"/>
              <a:gd name="T74" fmla="*/ 193 w 303"/>
              <a:gd name="T75" fmla="*/ 65 h 359"/>
              <a:gd name="T76" fmla="*/ 206 w 303"/>
              <a:gd name="T77" fmla="*/ 84 h 359"/>
              <a:gd name="T78" fmla="*/ 211 w 303"/>
              <a:gd name="T79" fmla="*/ 108 h 359"/>
              <a:gd name="T80" fmla="*/ 88 w 303"/>
              <a:gd name="T81" fmla="*/ 165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03" h="359">
                <a:moveTo>
                  <a:pt x="280" y="165"/>
                </a:moveTo>
                <a:lnTo>
                  <a:pt x="257" y="165"/>
                </a:lnTo>
                <a:lnTo>
                  <a:pt x="257" y="108"/>
                </a:lnTo>
                <a:lnTo>
                  <a:pt x="257" y="108"/>
                </a:lnTo>
                <a:lnTo>
                  <a:pt x="257" y="97"/>
                </a:lnTo>
                <a:lnTo>
                  <a:pt x="255" y="86"/>
                </a:lnTo>
                <a:lnTo>
                  <a:pt x="252" y="76"/>
                </a:lnTo>
                <a:lnTo>
                  <a:pt x="248" y="66"/>
                </a:lnTo>
                <a:lnTo>
                  <a:pt x="244" y="56"/>
                </a:lnTo>
                <a:lnTo>
                  <a:pt x="238" y="48"/>
                </a:lnTo>
                <a:lnTo>
                  <a:pt x="233" y="40"/>
                </a:lnTo>
                <a:lnTo>
                  <a:pt x="225" y="33"/>
                </a:lnTo>
                <a:lnTo>
                  <a:pt x="218" y="25"/>
                </a:lnTo>
                <a:lnTo>
                  <a:pt x="209" y="19"/>
                </a:lnTo>
                <a:lnTo>
                  <a:pt x="201" y="13"/>
                </a:lnTo>
                <a:lnTo>
                  <a:pt x="191" y="9"/>
                </a:lnTo>
                <a:lnTo>
                  <a:pt x="181" y="6"/>
                </a:lnTo>
                <a:lnTo>
                  <a:pt x="171" y="3"/>
                </a:lnTo>
                <a:lnTo>
                  <a:pt x="161" y="2"/>
                </a:lnTo>
                <a:lnTo>
                  <a:pt x="150" y="0"/>
                </a:lnTo>
                <a:lnTo>
                  <a:pt x="150" y="0"/>
                </a:lnTo>
                <a:lnTo>
                  <a:pt x="139" y="2"/>
                </a:lnTo>
                <a:lnTo>
                  <a:pt x="128" y="3"/>
                </a:lnTo>
                <a:lnTo>
                  <a:pt x="118" y="6"/>
                </a:lnTo>
                <a:lnTo>
                  <a:pt x="108" y="9"/>
                </a:lnTo>
                <a:lnTo>
                  <a:pt x="98" y="13"/>
                </a:lnTo>
                <a:lnTo>
                  <a:pt x="90" y="19"/>
                </a:lnTo>
                <a:lnTo>
                  <a:pt x="82" y="25"/>
                </a:lnTo>
                <a:lnTo>
                  <a:pt x="74" y="33"/>
                </a:lnTo>
                <a:lnTo>
                  <a:pt x="67" y="40"/>
                </a:lnTo>
                <a:lnTo>
                  <a:pt x="60" y="48"/>
                </a:lnTo>
                <a:lnTo>
                  <a:pt x="55" y="56"/>
                </a:lnTo>
                <a:lnTo>
                  <a:pt x="51" y="66"/>
                </a:lnTo>
                <a:lnTo>
                  <a:pt x="48" y="76"/>
                </a:lnTo>
                <a:lnTo>
                  <a:pt x="44" y="86"/>
                </a:lnTo>
                <a:lnTo>
                  <a:pt x="43" y="97"/>
                </a:lnTo>
                <a:lnTo>
                  <a:pt x="42" y="108"/>
                </a:lnTo>
                <a:lnTo>
                  <a:pt x="42" y="165"/>
                </a:lnTo>
                <a:lnTo>
                  <a:pt x="0" y="165"/>
                </a:lnTo>
                <a:lnTo>
                  <a:pt x="0" y="337"/>
                </a:lnTo>
                <a:lnTo>
                  <a:pt x="0" y="337"/>
                </a:lnTo>
                <a:lnTo>
                  <a:pt x="1" y="341"/>
                </a:lnTo>
                <a:lnTo>
                  <a:pt x="2" y="345"/>
                </a:lnTo>
                <a:lnTo>
                  <a:pt x="4" y="350"/>
                </a:lnTo>
                <a:lnTo>
                  <a:pt x="8" y="353"/>
                </a:lnTo>
                <a:lnTo>
                  <a:pt x="11" y="355"/>
                </a:lnTo>
                <a:lnTo>
                  <a:pt x="14" y="357"/>
                </a:lnTo>
                <a:lnTo>
                  <a:pt x="18" y="359"/>
                </a:lnTo>
                <a:lnTo>
                  <a:pt x="24" y="359"/>
                </a:lnTo>
                <a:lnTo>
                  <a:pt x="303" y="359"/>
                </a:lnTo>
                <a:lnTo>
                  <a:pt x="303" y="187"/>
                </a:lnTo>
                <a:lnTo>
                  <a:pt x="303" y="187"/>
                </a:lnTo>
                <a:lnTo>
                  <a:pt x="302" y="183"/>
                </a:lnTo>
                <a:lnTo>
                  <a:pt x="301" y="179"/>
                </a:lnTo>
                <a:lnTo>
                  <a:pt x="299" y="175"/>
                </a:lnTo>
                <a:lnTo>
                  <a:pt x="297" y="171"/>
                </a:lnTo>
                <a:lnTo>
                  <a:pt x="292" y="169"/>
                </a:lnTo>
                <a:lnTo>
                  <a:pt x="289" y="167"/>
                </a:lnTo>
                <a:lnTo>
                  <a:pt x="285" y="165"/>
                </a:lnTo>
                <a:lnTo>
                  <a:pt x="280" y="165"/>
                </a:lnTo>
                <a:lnTo>
                  <a:pt x="280" y="165"/>
                </a:lnTo>
                <a:close/>
                <a:moveTo>
                  <a:pt x="88" y="108"/>
                </a:moveTo>
                <a:lnTo>
                  <a:pt x="88" y="108"/>
                </a:lnTo>
                <a:lnTo>
                  <a:pt x="90" y="95"/>
                </a:lnTo>
                <a:lnTo>
                  <a:pt x="93" y="84"/>
                </a:lnTo>
                <a:lnTo>
                  <a:pt x="99" y="74"/>
                </a:lnTo>
                <a:lnTo>
                  <a:pt x="107" y="65"/>
                </a:lnTo>
                <a:lnTo>
                  <a:pt x="115" y="57"/>
                </a:lnTo>
                <a:lnTo>
                  <a:pt x="126" y="51"/>
                </a:lnTo>
                <a:lnTo>
                  <a:pt x="137" y="48"/>
                </a:lnTo>
                <a:lnTo>
                  <a:pt x="150" y="47"/>
                </a:lnTo>
                <a:lnTo>
                  <a:pt x="150" y="47"/>
                </a:lnTo>
                <a:lnTo>
                  <a:pt x="162" y="48"/>
                </a:lnTo>
                <a:lnTo>
                  <a:pt x="174" y="51"/>
                </a:lnTo>
                <a:lnTo>
                  <a:pt x="184" y="57"/>
                </a:lnTo>
                <a:lnTo>
                  <a:pt x="193" y="65"/>
                </a:lnTo>
                <a:lnTo>
                  <a:pt x="201" y="74"/>
                </a:lnTo>
                <a:lnTo>
                  <a:pt x="206" y="84"/>
                </a:lnTo>
                <a:lnTo>
                  <a:pt x="209" y="95"/>
                </a:lnTo>
                <a:lnTo>
                  <a:pt x="211" y="108"/>
                </a:lnTo>
                <a:lnTo>
                  <a:pt x="211" y="165"/>
                </a:lnTo>
                <a:lnTo>
                  <a:pt x="88" y="165"/>
                </a:lnTo>
                <a:lnTo>
                  <a:pt x="88" y="108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77" name="Group 422"/>
          <p:cNvGrpSpPr>
            <a:grpSpLocks noChangeAspect="1"/>
          </p:cNvGrpSpPr>
          <p:nvPr/>
        </p:nvGrpSpPr>
        <p:grpSpPr bwMode="auto">
          <a:xfrm>
            <a:off x="7459463" y="5032147"/>
            <a:ext cx="870170" cy="996482"/>
            <a:chOff x="5326" y="548"/>
            <a:chExt cx="186" cy="213"/>
          </a:xfrm>
        </p:grpSpPr>
        <p:sp>
          <p:nvSpPr>
            <p:cNvPr id="178" name="Freeform 423"/>
            <p:cNvSpPr>
              <a:spLocks noEditPoints="1"/>
            </p:cNvSpPr>
            <p:nvPr/>
          </p:nvSpPr>
          <p:spPr bwMode="auto">
            <a:xfrm>
              <a:off x="5426" y="548"/>
              <a:ext cx="86" cy="153"/>
            </a:xfrm>
            <a:custGeom>
              <a:avLst/>
              <a:gdLst>
                <a:gd name="T0" fmla="*/ 85 w 172"/>
                <a:gd name="T1" fmla="*/ 94 h 306"/>
                <a:gd name="T2" fmla="*/ 106 w 172"/>
                <a:gd name="T3" fmla="*/ 91 h 306"/>
                <a:gd name="T4" fmla="*/ 120 w 172"/>
                <a:gd name="T5" fmla="*/ 84 h 306"/>
                <a:gd name="T6" fmla="*/ 128 w 172"/>
                <a:gd name="T7" fmla="*/ 69 h 306"/>
                <a:gd name="T8" fmla="*/ 131 w 172"/>
                <a:gd name="T9" fmla="*/ 47 h 306"/>
                <a:gd name="T10" fmla="*/ 129 w 172"/>
                <a:gd name="T11" fmla="*/ 35 h 306"/>
                <a:gd name="T12" fmla="*/ 125 w 172"/>
                <a:gd name="T13" fmla="*/ 17 h 306"/>
                <a:gd name="T14" fmla="*/ 114 w 172"/>
                <a:gd name="T15" fmla="*/ 6 h 306"/>
                <a:gd name="T16" fmla="*/ 97 w 172"/>
                <a:gd name="T17" fmla="*/ 0 h 306"/>
                <a:gd name="T18" fmla="*/ 85 w 172"/>
                <a:gd name="T19" fmla="*/ 0 h 306"/>
                <a:gd name="T20" fmla="*/ 65 w 172"/>
                <a:gd name="T21" fmla="*/ 2 h 306"/>
                <a:gd name="T22" fmla="*/ 51 w 172"/>
                <a:gd name="T23" fmla="*/ 10 h 306"/>
                <a:gd name="T24" fmla="*/ 43 w 172"/>
                <a:gd name="T25" fmla="*/ 25 h 306"/>
                <a:gd name="T26" fmla="*/ 41 w 172"/>
                <a:gd name="T27" fmla="*/ 47 h 306"/>
                <a:gd name="T28" fmla="*/ 41 w 172"/>
                <a:gd name="T29" fmla="*/ 59 h 306"/>
                <a:gd name="T30" fmla="*/ 46 w 172"/>
                <a:gd name="T31" fmla="*/ 76 h 306"/>
                <a:gd name="T32" fmla="*/ 57 w 172"/>
                <a:gd name="T33" fmla="*/ 88 h 306"/>
                <a:gd name="T34" fmla="*/ 74 w 172"/>
                <a:gd name="T35" fmla="*/ 93 h 306"/>
                <a:gd name="T36" fmla="*/ 85 w 172"/>
                <a:gd name="T37" fmla="*/ 94 h 306"/>
                <a:gd name="T38" fmla="*/ 36 w 172"/>
                <a:gd name="T39" fmla="*/ 108 h 306"/>
                <a:gd name="T40" fmla="*/ 28 w 172"/>
                <a:gd name="T41" fmla="*/ 108 h 306"/>
                <a:gd name="T42" fmla="*/ 14 w 172"/>
                <a:gd name="T43" fmla="*/ 113 h 306"/>
                <a:gd name="T44" fmla="*/ 5 w 172"/>
                <a:gd name="T45" fmla="*/ 122 h 306"/>
                <a:gd name="T46" fmla="*/ 0 w 172"/>
                <a:gd name="T47" fmla="*/ 138 h 306"/>
                <a:gd name="T48" fmla="*/ 0 w 172"/>
                <a:gd name="T49" fmla="*/ 173 h 306"/>
                <a:gd name="T50" fmla="*/ 28 w 172"/>
                <a:gd name="T51" fmla="*/ 156 h 306"/>
                <a:gd name="T52" fmla="*/ 29 w 172"/>
                <a:gd name="T53" fmla="*/ 154 h 306"/>
                <a:gd name="T54" fmla="*/ 32 w 172"/>
                <a:gd name="T55" fmla="*/ 153 h 306"/>
                <a:gd name="T56" fmla="*/ 36 w 172"/>
                <a:gd name="T57" fmla="*/ 156 h 306"/>
                <a:gd name="T58" fmla="*/ 133 w 172"/>
                <a:gd name="T59" fmla="*/ 306 h 306"/>
                <a:gd name="T60" fmla="*/ 135 w 172"/>
                <a:gd name="T61" fmla="*/ 281 h 306"/>
                <a:gd name="T62" fmla="*/ 136 w 172"/>
                <a:gd name="T63" fmla="*/ 265 h 306"/>
                <a:gd name="T64" fmla="*/ 136 w 172"/>
                <a:gd name="T65" fmla="*/ 156 h 306"/>
                <a:gd name="T66" fmla="*/ 139 w 172"/>
                <a:gd name="T67" fmla="*/ 153 h 306"/>
                <a:gd name="T68" fmla="*/ 142 w 172"/>
                <a:gd name="T69" fmla="*/ 154 h 306"/>
                <a:gd name="T70" fmla="*/ 142 w 172"/>
                <a:gd name="T71" fmla="*/ 258 h 306"/>
                <a:gd name="T72" fmla="*/ 143 w 172"/>
                <a:gd name="T73" fmla="*/ 260 h 306"/>
                <a:gd name="T74" fmla="*/ 145 w 172"/>
                <a:gd name="T75" fmla="*/ 266 h 306"/>
                <a:gd name="T76" fmla="*/ 152 w 172"/>
                <a:gd name="T77" fmla="*/ 272 h 306"/>
                <a:gd name="T78" fmla="*/ 158 w 172"/>
                <a:gd name="T79" fmla="*/ 272 h 306"/>
                <a:gd name="T80" fmla="*/ 167 w 172"/>
                <a:gd name="T81" fmla="*/ 269 h 306"/>
                <a:gd name="T82" fmla="*/ 172 w 172"/>
                <a:gd name="T83" fmla="*/ 258 h 306"/>
                <a:gd name="T84" fmla="*/ 172 w 172"/>
                <a:gd name="T85" fmla="*/ 146 h 306"/>
                <a:gd name="T86" fmla="*/ 169 w 172"/>
                <a:gd name="T87" fmla="*/ 129 h 306"/>
                <a:gd name="T88" fmla="*/ 162 w 172"/>
                <a:gd name="T89" fmla="*/ 117 h 306"/>
                <a:gd name="T90" fmla="*/ 151 w 172"/>
                <a:gd name="T91" fmla="*/ 111 h 306"/>
                <a:gd name="T92" fmla="*/ 136 w 172"/>
                <a:gd name="T93" fmla="*/ 108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2" h="306">
                  <a:moveTo>
                    <a:pt x="85" y="94"/>
                  </a:moveTo>
                  <a:lnTo>
                    <a:pt x="85" y="94"/>
                  </a:lnTo>
                  <a:lnTo>
                    <a:pt x="97" y="93"/>
                  </a:lnTo>
                  <a:lnTo>
                    <a:pt x="106" y="91"/>
                  </a:lnTo>
                  <a:lnTo>
                    <a:pt x="114" y="88"/>
                  </a:lnTo>
                  <a:lnTo>
                    <a:pt x="120" y="84"/>
                  </a:lnTo>
                  <a:lnTo>
                    <a:pt x="125" y="76"/>
                  </a:lnTo>
                  <a:lnTo>
                    <a:pt x="128" y="69"/>
                  </a:lnTo>
                  <a:lnTo>
                    <a:pt x="129" y="59"/>
                  </a:lnTo>
                  <a:lnTo>
                    <a:pt x="131" y="47"/>
                  </a:lnTo>
                  <a:lnTo>
                    <a:pt x="131" y="47"/>
                  </a:lnTo>
                  <a:lnTo>
                    <a:pt x="129" y="35"/>
                  </a:lnTo>
                  <a:lnTo>
                    <a:pt x="128" y="25"/>
                  </a:lnTo>
                  <a:lnTo>
                    <a:pt x="125" y="17"/>
                  </a:lnTo>
                  <a:lnTo>
                    <a:pt x="120" y="10"/>
                  </a:lnTo>
                  <a:lnTo>
                    <a:pt x="114" y="6"/>
                  </a:lnTo>
                  <a:lnTo>
                    <a:pt x="106" y="2"/>
                  </a:lnTo>
                  <a:lnTo>
                    <a:pt x="97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65" y="2"/>
                  </a:lnTo>
                  <a:lnTo>
                    <a:pt x="57" y="6"/>
                  </a:lnTo>
                  <a:lnTo>
                    <a:pt x="51" y="10"/>
                  </a:lnTo>
                  <a:lnTo>
                    <a:pt x="46" y="17"/>
                  </a:lnTo>
                  <a:lnTo>
                    <a:pt x="43" y="25"/>
                  </a:lnTo>
                  <a:lnTo>
                    <a:pt x="41" y="35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59"/>
                  </a:lnTo>
                  <a:lnTo>
                    <a:pt x="43" y="69"/>
                  </a:lnTo>
                  <a:lnTo>
                    <a:pt x="46" y="76"/>
                  </a:lnTo>
                  <a:lnTo>
                    <a:pt x="51" y="84"/>
                  </a:lnTo>
                  <a:lnTo>
                    <a:pt x="57" y="88"/>
                  </a:lnTo>
                  <a:lnTo>
                    <a:pt x="65" y="91"/>
                  </a:lnTo>
                  <a:lnTo>
                    <a:pt x="74" y="93"/>
                  </a:lnTo>
                  <a:lnTo>
                    <a:pt x="85" y="94"/>
                  </a:lnTo>
                  <a:lnTo>
                    <a:pt x="85" y="94"/>
                  </a:lnTo>
                  <a:close/>
                  <a:moveTo>
                    <a:pt x="136" y="108"/>
                  </a:moveTo>
                  <a:lnTo>
                    <a:pt x="36" y="108"/>
                  </a:lnTo>
                  <a:lnTo>
                    <a:pt x="36" y="108"/>
                  </a:lnTo>
                  <a:lnTo>
                    <a:pt x="28" y="108"/>
                  </a:lnTo>
                  <a:lnTo>
                    <a:pt x="21" y="111"/>
                  </a:lnTo>
                  <a:lnTo>
                    <a:pt x="14" y="113"/>
                  </a:lnTo>
                  <a:lnTo>
                    <a:pt x="10" y="117"/>
                  </a:lnTo>
                  <a:lnTo>
                    <a:pt x="5" y="122"/>
                  </a:lnTo>
                  <a:lnTo>
                    <a:pt x="2" y="129"/>
                  </a:lnTo>
                  <a:lnTo>
                    <a:pt x="0" y="138"/>
                  </a:lnTo>
                  <a:lnTo>
                    <a:pt x="0" y="146"/>
                  </a:lnTo>
                  <a:lnTo>
                    <a:pt x="0" y="173"/>
                  </a:lnTo>
                  <a:lnTo>
                    <a:pt x="28" y="201"/>
                  </a:lnTo>
                  <a:lnTo>
                    <a:pt x="28" y="156"/>
                  </a:lnTo>
                  <a:lnTo>
                    <a:pt x="28" y="156"/>
                  </a:lnTo>
                  <a:lnTo>
                    <a:pt x="29" y="154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5" y="154"/>
                  </a:lnTo>
                  <a:lnTo>
                    <a:pt x="36" y="156"/>
                  </a:lnTo>
                  <a:lnTo>
                    <a:pt x="36" y="209"/>
                  </a:lnTo>
                  <a:lnTo>
                    <a:pt x="133" y="306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6" y="265"/>
                  </a:lnTo>
                  <a:lnTo>
                    <a:pt x="136" y="156"/>
                  </a:lnTo>
                  <a:lnTo>
                    <a:pt x="136" y="156"/>
                  </a:lnTo>
                  <a:lnTo>
                    <a:pt x="137" y="154"/>
                  </a:lnTo>
                  <a:lnTo>
                    <a:pt x="139" y="153"/>
                  </a:lnTo>
                  <a:lnTo>
                    <a:pt x="139" y="153"/>
                  </a:lnTo>
                  <a:lnTo>
                    <a:pt x="142" y="154"/>
                  </a:lnTo>
                  <a:lnTo>
                    <a:pt x="142" y="156"/>
                  </a:lnTo>
                  <a:lnTo>
                    <a:pt x="142" y="258"/>
                  </a:lnTo>
                  <a:lnTo>
                    <a:pt x="142" y="258"/>
                  </a:lnTo>
                  <a:lnTo>
                    <a:pt x="143" y="260"/>
                  </a:lnTo>
                  <a:lnTo>
                    <a:pt x="143" y="260"/>
                  </a:lnTo>
                  <a:lnTo>
                    <a:pt x="145" y="266"/>
                  </a:lnTo>
                  <a:lnTo>
                    <a:pt x="148" y="269"/>
                  </a:lnTo>
                  <a:lnTo>
                    <a:pt x="152" y="272"/>
                  </a:lnTo>
                  <a:lnTo>
                    <a:pt x="158" y="272"/>
                  </a:lnTo>
                  <a:lnTo>
                    <a:pt x="158" y="272"/>
                  </a:lnTo>
                  <a:lnTo>
                    <a:pt x="163" y="271"/>
                  </a:lnTo>
                  <a:lnTo>
                    <a:pt x="167" y="269"/>
                  </a:lnTo>
                  <a:lnTo>
                    <a:pt x="170" y="264"/>
                  </a:lnTo>
                  <a:lnTo>
                    <a:pt x="172" y="258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2" y="138"/>
                  </a:lnTo>
                  <a:lnTo>
                    <a:pt x="169" y="129"/>
                  </a:lnTo>
                  <a:lnTo>
                    <a:pt x="166" y="122"/>
                  </a:lnTo>
                  <a:lnTo>
                    <a:pt x="162" y="117"/>
                  </a:lnTo>
                  <a:lnTo>
                    <a:pt x="158" y="113"/>
                  </a:lnTo>
                  <a:lnTo>
                    <a:pt x="151" y="111"/>
                  </a:lnTo>
                  <a:lnTo>
                    <a:pt x="143" y="108"/>
                  </a:lnTo>
                  <a:lnTo>
                    <a:pt x="136" y="108"/>
                  </a:lnTo>
                  <a:lnTo>
                    <a:pt x="136" y="108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24"/>
            <p:cNvSpPr>
              <a:spLocks noEditPoints="1"/>
            </p:cNvSpPr>
            <p:nvPr/>
          </p:nvSpPr>
          <p:spPr bwMode="auto">
            <a:xfrm>
              <a:off x="5326" y="580"/>
              <a:ext cx="181" cy="181"/>
            </a:xfrm>
            <a:custGeom>
              <a:avLst/>
              <a:gdLst>
                <a:gd name="T0" fmla="*/ 179 w 362"/>
                <a:gd name="T1" fmla="*/ 112 h 362"/>
                <a:gd name="T2" fmla="*/ 181 w 362"/>
                <a:gd name="T3" fmla="*/ 101 h 362"/>
                <a:gd name="T4" fmla="*/ 180 w 362"/>
                <a:gd name="T5" fmla="*/ 79 h 362"/>
                <a:gd name="T6" fmla="*/ 174 w 362"/>
                <a:gd name="T7" fmla="*/ 56 h 362"/>
                <a:gd name="T8" fmla="*/ 162 w 362"/>
                <a:gd name="T9" fmla="*/ 36 h 362"/>
                <a:gd name="T10" fmla="*/ 155 w 362"/>
                <a:gd name="T11" fmla="*/ 27 h 362"/>
                <a:gd name="T12" fmla="*/ 132 w 362"/>
                <a:gd name="T13" fmla="*/ 11 h 362"/>
                <a:gd name="T14" fmla="*/ 106 w 362"/>
                <a:gd name="T15" fmla="*/ 2 h 362"/>
                <a:gd name="T16" fmla="*/ 79 w 362"/>
                <a:gd name="T17" fmla="*/ 1 h 362"/>
                <a:gd name="T18" fmla="*/ 53 w 362"/>
                <a:gd name="T19" fmla="*/ 8 h 362"/>
                <a:gd name="T20" fmla="*/ 102 w 362"/>
                <a:gd name="T21" fmla="*/ 56 h 362"/>
                <a:gd name="T22" fmla="*/ 110 w 362"/>
                <a:gd name="T23" fmla="*/ 67 h 362"/>
                <a:gd name="T24" fmla="*/ 112 w 362"/>
                <a:gd name="T25" fmla="*/ 80 h 362"/>
                <a:gd name="T26" fmla="*/ 110 w 362"/>
                <a:gd name="T27" fmla="*/ 92 h 362"/>
                <a:gd name="T28" fmla="*/ 102 w 362"/>
                <a:gd name="T29" fmla="*/ 103 h 362"/>
                <a:gd name="T30" fmla="*/ 97 w 362"/>
                <a:gd name="T31" fmla="*/ 107 h 362"/>
                <a:gd name="T32" fmla="*/ 85 w 362"/>
                <a:gd name="T33" fmla="*/ 112 h 362"/>
                <a:gd name="T34" fmla="*/ 72 w 362"/>
                <a:gd name="T35" fmla="*/ 112 h 362"/>
                <a:gd name="T36" fmla="*/ 60 w 362"/>
                <a:gd name="T37" fmla="*/ 107 h 362"/>
                <a:gd name="T38" fmla="*/ 7 w 362"/>
                <a:gd name="T39" fmla="*/ 55 h 362"/>
                <a:gd name="T40" fmla="*/ 3 w 362"/>
                <a:gd name="T41" fmla="*/ 67 h 362"/>
                <a:gd name="T42" fmla="*/ 0 w 362"/>
                <a:gd name="T43" fmla="*/ 94 h 362"/>
                <a:gd name="T44" fmla="*/ 4 w 362"/>
                <a:gd name="T45" fmla="*/ 120 h 362"/>
                <a:gd name="T46" fmla="*/ 17 w 362"/>
                <a:gd name="T47" fmla="*/ 145 h 362"/>
                <a:gd name="T48" fmla="*/ 27 w 362"/>
                <a:gd name="T49" fmla="*/ 155 h 362"/>
                <a:gd name="T50" fmla="*/ 45 w 362"/>
                <a:gd name="T51" fmla="*/ 169 h 362"/>
                <a:gd name="T52" fmla="*/ 66 w 362"/>
                <a:gd name="T53" fmla="*/ 179 h 362"/>
                <a:gd name="T54" fmla="*/ 89 w 362"/>
                <a:gd name="T55" fmla="*/ 182 h 362"/>
                <a:gd name="T56" fmla="*/ 112 w 362"/>
                <a:gd name="T57" fmla="*/ 179 h 362"/>
                <a:gd name="T58" fmla="*/ 282 w 362"/>
                <a:gd name="T59" fmla="*/ 349 h 362"/>
                <a:gd name="T60" fmla="*/ 297 w 362"/>
                <a:gd name="T61" fmla="*/ 359 h 362"/>
                <a:gd name="T62" fmla="*/ 314 w 362"/>
                <a:gd name="T63" fmla="*/ 362 h 362"/>
                <a:gd name="T64" fmla="*/ 324 w 362"/>
                <a:gd name="T65" fmla="*/ 362 h 362"/>
                <a:gd name="T66" fmla="*/ 340 w 362"/>
                <a:gd name="T67" fmla="*/ 355 h 362"/>
                <a:gd name="T68" fmla="*/ 348 w 362"/>
                <a:gd name="T69" fmla="*/ 349 h 362"/>
                <a:gd name="T70" fmla="*/ 359 w 362"/>
                <a:gd name="T71" fmla="*/ 333 h 362"/>
                <a:gd name="T72" fmla="*/ 362 w 362"/>
                <a:gd name="T73" fmla="*/ 316 h 362"/>
                <a:gd name="T74" fmla="*/ 359 w 362"/>
                <a:gd name="T75" fmla="*/ 298 h 362"/>
                <a:gd name="T76" fmla="*/ 348 w 362"/>
                <a:gd name="T77" fmla="*/ 283 h 362"/>
                <a:gd name="T78" fmla="*/ 329 w 362"/>
                <a:gd name="T79" fmla="*/ 330 h 362"/>
                <a:gd name="T80" fmla="*/ 326 w 362"/>
                <a:gd name="T81" fmla="*/ 333 h 362"/>
                <a:gd name="T82" fmla="*/ 319 w 362"/>
                <a:gd name="T83" fmla="*/ 336 h 362"/>
                <a:gd name="T84" fmla="*/ 311 w 362"/>
                <a:gd name="T85" fmla="*/ 336 h 362"/>
                <a:gd name="T86" fmla="*/ 304 w 362"/>
                <a:gd name="T87" fmla="*/ 333 h 362"/>
                <a:gd name="T88" fmla="*/ 300 w 362"/>
                <a:gd name="T89" fmla="*/ 330 h 362"/>
                <a:gd name="T90" fmla="*/ 296 w 362"/>
                <a:gd name="T91" fmla="*/ 324 h 362"/>
                <a:gd name="T92" fmla="*/ 294 w 362"/>
                <a:gd name="T93" fmla="*/ 316 h 362"/>
                <a:gd name="T94" fmla="*/ 296 w 362"/>
                <a:gd name="T95" fmla="*/ 308 h 362"/>
                <a:gd name="T96" fmla="*/ 300 w 362"/>
                <a:gd name="T97" fmla="*/ 301 h 362"/>
                <a:gd name="T98" fmla="*/ 304 w 362"/>
                <a:gd name="T99" fmla="*/ 299 h 362"/>
                <a:gd name="T100" fmla="*/ 311 w 362"/>
                <a:gd name="T101" fmla="*/ 296 h 362"/>
                <a:gd name="T102" fmla="*/ 319 w 362"/>
                <a:gd name="T103" fmla="*/ 296 h 362"/>
                <a:gd name="T104" fmla="*/ 326 w 362"/>
                <a:gd name="T105" fmla="*/ 299 h 362"/>
                <a:gd name="T106" fmla="*/ 329 w 362"/>
                <a:gd name="T107" fmla="*/ 301 h 362"/>
                <a:gd name="T108" fmla="*/ 334 w 362"/>
                <a:gd name="T109" fmla="*/ 308 h 362"/>
                <a:gd name="T110" fmla="*/ 336 w 362"/>
                <a:gd name="T111" fmla="*/ 316 h 362"/>
                <a:gd name="T112" fmla="*/ 334 w 362"/>
                <a:gd name="T113" fmla="*/ 324 h 362"/>
                <a:gd name="T114" fmla="*/ 329 w 362"/>
                <a:gd name="T115" fmla="*/ 33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2" h="362">
                  <a:moveTo>
                    <a:pt x="348" y="283"/>
                  </a:moveTo>
                  <a:lnTo>
                    <a:pt x="179" y="112"/>
                  </a:lnTo>
                  <a:lnTo>
                    <a:pt x="179" y="112"/>
                  </a:lnTo>
                  <a:lnTo>
                    <a:pt x="181" y="101"/>
                  </a:lnTo>
                  <a:lnTo>
                    <a:pt x="181" y="90"/>
                  </a:lnTo>
                  <a:lnTo>
                    <a:pt x="180" y="79"/>
                  </a:lnTo>
                  <a:lnTo>
                    <a:pt x="177" y="67"/>
                  </a:lnTo>
                  <a:lnTo>
                    <a:pt x="174" y="56"/>
                  </a:lnTo>
                  <a:lnTo>
                    <a:pt x="169" y="47"/>
                  </a:lnTo>
                  <a:lnTo>
                    <a:pt x="162" y="36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44" y="17"/>
                  </a:lnTo>
                  <a:lnTo>
                    <a:pt x="132" y="11"/>
                  </a:lnTo>
                  <a:lnTo>
                    <a:pt x="119" y="6"/>
                  </a:lnTo>
                  <a:lnTo>
                    <a:pt x="106" y="2"/>
                  </a:lnTo>
                  <a:lnTo>
                    <a:pt x="93" y="0"/>
                  </a:lnTo>
                  <a:lnTo>
                    <a:pt x="79" y="1"/>
                  </a:lnTo>
                  <a:lnTo>
                    <a:pt x="66" y="3"/>
                  </a:lnTo>
                  <a:lnTo>
                    <a:pt x="53" y="8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6" y="62"/>
                  </a:lnTo>
                  <a:lnTo>
                    <a:pt x="110" y="67"/>
                  </a:lnTo>
                  <a:lnTo>
                    <a:pt x="111" y="73"/>
                  </a:lnTo>
                  <a:lnTo>
                    <a:pt x="112" y="80"/>
                  </a:lnTo>
                  <a:lnTo>
                    <a:pt x="111" y="85"/>
                  </a:lnTo>
                  <a:lnTo>
                    <a:pt x="110" y="92"/>
                  </a:lnTo>
                  <a:lnTo>
                    <a:pt x="106" y="97"/>
                  </a:lnTo>
                  <a:lnTo>
                    <a:pt x="102" y="103"/>
                  </a:lnTo>
                  <a:lnTo>
                    <a:pt x="102" y="103"/>
                  </a:lnTo>
                  <a:lnTo>
                    <a:pt x="97" y="107"/>
                  </a:lnTo>
                  <a:lnTo>
                    <a:pt x="91" y="110"/>
                  </a:lnTo>
                  <a:lnTo>
                    <a:pt x="85" y="112"/>
                  </a:lnTo>
                  <a:lnTo>
                    <a:pt x="78" y="112"/>
                  </a:lnTo>
                  <a:lnTo>
                    <a:pt x="72" y="112"/>
                  </a:lnTo>
                  <a:lnTo>
                    <a:pt x="66" y="110"/>
                  </a:lnTo>
                  <a:lnTo>
                    <a:pt x="60" y="107"/>
                  </a:lnTo>
                  <a:lnTo>
                    <a:pt x="56" y="103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3" y="67"/>
                  </a:lnTo>
                  <a:lnTo>
                    <a:pt x="1" y="81"/>
                  </a:lnTo>
                  <a:lnTo>
                    <a:pt x="0" y="94"/>
                  </a:lnTo>
                  <a:lnTo>
                    <a:pt x="1" y="107"/>
                  </a:lnTo>
                  <a:lnTo>
                    <a:pt x="4" y="120"/>
                  </a:lnTo>
                  <a:lnTo>
                    <a:pt x="9" y="133"/>
                  </a:lnTo>
                  <a:lnTo>
                    <a:pt x="17" y="14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35" y="163"/>
                  </a:lnTo>
                  <a:lnTo>
                    <a:pt x="45" y="169"/>
                  </a:lnTo>
                  <a:lnTo>
                    <a:pt x="56" y="175"/>
                  </a:lnTo>
                  <a:lnTo>
                    <a:pt x="66" y="179"/>
                  </a:lnTo>
                  <a:lnTo>
                    <a:pt x="77" y="181"/>
                  </a:lnTo>
                  <a:lnTo>
                    <a:pt x="89" y="182"/>
                  </a:lnTo>
                  <a:lnTo>
                    <a:pt x="101" y="181"/>
                  </a:lnTo>
                  <a:lnTo>
                    <a:pt x="112" y="179"/>
                  </a:lnTo>
                  <a:lnTo>
                    <a:pt x="282" y="349"/>
                  </a:lnTo>
                  <a:lnTo>
                    <a:pt x="282" y="349"/>
                  </a:lnTo>
                  <a:lnTo>
                    <a:pt x="289" y="355"/>
                  </a:lnTo>
                  <a:lnTo>
                    <a:pt x="297" y="359"/>
                  </a:lnTo>
                  <a:lnTo>
                    <a:pt x="306" y="362"/>
                  </a:lnTo>
                  <a:lnTo>
                    <a:pt x="314" y="362"/>
                  </a:lnTo>
                  <a:lnTo>
                    <a:pt x="314" y="362"/>
                  </a:lnTo>
                  <a:lnTo>
                    <a:pt x="324" y="362"/>
                  </a:lnTo>
                  <a:lnTo>
                    <a:pt x="333" y="359"/>
                  </a:lnTo>
                  <a:lnTo>
                    <a:pt x="340" y="355"/>
                  </a:lnTo>
                  <a:lnTo>
                    <a:pt x="348" y="349"/>
                  </a:lnTo>
                  <a:lnTo>
                    <a:pt x="348" y="349"/>
                  </a:lnTo>
                  <a:lnTo>
                    <a:pt x="354" y="342"/>
                  </a:lnTo>
                  <a:lnTo>
                    <a:pt x="359" y="333"/>
                  </a:lnTo>
                  <a:lnTo>
                    <a:pt x="361" y="325"/>
                  </a:lnTo>
                  <a:lnTo>
                    <a:pt x="362" y="316"/>
                  </a:lnTo>
                  <a:lnTo>
                    <a:pt x="361" y="306"/>
                  </a:lnTo>
                  <a:lnTo>
                    <a:pt x="359" y="298"/>
                  </a:lnTo>
                  <a:lnTo>
                    <a:pt x="354" y="290"/>
                  </a:lnTo>
                  <a:lnTo>
                    <a:pt x="348" y="283"/>
                  </a:lnTo>
                  <a:lnTo>
                    <a:pt x="348" y="283"/>
                  </a:lnTo>
                  <a:close/>
                  <a:moveTo>
                    <a:pt x="329" y="330"/>
                  </a:moveTo>
                  <a:lnTo>
                    <a:pt x="329" y="330"/>
                  </a:lnTo>
                  <a:lnTo>
                    <a:pt x="326" y="333"/>
                  </a:lnTo>
                  <a:lnTo>
                    <a:pt x="323" y="334"/>
                  </a:lnTo>
                  <a:lnTo>
                    <a:pt x="319" y="336"/>
                  </a:lnTo>
                  <a:lnTo>
                    <a:pt x="314" y="336"/>
                  </a:lnTo>
                  <a:lnTo>
                    <a:pt x="311" y="336"/>
                  </a:lnTo>
                  <a:lnTo>
                    <a:pt x="307" y="334"/>
                  </a:lnTo>
                  <a:lnTo>
                    <a:pt x="304" y="333"/>
                  </a:lnTo>
                  <a:lnTo>
                    <a:pt x="300" y="330"/>
                  </a:lnTo>
                  <a:lnTo>
                    <a:pt x="300" y="330"/>
                  </a:lnTo>
                  <a:lnTo>
                    <a:pt x="297" y="327"/>
                  </a:lnTo>
                  <a:lnTo>
                    <a:pt x="296" y="324"/>
                  </a:lnTo>
                  <a:lnTo>
                    <a:pt x="295" y="319"/>
                  </a:lnTo>
                  <a:lnTo>
                    <a:pt x="294" y="316"/>
                  </a:lnTo>
                  <a:lnTo>
                    <a:pt x="295" y="312"/>
                  </a:lnTo>
                  <a:lnTo>
                    <a:pt x="296" y="308"/>
                  </a:lnTo>
                  <a:lnTo>
                    <a:pt x="297" y="304"/>
                  </a:lnTo>
                  <a:lnTo>
                    <a:pt x="300" y="301"/>
                  </a:lnTo>
                  <a:lnTo>
                    <a:pt x="300" y="301"/>
                  </a:lnTo>
                  <a:lnTo>
                    <a:pt x="304" y="299"/>
                  </a:lnTo>
                  <a:lnTo>
                    <a:pt x="307" y="297"/>
                  </a:lnTo>
                  <a:lnTo>
                    <a:pt x="311" y="296"/>
                  </a:lnTo>
                  <a:lnTo>
                    <a:pt x="314" y="296"/>
                  </a:lnTo>
                  <a:lnTo>
                    <a:pt x="319" y="296"/>
                  </a:lnTo>
                  <a:lnTo>
                    <a:pt x="323" y="297"/>
                  </a:lnTo>
                  <a:lnTo>
                    <a:pt x="326" y="299"/>
                  </a:lnTo>
                  <a:lnTo>
                    <a:pt x="329" y="301"/>
                  </a:lnTo>
                  <a:lnTo>
                    <a:pt x="329" y="301"/>
                  </a:lnTo>
                  <a:lnTo>
                    <a:pt x="332" y="304"/>
                  </a:lnTo>
                  <a:lnTo>
                    <a:pt x="334" y="308"/>
                  </a:lnTo>
                  <a:lnTo>
                    <a:pt x="335" y="312"/>
                  </a:lnTo>
                  <a:lnTo>
                    <a:pt x="336" y="316"/>
                  </a:lnTo>
                  <a:lnTo>
                    <a:pt x="335" y="319"/>
                  </a:lnTo>
                  <a:lnTo>
                    <a:pt x="334" y="324"/>
                  </a:lnTo>
                  <a:lnTo>
                    <a:pt x="332" y="327"/>
                  </a:lnTo>
                  <a:lnTo>
                    <a:pt x="329" y="330"/>
                  </a:lnTo>
                  <a:lnTo>
                    <a:pt x="329" y="33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4834381" y="5258688"/>
            <a:ext cx="2088280" cy="6931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lnSpc>
                <a:spcPct val="90000"/>
              </a:lnSpc>
            </a:pPr>
            <a:r>
              <a:rPr lang="en-GB" sz="4400" b="1">
                <a:solidFill>
                  <a:srgbClr val="E5E8E8">
                    <a:lumMod val="50000"/>
                  </a:srgbClr>
                </a:solidFill>
              </a:rPr>
              <a:t>Recover</a:t>
            </a:r>
            <a:endParaRPr lang="en-US" sz="4400" b="1" dirty="0" err="1">
              <a:solidFill>
                <a:srgbClr val="E5E8E8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625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e ‘Protect-Detect-Recover’ framework…</a:t>
            </a:r>
            <a:endParaRPr lang="en-US" dirty="0"/>
          </a:p>
        </p:txBody>
      </p:sp>
      <p:sp>
        <p:nvSpPr>
          <p:cNvPr id="9" name="Freeform 8"/>
          <p:cNvSpPr/>
          <p:nvPr/>
        </p:nvSpPr>
        <p:spPr>
          <a:xfrm>
            <a:off x="4790676" y="1605072"/>
            <a:ext cx="1870871" cy="1870871"/>
          </a:xfrm>
          <a:custGeom>
            <a:avLst/>
            <a:gdLst>
              <a:gd name="connsiteX0" fmla="*/ 0 w 1870871"/>
              <a:gd name="connsiteY0" fmla="*/ 935436 h 1870871"/>
              <a:gd name="connsiteX1" fmla="*/ 935436 w 1870871"/>
              <a:gd name="connsiteY1" fmla="*/ 0 h 1870871"/>
              <a:gd name="connsiteX2" fmla="*/ 1870872 w 1870871"/>
              <a:gd name="connsiteY2" fmla="*/ 935436 h 1870871"/>
              <a:gd name="connsiteX3" fmla="*/ 935436 w 1870871"/>
              <a:gd name="connsiteY3" fmla="*/ 1870872 h 1870871"/>
              <a:gd name="connsiteX4" fmla="*/ 0 w 1870871"/>
              <a:gd name="connsiteY4" fmla="*/ 935436 h 1870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0871" h="1870871">
                <a:moveTo>
                  <a:pt x="0" y="935436"/>
                </a:moveTo>
                <a:cubicBezTo>
                  <a:pt x="0" y="418809"/>
                  <a:pt x="418809" y="0"/>
                  <a:pt x="935436" y="0"/>
                </a:cubicBezTo>
                <a:cubicBezTo>
                  <a:pt x="1452063" y="0"/>
                  <a:pt x="1870872" y="418809"/>
                  <a:pt x="1870872" y="935436"/>
                </a:cubicBezTo>
                <a:cubicBezTo>
                  <a:pt x="1870872" y="1452063"/>
                  <a:pt x="1452063" y="1870872"/>
                  <a:pt x="935436" y="1870872"/>
                </a:cubicBezTo>
                <a:cubicBezTo>
                  <a:pt x="418809" y="1870872"/>
                  <a:pt x="0" y="1452063"/>
                  <a:pt x="0" y="935436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5733" tIns="305733" rIns="305733" bIns="305733" numCol="1" spcCol="1270" anchor="b" anchorCtr="0">
            <a:noAutofit/>
          </a:bodyPr>
          <a:lstStyle/>
          <a:p>
            <a:pPr lvl="0"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b="1" kern="1200" dirty="0" smtClean="0">
                <a:solidFill>
                  <a:schemeClr val="bg1"/>
                </a:solidFill>
              </a:rPr>
              <a:t>Protect</a:t>
            </a:r>
            <a:endParaRPr lang="en-US" sz="2400" b="1" kern="1200" dirty="0">
              <a:solidFill>
                <a:schemeClr val="bg1"/>
              </a:solidFill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6195150" y="4037693"/>
            <a:ext cx="1870871" cy="1870871"/>
          </a:xfrm>
          <a:custGeom>
            <a:avLst/>
            <a:gdLst>
              <a:gd name="connsiteX0" fmla="*/ 0 w 1870871"/>
              <a:gd name="connsiteY0" fmla="*/ 935436 h 1870871"/>
              <a:gd name="connsiteX1" fmla="*/ 935436 w 1870871"/>
              <a:gd name="connsiteY1" fmla="*/ 0 h 1870871"/>
              <a:gd name="connsiteX2" fmla="*/ 1870872 w 1870871"/>
              <a:gd name="connsiteY2" fmla="*/ 935436 h 1870871"/>
              <a:gd name="connsiteX3" fmla="*/ 935436 w 1870871"/>
              <a:gd name="connsiteY3" fmla="*/ 1870872 h 1870871"/>
              <a:gd name="connsiteX4" fmla="*/ 0 w 1870871"/>
              <a:gd name="connsiteY4" fmla="*/ 935436 h 1870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0871" h="1870871">
                <a:moveTo>
                  <a:pt x="0" y="935436"/>
                </a:moveTo>
                <a:cubicBezTo>
                  <a:pt x="0" y="418809"/>
                  <a:pt x="418809" y="0"/>
                  <a:pt x="935436" y="0"/>
                </a:cubicBezTo>
                <a:cubicBezTo>
                  <a:pt x="1452063" y="0"/>
                  <a:pt x="1870872" y="418809"/>
                  <a:pt x="1870872" y="935436"/>
                </a:cubicBezTo>
                <a:cubicBezTo>
                  <a:pt x="1870872" y="1452063"/>
                  <a:pt x="1452063" y="1870872"/>
                  <a:pt x="935436" y="1870872"/>
                </a:cubicBezTo>
                <a:cubicBezTo>
                  <a:pt x="418809" y="1870872"/>
                  <a:pt x="0" y="1452063"/>
                  <a:pt x="0" y="935436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5733" tIns="305733" rIns="305733" bIns="305733" numCol="1" spcCol="1270" anchor="b" anchorCtr="0">
            <a:noAutofit/>
          </a:bodyPr>
          <a:lstStyle/>
          <a:p>
            <a:pPr lvl="0"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b="1" kern="1200" dirty="0" smtClean="0">
                <a:solidFill>
                  <a:schemeClr val="bg1"/>
                </a:solidFill>
              </a:rPr>
              <a:t>Detect</a:t>
            </a:r>
            <a:endParaRPr lang="en-US" sz="2400" b="1" kern="1200" dirty="0">
              <a:solidFill>
                <a:schemeClr val="bg1"/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3386202" y="4037693"/>
            <a:ext cx="1870871" cy="1870871"/>
          </a:xfrm>
          <a:custGeom>
            <a:avLst/>
            <a:gdLst>
              <a:gd name="connsiteX0" fmla="*/ 0 w 1870871"/>
              <a:gd name="connsiteY0" fmla="*/ 935436 h 1870871"/>
              <a:gd name="connsiteX1" fmla="*/ 935436 w 1870871"/>
              <a:gd name="connsiteY1" fmla="*/ 0 h 1870871"/>
              <a:gd name="connsiteX2" fmla="*/ 1870872 w 1870871"/>
              <a:gd name="connsiteY2" fmla="*/ 935436 h 1870871"/>
              <a:gd name="connsiteX3" fmla="*/ 935436 w 1870871"/>
              <a:gd name="connsiteY3" fmla="*/ 1870872 h 1870871"/>
              <a:gd name="connsiteX4" fmla="*/ 0 w 1870871"/>
              <a:gd name="connsiteY4" fmla="*/ 935436 h 1870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0871" h="1870871">
                <a:moveTo>
                  <a:pt x="0" y="935436"/>
                </a:moveTo>
                <a:cubicBezTo>
                  <a:pt x="0" y="418809"/>
                  <a:pt x="418809" y="0"/>
                  <a:pt x="935436" y="0"/>
                </a:cubicBezTo>
                <a:cubicBezTo>
                  <a:pt x="1452063" y="0"/>
                  <a:pt x="1870872" y="418809"/>
                  <a:pt x="1870872" y="935436"/>
                </a:cubicBezTo>
                <a:cubicBezTo>
                  <a:pt x="1870872" y="1452063"/>
                  <a:pt x="1452063" y="1870872"/>
                  <a:pt x="935436" y="1870872"/>
                </a:cubicBezTo>
                <a:cubicBezTo>
                  <a:pt x="418809" y="1870872"/>
                  <a:pt x="0" y="1452063"/>
                  <a:pt x="0" y="935436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5733" tIns="305733" rIns="305733" bIns="305733" numCol="1" spcCol="1270" anchor="b" anchorCtr="0">
            <a:noAutofit/>
          </a:bodyPr>
          <a:lstStyle/>
          <a:p>
            <a:pPr lvl="0"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b="1" kern="1200" dirty="0" smtClean="0">
                <a:solidFill>
                  <a:schemeClr val="bg1"/>
                </a:solidFill>
              </a:rPr>
              <a:t>Recover</a:t>
            </a:r>
            <a:endParaRPr lang="en-US" sz="2400" b="1" kern="1200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661546" y="2078842"/>
            <a:ext cx="33206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en-US" dirty="0" smtClean="0">
                <a:solidFill>
                  <a:schemeClr val="accent3">
                    <a:lumMod val="75000"/>
                  </a:schemeClr>
                </a:solidFill>
              </a:rPr>
              <a:t>Difficult 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to get </a:t>
            </a:r>
            <a:r>
              <a:rPr lang="en-US" dirty="0" smtClean="0">
                <a:solidFill>
                  <a:schemeClr val="accent3">
                    <a:lumMod val="75000"/>
                  </a:schemeClr>
                </a:solidFill>
              </a:rPr>
              <a:t>inside, see 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anything </a:t>
            </a:r>
            <a:r>
              <a:rPr lang="en-US" dirty="0" smtClean="0">
                <a:solidFill>
                  <a:schemeClr val="accent3">
                    <a:lumMod val="75000"/>
                  </a:schemeClr>
                </a:solidFill>
              </a:rPr>
              <a:t>inside,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accent3">
                    <a:lumMod val="75000"/>
                  </a:schemeClr>
                </a:solidFill>
              </a:rPr>
              <a:t>steal 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anything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117685" y="4667466"/>
            <a:ext cx="2613216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2pPr marL="0" lvl="1">
              <a:defRPr>
                <a:solidFill>
                  <a:schemeClr val="accent3">
                    <a:lumMod val="75000"/>
                  </a:schemeClr>
                </a:solidFill>
              </a:defRPr>
            </a:lvl2pPr>
          </a:lstStyle>
          <a:p>
            <a:pPr lvl="1"/>
            <a:r>
              <a:rPr lang="en-US" dirty="0"/>
              <a:t>Difficult to stay </a:t>
            </a:r>
            <a:r>
              <a:rPr lang="en-US" dirty="0" smtClean="0"/>
              <a:t>inside,</a:t>
            </a:r>
            <a:r>
              <a:rPr lang="en-US" dirty="0"/>
              <a:t> </a:t>
            </a:r>
            <a:r>
              <a:rPr lang="en-US" dirty="0" smtClean="0"/>
              <a:t>steal anything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338670" y="4649962"/>
            <a:ext cx="2018501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2pPr marL="0" lvl="1">
              <a:defRPr>
                <a:solidFill>
                  <a:schemeClr val="accent3">
                    <a:lumMod val="75000"/>
                  </a:schemeClr>
                </a:solidFill>
              </a:defRPr>
            </a:lvl2pPr>
          </a:lstStyle>
          <a:p>
            <a:pPr lvl="1" algn="r"/>
            <a:r>
              <a:rPr lang="en-US" dirty="0"/>
              <a:t>Difficult to destroy </a:t>
            </a:r>
          </a:p>
          <a:p>
            <a:pPr lvl="1" algn="r"/>
            <a:r>
              <a:rPr lang="en-US" dirty="0"/>
              <a:t>anything</a:t>
            </a:r>
          </a:p>
        </p:txBody>
      </p:sp>
      <p:grpSp>
        <p:nvGrpSpPr>
          <p:cNvPr id="15" name="Group 14"/>
          <p:cNvGrpSpPr/>
          <p:nvPr/>
        </p:nvGrpSpPr>
        <p:grpSpPr>
          <a:xfrm rot="12600000">
            <a:off x="4805442" y="3525702"/>
            <a:ext cx="301080" cy="380835"/>
            <a:chOff x="8507565" y="3461292"/>
            <a:chExt cx="301080" cy="460911"/>
          </a:xfrm>
          <a:solidFill>
            <a:schemeClr val="bg2">
              <a:lumMod val="90000"/>
            </a:schemeClr>
          </a:solidFill>
        </p:grpSpPr>
        <p:sp>
          <p:nvSpPr>
            <p:cNvPr id="16" name="Round Diagonal Corner Rectangle 15"/>
            <p:cNvSpPr/>
            <p:nvPr/>
          </p:nvSpPr>
          <p:spPr>
            <a:xfrm rot="5400000">
              <a:off x="8501552" y="3544478"/>
              <a:ext cx="313108" cy="146735"/>
            </a:xfrm>
            <a:prstGeom prst="round2DiagRect">
              <a:avLst>
                <a:gd name="adj1" fmla="val 23013"/>
                <a:gd name="adj2" fmla="val 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17" name="Freeform 112"/>
            <p:cNvSpPr>
              <a:spLocks/>
            </p:cNvSpPr>
            <p:nvPr/>
          </p:nvSpPr>
          <p:spPr bwMode="auto">
            <a:xfrm rot="16200000">
              <a:off x="8530051" y="3643610"/>
              <a:ext cx="256107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 rot="19800000">
            <a:off x="6285428" y="3525702"/>
            <a:ext cx="301080" cy="380835"/>
            <a:chOff x="8507565" y="3461292"/>
            <a:chExt cx="301080" cy="460911"/>
          </a:xfrm>
          <a:solidFill>
            <a:schemeClr val="bg2">
              <a:lumMod val="90000"/>
            </a:schemeClr>
          </a:solidFill>
        </p:grpSpPr>
        <p:sp>
          <p:nvSpPr>
            <p:cNvPr id="22" name="Round Diagonal Corner Rectangle 21"/>
            <p:cNvSpPr/>
            <p:nvPr/>
          </p:nvSpPr>
          <p:spPr>
            <a:xfrm rot="5400000">
              <a:off x="8501552" y="3544478"/>
              <a:ext cx="313108" cy="146735"/>
            </a:xfrm>
            <a:prstGeom prst="round2DiagRect">
              <a:avLst>
                <a:gd name="adj1" fmla="val 23013"/>
                <a:gd name="adj2" fmla="val 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23" name="Freeform 112"/>
            <p:cNvSpPr>
              <a:spLocks/>
            </p:cNvSpPr>
            <p:nvPr/>
          </p:nvSpPr>
          <p:spPr bwMode="auto">
            <a:xfrm rot="16200000">
              <a:off x="8530051" y="3643610"/>
              <a:ext cx="256107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 rot="5400000">
            <a:off x="5599034" y="4782711"/>
            <a:ext cx="301080" cy="380835"/>
            <a:chOff x="8507565" y="3461292"/>
            <a:chExt cx="301080" cy="460911"/>
          </a:xfrm>
          <a:solidFill>
            <a:schemeClr val="bg2">
              <a:lumMod val="90000"/>
            </a:schemeClr>
          </a:solidFill>
        </p:grpSpPr>
        <p:sp>
          <p:nvSpPr>
            <p:cNvPr id="28" name="Round Diagonal Corner Rectangle 27"/>
            <p:cNvSpPr/>
            <p:nvPr/>
          </p:nvSpPr>
          <p:spPr>
            <a:xfrm rot="5400000">
              <a:off x="8501552" y="3544478"/>
              <a:ext cx="313108" cy="146735"/>
            </a:xfrm>
            <a:prstGeom prst="round2DiagRect">
              <a:avLst>
                <a:gd name="adj1" fmla="val 23013"/>
                <a:gd name="adj2" fmla="val 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29" name="Freeform 112"/>
            <p:cNvSpPr>
              <a:spLocks/>
            </p:cNvSpPr>
            <p:nvPr/>
          </p:nvSpPr>
          <p:spPr bwMode="auto">
            <a:xfrm rot="16200000">
              <a:off x="8530051" y="3643610"/>
              <a:ext cx="256107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  <p:pic>
        <p:nvPicPr>
          <p:cNvPr id="30" name="Picture 4"/>
          <p:cNvPicPr>
            <a:picLocks noChangeAspect="1" noChangeArrowheads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3306" y="4685411"/>
            <a:ext cx="1234558" cy="2740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Freeform 34"/>
          <p:cNvSpPr>
            <a:spLocks noEditPoints="1"/>
          </p:cNvSpPr>
          <p:nvPr/>
        </p:nvSpPr>
        <p:spPr bwMode="auto">
          <a:xfrm>
            <a:off x="5441947" y="2030807"/>
            <a:ext cx="568328" cy="673020"/>
          </a:xfrm>
          <a:custGeom>
            <a:avLst/>
            <a:gdLst>
              <a:gd name="T0" fmla="*/ 257 w 303"/>
              <a:gd name="T1" fmla="*/ 165 h 359"/>
              <a:gd name="T2" fmla="*/ 257 w 303"/>
              <a:gd name="T3" fmla="*/ 108 h 359"/>
              <a:gd name="T4" fmla="*/ 255 w 303"/>
              <a:gd name="T5" fmla="*/ 86 h 359"/>
              <a:gd name="T6" fmla="*/ 248 w 303"/>
              <a:gd name="T7" fmla="*/ 66 h 359"/>
              <a:gd name="T8" fmla="*/ 238 w 303"/>
              <a:gd name="T9" fmla="*/ 48 h 359"/>
              <a:gd name="T10" fmla="*/ 225 w 303"/>
              <a:gd name="T11" fmla="*/ 33 h 359"/>
              <a:gd name="T12" fmla="*/ 209 w 303"/>
              <a:gd name="T13" fmla="*/ 19 h 359"/>
              <a:gd name="T14" fmla="*/ 191 w 303"/>
              <a:gd name="T15" fmla="*/ 9 h 359"/>
              <a:gd name="T16" fmla="*/ 171 w 303"/>
              <a:gd name="T17" fmla="*/ 3 h 359"/>
              <a:gd name="T18" fmla="*/ 150 w 303"/>
              <a:gd name="T19" fmla="*/ 0 h 359"/>
              <a:gd name="T20" fmla="*/ 139 w 303"/>
              <a:gd name="T21" fmla="*/ 2 h 359"/>
              <a:gd name="T22" fmla="*/ 118 w 303"/>
              <a:gd name="T23" fmla="*/ 6 h 359"/>
              <a:gd name="T24" fmla="*/ 98 w 303"/>
              <a:gd name="T25" fmla="*/ 13 h 359"/>
              <a:gd name="T26" fmla="*/ 82 w 303"/>
              <a:gd name="T27" fmla="*/ 25 h 359"/>
              <a:gd name="T28" fmla="*/ 67 w 303"/>
              <a:gd name="T29" fmla="*/ 40 h 359"/>
              <a:gd name="T30" fmla="*/ 55 w 303"/>
              <a:gd name="T31" fmla="*/ 56 h 359"/>
              <a:gd name="T32" fmla="*/ 48 w 303"/>
              <a:gd name="T33" fmla="*/ 76 h 359"/>
              <a:gd name="T34" fmla="*/ 43 w 303"/>
              <a:gd name="T35" fmla="*/ 97 h 359"/>
              <a:gd name="T36" fmla="*/ 42 w 303"/>
              <a:gd name="T37" fmla="*/ 165 h 359"/>
              <a:gd name="T38" fmla="*/ 0 w 303"/>
              <a:gd name="T39" fmla="*/ 337 h 359"/>
              <a:gd name="T40" fmla="*/ 1 w 303"/>
              <a:gd name="T41" fmla="*/ 341 h 359"/>
              <a:gd name="T42" fmla="*/ 4 w 303"/>
              <a:gd name="T43" fmla="*/ 350 h 359"/>
              <a:gd name="T44" fmla="*/ 11 w 303"/>
              <a:gd name="T45" fmla="*/ 355 h 359"/>
              <a:gd name="T46" fmla="*/ 18 w 303"/>
              <a:gd name="T47" fmla="*/ 359 h 359"/>
              <a:gd name="T48" fmla="*/ 303 w 303"/>
              <a:gd name="T49" fmla="*/ 359 h 359"/>
              <a:gd name="T50" fmla="*/ 303 w 303"/>
              <a:gd name="T51" fmla="*/ 187 h 359"/>
              <a:gd name="T52" fmla="*/ 301 w 303"/>
              <a:gd name="T53" fmla="*/ 179 h 359"/>
              <a:gd name="T54" fmla="*/ 297 w 303"/>
              <a:gd name="T55" fmla="*/ 171 h 359"/>
              <a:gd name="T56" fmla="*/ 289 w 303"/>
              <a:gd name="T57" fmla="*/ 167 h 359"/>
              <a:gd name="T58" fmla="*/ 280 w 303"/>
              <a:gd name="T59" fmla="*/ 165 h 359"/>
              <a:gd name="T60" fmla="*/ 88 w 303"/>
              <a:gd name="T61" fmla="*/ 108 h 359"/>
              <a:gd name="T62" fmla="*/ 90 w 303"/>
              <a:gd name="T63" fmla="*/ 95 h 359"/>
              <a:gd name="T64" fmla="*/ 99 w 303"/>
              <a:gd name="T65" fmla="*/ 74 h 359"/>
              <a:gd name="T66" fmla="*/ 115 w 303"/>
              <a:gd name="T67" fmla="*/ 57 h 359"/>
              <a:gd name="T68" fmla="*/ 137 w 303"/>
              <a:gd name="T69" fmla="*/ 48 h 359"/>
              <a:gd name="T70" fmla="*/ 150 w 303"/>
              <a:gd name="T71" fmla="*/ 47 h 359"/>
              <a:gd name="T72" fmla="*/ 174 w 303"/>
              <a:gd name="T73" fmla="*/ 51 h 359"/>
              <a:gd name="T74" fmla="*/ 193 w 303"/>
              <a:gd name="T75" fmla="*/ 65 h 359"/>
              <a:gd name="T76" fmla="*/ 206 w 303"/>
              <a:gd name="T77" fmla="*/ 84 h 359"/>
              <a:gd name="T78" fmla="*/ 211 w 303"/>
              <a:gd name="T79" fmla="*/ 108 h 359"/>
              <a:gd name="T80" fmla="*/ 88 w 303"/>
              <a:gd name="T81" fmla="*/ 165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03" h="359">
                <a:moveTo>
                  <a:pt x="280" y="165"/>
                </a:moveTo>
                <a:lnTo>
                  <a:pt x="257" y="165"/>
                </a:lnTo>
                <a:lnTo>
                  <a:pt x="257" y="108"/>
                </a:lnTo>
                <a:lnTo>
                  <a:pt x="257" y="108"/>
                </a:lnTo>
                <a:lnTo>
                  <a:pt x="257" y="97"/>
                </a:lnTo>
                <a:lnTo>
                  <a:pt x="255" y="86"/>
                </a:lnTo>
                <a:lnTo>
                  <a:pt x="252" y="76"/>
                </a:lnTo>
                <a:lnTo>
                  <a:pt x="248" y="66"/>
                </a:lnTo>
                <a:lnTo>
                  <a:pt x="244" y="56"/>
                </a:lnTo>
                <a:lnTo>
                  <a:pt x="238" y="48"/>
                </a:lnTo>
                <a:lnTo>
                  <a:pt x="233" y="40"/>
                </a:lnTo>
                <a:lnTo>
                  <a:pt x="225" y="33"/>
                </a:lnTo>
                <a:lnTo>
                  <a:pt x="218" y="25"/>
                </a:lnTo>
                <a:lnTo>
                  <a:pt x="209" y="19"/>
                </a:lnTo>
                <a:lnTo>
                  <a:pt x="201" y="13"/>
                </a:lnTo>
                <a:lnTo>
                  <a:pt x="191" y="9"/>
                </a:lnTo>
                <a:lnTo>
                  <a:pt x="181" y="6"/>
                </a:lnTo>
                <a:lnTo>
                  <a:pt x="171" y="3"/>
                </a:lnTo>
                <a:lnTo>
                  <a:pt x="161" y="2"/>
                </a:lnTo>
                <a:lnTo>
                  <a:pt x="150" y="0"/>
                </a:lnTo>
                <a:lnTo>
                  <a:pt x="150" y="0"/>
                </a:lnTo>
                <a:lnTo>
                  <a:pt x="139" y="2"/>
                </a:lnTo>
                <a:lnTo>
                  <a:pt x="128" y="3"/>
                </a:lnTo>
                <a:lnTo>
                  <a:pt x="118" y="6"/>
                </a:lnTo>
                <a:lnTo>
                  <a:pt x="108" y="9"/>
                </a:lnTo>
                <a:lnTo>
                  <a:pt x="98" y="13"/>
                </a:lnTo>
                <a:lnTo>
                  <a:pt x="90" y="19"/>
                </a:lnTo>
                <a:lnTo>
                  <a:pt x="82" y="25"/>
                </a:lnTo>
                <a:lnTo>
                  <a:pt x="74" y="33"/>
                </a:lnTo>
                <a:lnTo>
                  <a:pt x="67" y="40"/>
                </a:lnTo>
                <a:lnTo>
                  <a:pt x="60" y="48"/>
                </a:lnTo>
                <a:lnTo>
                  <a:pt x="55" y="56"/>
                </a:lnTo>
                <a:lnTo>
                  <a:pt x="51" y="66"/>
                </a:lnTo>
                <a:lnTo>
                  <a:pt x="48" y="76"/>
                </a:lnTo>
                <a:lnTo>
                  <a:pt x="44" y="86"/>
                </a:lnTo>
                <a:lnTo>
                  <a:pt x="43" y="97"/>
                </a:lnTo>
                <a:lnTo>
                  <a:pt x="42" y="108"/>
                </a:lnTo>
                <a:lnTo>
                  <a:pt x="42" y="165"/>
                </a:lnTo>
                <a:lnTo>
                  <a:pt x="0" y="165"/>
                </a:lnTo>
                <a:lnTo>
                  <a:pt x="0" y="337"/>
                </a:lnTo>
                <a:lnTo>
                  <a:pt x="0" y="337"/>
                </a:lnTo>
                <a:lnTo>
                  <a:pt x="1" y="341"/>
                </a:lnTo>
                <a:lnTo>
                  <a:pt x="2" y="345"/>
                </a:lnTo>
                <a:lnTo>
                  <a:pt x="4" y="350"/>
                </a:lnTo>
                <a:lnTo>
                  <a:pt x="8" y="353"/>
                </a:lnTo>
                <a:lnTo>
                  <a:pt x="11" y="355"/>
                </a:lnTo>
                <a:lnTo>
                  <a:pt x="14" y="357"/>
                </a:lnTo>
                <a:lnTo>
                  <a:pt x="18" y="359"/>
                </a:lnTo>
                <a:lnTo>
                  <a:pt x="24" y="359"/>
                </a:lnTo>
                <a:lnTo>
                  <a:pt x="303" y="359"/>
                </a:lnTo>
                <a:lnTo>
                  <a:pt x="303" y="187"/>
                </a:lnTo>
                <a:lnTo>
                  <a:pt x="303" y="187"/>
                </a:lnTo>
                <a:lnTo>
                  <a:pt x="302" y="183"/>
                </a:lnTo>
                <a:lnTo>
                  <a:pt x="301" y="179"/>
                </a:lnTo>
                <a:lnTo>
                  <a:pt x="299" y="175"/>
                </a:lnTo>
                <a:lnTo>
                  <a:pt x="297" y="171"/>
                </a:lnTo>
                <a:lnTo>
                  <a:pt x="292" y="169"/>
                </a:lnTo>
                <a:lnTo>
                  <a:pt x="289" y="167"/>
                </a:lnTo>
                <a:lnTo>
                  <a:pt x="285" y="165"/>
                </a:lnTo>
                <a:lnTo>
                  <a:pt x="280" y="165"/>
                </a:lnTo>
                <a:lnTo>
                  <a:pt x="280" y="165"/>
                </a:lnTo>
                <a:close/>
                <a:moveTo>
                  <a:pt x="88" y="108"/>
                </a:moveTo>
                <a:lnTo>
                  <a:pt x="88" y="108"/>
                </a:lnTo>
                <a:lnTo>
                  <a:pt x="90" y="95"/>
                </a:lnTo>
                <a:lnTo>
                  <a:pt x="93" y="84"/>
                </a:lnTo>
                <a:lnTo>
                  <a:pt x="99" y="74"/>
                </a:lnTo>
                <a:lnTo>
                  <a:pt x="107" y="65"/>
                </a:lnTo>
                <a:lnTo>
                  <a:pt x="115" y="57"/>
                </a:lnTo>
                <a:lnTo>
                  <a:pt x="126" y="51"/>
                </a:lnTo>
                <a:lnTo>
                  <a:pt x="137" y="48"/>
                </a:lnTo>
                <a:lnTo>
                  <a:pt x="150" y="47"/>
                </a:lnTo>
                <a:lnTo>
                  <a:pt x="150" y="47"/>
                </a:lnTo>
                <a:lnTo>
                  <a:pt x="162" y="48"/>
                </a:lnTo>
                <a:lnTo>
                  <a:pt x="174" y="51"/>
                </a:lnTo>
                <a:lnTo>
                  <a:pt x="184" y="57"/>
                </a:lnTo>
                <a:lnTo>
                  <a:pt x="193" y="65"/>
                </a:lnTo>
                <a:lnTo>
                  <a:pt x="201" y="74"/>
                </a:lnTo>
                <a:lnTo>
                  <a:pt x="206" y="84"/>
                </a:lnTo>
                <a:lnTo>
                  <a:pt x="209" y="95"/>
                </a:lnTo>
                <a:lnTo>
                  <a:pt x="211" y="108"/>
                </a:lnTo>
                <a:lnTo>
                  <a:pt x="211" y="165"/>
                </a:lnTo>
                <a:lnTo>
                  <a:pt x="88" y="165"/>
                </a:lnTo>
                <a:lnTo>
                  <a:pt x="88" y="1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2" name="Group 422"/>
          <p:cNvGrpSpPr>
            <a:grpSpLocks noChangeAspect="1"/>
          </p:cNvGrpSpPr>
          <p:nvPr/>
        </p:nvGrpSpPr>
        <p:grpSpPr bwMode="auto">
          <a:xfrm>
            <a:off x="3985549" y="4437714"/>
            <a:ext cx="672176" cy="769748"/>
            <a:chOff x="5326" y="548"/>
            <a:chExt cx="186" cy="213"/>
          </a:xfrm>
          <a:solidFill>
            <a:schemeClr val="bg1"/>
          </a:solidFill>
        </p:grpSpPr>
        <p:sp>
          <p:nvSpPr>
            <p:cNvPr id="33" name="Freeform 423"/>
            <p:cNvSpPr>
              <a:spLocks noEditPoints="1"/>
            </p:cNvSpPr>
            <p:nvPr/>
          </p:nvSpPr>
          <p:spPr bwMode="auto">
            <a:xfrm>
              <a:off x="5426" y="548"/>
              <a:ext cx="86" cy="153"/>
            </a:xfrm>
            <a:custGeom>
              <a:avLst/>
              <a:gdLst>
                <a:gd name="T0" fmla="*/ 85 w 172"/>
                <a:gd name="T1" fmla="*/ 94 h 306"/>
                <a:gd name="T2" fmla="*/ 106 w 172"/>
                <a:gd name="T3" fmla="*/ 91 h 306"/>
                <a:gd name="T4" fmla="*/ 120 w 172"/>
                <a:gd name="T5" fmla="*/ 84 h 306"/>
                <a:gd name="T6" fmla="*/ 128 w 172"/>
                <a:gd name="T7" fmla="*/ 69 h 306"/>
                <a:gd name="T8" fmla="*/ 131 w 172"/>
                <a:gd name="T9" fmla="*/ 47 h 306"/>
                <a:gd name="T10" fmla="*/ 129 w 172"/>
                <a:gd name="T11" fmla="*/ 35 h 306"/>
                <a:gd name="T12" fmla="*/ 125 w 172"/>
                <a:gd name="T13" fmla="*/ 17 h 306"/>
                <a:gd name="T14" fmla="*/ 114 w 172"/>
                <a:gd name="T15" fmla="*/ 6 h 306"/>
                <a:gd name="T16" fmla="*/ 97 w 172"/>
                <a:gd name="T17" fmla="*/ 0 h 306"/>
                <a:gd name="T18" fmla="*/ 85 w 172"/>
                <a:gd name="T19" fmla="*/ 0 h 306"/>
                <a:gd name="T20" fmla="*/ 65 w 172"/>
                <a:gd name="T21" fmla="*/ 2 h 306"/>
                <a:gd name="T22" fmla="*/ 51 w 172"/>
                <a:gd name="T23" fmla="*/ 10 h 306"/>
                <a:gd name="T24" fmla="*/ 43 w 172"/>
                <a:gd name="T25" fmla="*/ 25 h 306"/>
                <a:gd name="T26" fmla="*/ 41 w 172"/>
                <a:gd name="T27" fmla="*/ 47 h 306"/>
                <a:gd name="T28" fmla="*/ 41 w 172"/>
                <a:gd name="T29" fmla="*/ 59 h 306"/>
                <a:gd name="T30" fmla="*/ 46 w 172"/>
                <a:gd name="T31" fmla="*/ 76 h 306"/>
                <a:gd name="T32" fmla="*/ 57 w 172"/>
                <a:gd name="T33" fmla="*/ 88 h 306"/>
                <a:gd name="T34" fmla="*/ 74 w 172"/>
                <a:gd name="T35" fmla="*/ 93 h 306"/>
                <a:gd name="T36" fmla="*/ 85 w 172"/>
                <a:gd name="T37" fmla="*/ 94 h 306"/>
                <a:gd name="T38" fmla="*/ 36 w 172"/>
                <a:gd name="T39" fmla="*/ 108 h 306"/>
                <a:gd name="T40" fmla="*/ 28 w 172"/>
                <a:gd name="T41" fmla="*/ 108 h 306"/>
                <a:gd name="T42" fmla="*/ 14 w 172"/>
                <a:gd name="T43" fmla="*/ 113 h 306"/>
                <a:gd name="T44" fmla="*/ 5 w 172"/>
                <a:gd name="T45" fmla="*/ 122 h 306"/>
                <a:gd name="T46" fmla="*/ 0 w 172"/>
                <a:gd name="T47" fmla="*/ 138 h 306"/>
                <a:gd name="T48" fmla="*/ 0 w 172"/>
                <a:gd name="T49" fmla="*/ 173 h 306"/>
                <a:gd name="T50" fmla="*/ 28 w 172"/>
                <a:gd name="T51" fmla="*/ 156 h 306"/>
                <a:gd name="T52" fmla="*/ 29 w 172"/>
                <a:gd name="T53" fmla="*/ 154 h 306"/>
                <a:gd name="T54" fmla="*/ 32 w 172"/>
                <a:gd name="T55" fmla="*/ 153 h 306"/>
                <a:gd name="T56" fmla="*/ 36 w 172"/>
                <a:gd name="T57" fmla="*/ 156 h 306"/>
                <a:gd name="T58" fmla="*/ 133 w 172"/>
                <a:gd name="T59" fmla="*/ 306 h 306"/>
                <a:gd name="T60" fmla="*/ 135 w 172"/>
                <a:gd name="T61" fmla="*/ 281 h 306"/>
                <a:gd name="T62" fmla="*/ 136 w 172"/>
                <a:gd name="T63" fmla="*/ 265 h 306"/>
                <a:gd name="T64" fmla="*/ 136 w 172"/>
                <a:gd name="T65" fmla="*/ 156 h 306"/>
                <a:gd name="T66" fmla="*/ 139 w 172"/>
                <a:gd name="T67" fmla="*/ 153 h 306"/>
                <a:gd name="T68" fmla="*/ 142 w 172"/>
                <a:gd name="T69" fmla="*/ 154 h 306"/>
                <a:gd name="T70" fmla="*/ 142 w 172"/>
                <a:gd name="T71" fmla="*/ 258 h 306"/>
                <a:gd name="T72" fmla="*/ 143 w 172"/>
                <a:gd name="T73" fmla="*/ 260 h 306"/>
                <a:gd name="T74" fmla="*/ 145 w 172"/>
                <a:gd name="T75" fmla="*/ 266 h 306"/>
                <a:gd name="T76" fmla="*/ 152 w 172"/>
                <a:gd name="T77" fmla="*/ 272 h 306"/>
                <a:gd name="T78" fmla="*/ 158 w 172"/>
                <a:gd name="T79" fmla="*/ 272 h 306"/>
                <a:gd name="T80" fmla="*/ 167 w 172"/>
                <a:gd name="T81" fmla="*/ 269 h 306"/>
                <a:gd name="T82" fmla="*/ 172 w 172"/>
                <a:gd name="T83" fmla="*/ 258 h 306"/>
                <a:gd name="T84" fmla="*/ 172 w 172"/>
                <a:gd name="T85" fmla="*/ 146 h 306"/>
                <a:gd name="T86" fmla="*/ 169 w 172"/>
                <a:gd name="T87" fmla="*/ 129 h 306"/>
                <a:gd name="T88" fmla="*/ 162 w 172"/>
                <a:gd name="T89" fmla="*/ 117 h 306"/>
                <a:gd name="T90" fmla="*/ 151 w 172"/>
                <a:gd name="T91" fmla="*/ 111 h 306"/>
                <a:gd name="T92" fmla="*/ 136 w 172"/>
                <a:gd name="T93" fmla="*/ 108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2" h="306">
                  <a:moveTo>
                    <a:pt x="85" y="94"/>
                  </a:moveTo>
                  <a:lnTo>
                    <a:pt x="85" y="94"/>
                  </a:lnTo>
                  <a:lnTo>
                    <a:pt x="97" y="93"/>
                  </a:lnTo>
                  <a:lnTo>
                    <a:pt x="106" y="91"/>
                  </a:lnTo>
                  <a:lnTo>
                    <a:pt x="114" y="88"/>
                  </a:lnTo>
                  <a:lnTo>
                    <a:pt x="120" y="84"/>
                  </a:lnTo>
                  <a:lnTo>
                    <a:pt x="125" y="76"/>
                  </a:lnTo>
                  <a:lnTo>
                    <a:pt x="128" y="69"/>
                  </a:lnTo>
                  <a:lnTo>
                    <a:pt x="129" y="59"/>
                  </a:lnTo>
                  <a:lnTo>
                    <a:pt x="131" y="47"/>
                  </a:lnTo>
                  <a:lnTo>
                    <a:pt x="131" y="47"/>
                  </a:lnTo>
                  <a:lnTo>
                    <a:pt x="129" y="35"/>
                  </a:lnTo>
                  <a:lnTo>
                    <a:pt x="128" y="25"/>
                  </a:lnTo>
                  <a:lnTo>
                    <a:pt x="125" y="17"/>
                  </a:lnTo>
                  <a:lnTo>
                    <a:pt x="120" y="10"/>
                  </a:lnTo>
                  <a:lnTo>
                    <a:pt x="114" y="6"/>
                  </a:lnTo>
                  <a:lnTo>
                    <a:pt x="106" y="2"/>
                  </a:lnTo>
                  <a:lnTo>
                    <a:pt x="97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65" y="2"/>
                  </a:lnTo>
                  <a:lnTo>
                    <a:pt x="57" y="6"/>
                  </a:lnTo>
                  <a:lnTo>
                    <a:pt x="51" y="10"/>
                  </a:lnTo>
                  <a:lnTo>
                    <a:pt x="46" y="17"/>
                  </a:lnTo>
                  <a:lnTo>
                    <a:pt x="43" y="25"/>
                  </a:lnTo>
                  <a:lnTo>
                    <a:pt x="41" y="35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59"/>
                  </a:lnTo>
                  <a:lnTo>
                    <a:pt x="43" y="69"/>
                  </a:lnTo>
                  <a:lnTo>
                    <a:pt x="46" y="76"/>
                  </a:lnTo>
                  <a:lnTo>
                    <a:pt x="51" y="84"/>
                  </a:lnTo>
                  <a:lnTo>
                    <a:pt x="57" y="88"/>
                  </a:lnTo>
                  <a:lnTo>
                    <a:pt x="65" y="91"/>
                  </a:lnTo>
                  <a:lnTo>
                    <a:pt x="74" y="93"/>
                  </a:lnTo>
                  <a:lnTo>
                    <a:pt x="85" y="94"/>
                  </a:lnTo>
                  <a:lnTo>
                    <a:pt x="85" y="94"/>
                  </a:lnTo>
                  <a:close/>
                  <a:moveTo>
                    <a:pt x="136" y="108"/>
                  </a:moveTo>
                  <a:lnTo>
                    <a:pt x="36" y="108"/>
                  </a:lnTo>
                  <a:lnTo>
                    <a:pt x="36" y="108"/>
                  </a:lnTo>
                  <a:lnTo>
                    <a:pt x="28" y="108"/>
                  </a:lnTo>
                  <a:lnTo>
                    <a:pt x="21" y="111"/>
                  </a:lnTo>
                  <a:lnTo>
                    <a:pt x="14" y="113"/>
                  </a:lnTo>
                  <a:lnTo>
                    <a:pt x="10" y="117"/>
                  </a:lnTo>
                  <a:lnTo>
                    <a:pt x="5" y="122"/>
                  </a:lnTo>
                  <a:lnTo>
                    <a:pt x="2" y="129"/>
                  </a:lnTo>
                  <a:lnTo>
                    <a:pt x="0" y="138"/>
                  </a:lnTo>
                  <a:lnTo>
                    <a:pt x="0" y="146"/>
                  </a:lnTo>
                  <a:lnTo>
                    <a:pt x="0" y="173"/>
                  </a:lnTo>
                  <a:lnTo>
                    <a:pt x="28" y="201"/>
                  </a:lnTo>
                  <a:lnTo>
                    <a:pt x="28" y="156"/>
                  </a:lnTo>
                  <a:lnTo>
                    <a:pt x="28" y="156"/>
                  </a:lnTo>
                  <a:lnTo>
                    <a:pt x="29" y="154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5" y="154"/>
                  </a:lnTo>
                  <a:lnTo>
                    <a:pt x="36" y="156"/>
                  </a:lnTo>
                  <a:lnTo>
                    <a:pt x="36" y="209"/>
                  </a:lnTo>
                  <a:lnTo>
                    <a:pt x="133" y="306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6" y="265"/>
                  </a:lnTo>
                  <a:lnTo>
                    <a:pt x="136" y="156"/>
                  </a:lnTo>
                  <a:lnTo>
                    <a:pt x="136" y="156"/>
                  </a:lnTo>
                  <a:lnTo>
                    <a:pt x="137" y="154"/>
                  </a:lnTo>
                  <a:lnTo>
                    <a:pt x="139" y="153"/>
                  </a:lnTo>
                  <a:lnTo>
                    <a:pt x="139" y="153"/>
                  </a:lnTo>
                  <a:lnTo>
                    <a:pt x="142" y="154"/>
                  </a:lnTo>
                  <a:lnTo>
                    <a:pt x="142" y="156"/>
                  </a:lnTo>
                  <a:lnTo>
                    <a:pt x="142" y="258"/>
                  </a:lnTo>
                  <a:lnTo>
                    <a:pt x="142" y="258"/>
                  </a:lnTo>
                  <a:lnTo>
                    <a:pt x="143" y="260"/>
                  </a:lnTo>
                  <a:lnTo>
                    <a:pt x="143" y="260"/>
                  </a:lnTo>
                  <a:lnTo>
                    <a:pt x="145" y="266"/>
                  </a:lnTo>
                  <a:lnTo>
                    <a:pt x="148" y="269"/>
                  </a:lnTo>
                  <a:lnTo>
                    <a:pt x="152" y="272"/>
                  </a:lnTo>
                  <a:lnTo>
                    <a:pt x="158" y="272"/>
                  </a:lnTo>
                  <a:lnTo>
                    <a:pt x="158" y="272"/>
                  </a:lnTo>
                  <a:lnTo>
                    <a:pt x="163" y="271"/>
                  </a:lnTo>
                  <a:lnTo>
                    <a:pt x="167" y="269"/>
                  </a:lnTo>
                  <a:lnTo>
                    <a:pt x="170" y="264"/>
                  </a:lnTo>
                  <a:lnTo>
                    <a:pt x="172" y="258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2" y="138"/>
                  </a:lnTo>
                  <a:lnTo>
                    <a:pt x="169" y="129"/>
                  </a:lnTo>
                  <a:lnTo>
                    <a:pt x="166" y="122"/>
                  </a:lnTo>
                  <a:lnTo>
                    <a:pt x="162" y="117"/>
                  </a:lnTo>
                  <a:lnTo>
                    <a:pt x="158" y="113"/>
                  </a:lnTo>
                  <a:lnTo>
                    <a:pt x="151" y="111"/>
                  </a:lnTo>
                  <a:lnTo>
                    <a:pt x="143" y="108"/>
                  </a:lnTo>
                  <a:lnTo>
                    <a:pt x="136" y="108"/>
                  </a:lnTo>
                  <a:lnTo>
                    <a:pt x="136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424"/>
            <p:cNvSpPr>
              <a:spLocks noEditPoints="1"/>
            </p:cNvSpPr>
            <p:nvPr/>
          </p:nvSpPr>
          <p:spPr bwMode="auto">
            <a:xfrm>
              <a:off x="5326" y="580"/>
              <a:ext cx="181" cy="181"/>
            </a:xfrm>
            <a:custGeom>
              <a:avLst/>
              <a:gdLst>
                <a:gd name="T0" fmla="*/ 179 w 362"/>
                <a:gd name="T1" fmla="*/ 112 h 362"/>
                <a:gd name="T2" fmla="*/ 181 w 362"/>
                <a:gd name="T3" fmla="*/ 101 h 362"/>
                <a:gd name="T4" fmla="*/ 180 w 362"/>
                <a:gd name="T5" fmla="*/ 79 h 362"/>
                <a:gd name="T6" fmla="*/ 174 w 362"/>
                <a:gd name="T7" fmla="*/ 56 h 362"/>
                <a:gd name="T8" fmla="*/ 162 w 362"/>
                <a:gd name="T9" fmla="*/ 36 h 362"/>
                <a:gd name="T10" fmla="*/ 155 w 362"/>
                <a:gd name="T11" fmla="*/ 27 h 362"/>
                <a:gd name="T12" fmla="*/ 132 w 362"/>
                <a:gd name="T13" fmla="*/ 11 h 362"/>
                <a:gd name="T14" fmla="*/ 106 w 362"/>
                <a:gd name="T15" fmla="*/ 2 h 362"/>
                <a:gd name="T16" fmla="*/ 79 w 362"/>
                <a:gd name="T17" fmla="*/ 1 h 362"/>
                <a:gd name="T18" fmla="*/ 53 w 362"/>
                <a:gd name="T19" fmla="*/ 8 h 362"/>
                <a:gd name="T20" fmla="*/ 102 w 362"/>
                <a:gd name="T21" fmla="*/ 56 h 362"/>
                <a:gd name="T22" fmla="*/ 110 w 362"/>
                <a:gd name="T23" fmla="*/ 67 h 362"/>
                <a:gd name="T24" fmla="*/ 112 w 362"/>
                <a:gd name="T25" fmla="*/ 80 h 362"/>
                <a:gd name="T26" fmla="*/ 110 w 362"/>
                <a:gd name="T27" fmla="*/ 92 h 362"/>
                <a:gd name="T28" fmla="*/ 102 w 362"/>
                <a:gd name="T29" fmla="*/ 103 h 362"/>
                <a:gd name="T30" fmla="*/ 97 w 362"/>
                <a:gd name="T31" fmla="*/ 107 h 362"/>
                <a:gd name="T32" fmla="*/ 85 w 362"/>
                <a:gd name="T33" fmla="*/ 112 h 362"/>
                <a:gd name="T34" fmla="*/ 72 w 362"/>
                <a:gd name="T35" fmla="*/ 112 h 362"/>
                <a:gd name="T36" fmla="*/ 60 w 362"/>
                <a:gd name="T37" fmla="*/ 107 h 362"/>
                <a:gd name="T38" fmla="*/ 7 w 362"/>
                <a:gd name="T39" fmla="*/ 55 h 362"/>
                <a:gd name="T40" fmla="*/ 3 w 362"/>
                <a:gd name="T41" fmla="*/ 67 h 362"/>
                <a:gd name="T42" fmla="*/ 0 w 362"/>
                <a:gd name="T43" fmla="*/ 94 h 362"/>
                <a:gd name="T44" fmla="*/ 4 w 362"/>
                <a:gd name="T45" fmla="*/ 120 h 362"/>
                <a:gd name="T46" fmla="*/ 17 w 362"/>
                <a:gd name="T47" fmla="*/ 145 h 362"/>
                <a:gd name="T48" fmla="*/ 27 w 362"/>
                <a:gd name="T49" fmla="*/ 155 h 362"/>
                <a:gd name="T50" fmla="*/ 45 w 362"/>
                <a:gd name="T51" fmla="*/ 169 h 362"/>
                <a:gd name="T52" fmla="*/ 66 w 362"/>
                <a:gd name="T53" fmla="*/ 179 h 362"/>
                <a:gd name="T54" fmla="*/ 89 w 362"/>
                <a:gd name="T55" fmla="*/ 182 h 362"/>
                <a:gd name="T56" fmla="*/ 112 w 362"/>
                <a:gd name="T57" fmla="*/ 179 h 362"/>
                <a:gd name="T58" fmla="*/ 282 w 362"/>
                <a:gd name="T59" fmla="*/ 349 h 362"/>
                <a:gd name="T60" fmla="*/ 297 w 362"/>
                <a:gd name="T61" fmla="*/ 359 h 362"/>
                <a:gd name="T62" fmla="*/ 314 w 362"/>
                <a:gd name="T63" fmla="*/ 362 h 362"/>
                <a:gd name="T64" fmla="*/ 324 w 362"/>
                <a:gd name="T65" fmla="*/ 362 h 362"/>
                <a:gd name="T66" fmla="*/ 340 w 362"/>
                <a:gd name="T67" fmla="*/ 355 h 362"/>
                <a:gd name="T68" fmla="*/ 348 w 362"/>
                <a:gd name="T69" fmla="*/ 349 h 362"/>
                <a:gd name="T70" fmla="*/ 359 w 362"/>
                <a:gd name="T71" fmla="*/ 333 h 362"/>
                <a:gd name="T72" fmla="*/ 362 w 362"/>
                <a:gd name="T73" fmla="*/ 316 h 362"/>
                <a:gd name="T74" fmla="*/ 359 w 362"/>
                <a:gd name="T75" fmla="*/ 298 h 362"/>
                <a:gd name="T76" fmla="*/ 348 w 362"/>
                <a:gd name="T77" fmla="*/ 283 h 362"/>
                <a:gd name="T78" fmla="*/ 329 w 362"/>
                <a:gd name="T79" fmla="*/ 330 h 362"/>
                <a:gd name="T80" fmla="*/ 326 w 362"/>
                <a:gd name="T81" fmla="*/ 333 h 362"/>
                <a:gd name="T82" fmla="*/ 319 w 362"/>
                <a:gd name="T83" fmla="*/ 336 h 362"/>
                <a:gd name="T84" fmla="*/ 311 w 362"/>
                <a:gd name="T85" fmla="*/ 336 h 362"/>
                <a:gd name="T86" fmla="*/ 304 w 362"/>
                <a:gd name="T87" fmla="*/ 333 h 362"/>
                <a:gd name="T88" fmla="*/ 300 w 362"/>
                <a:gd name="T89" fmla="*/ 330 h 362"/>
                <a:gd name="T90" fmla="*/ 296 w 362"/>
                <a:gd name="T91" fmla="*/ 324 h 362"/>
                <a:gd name="T92" fmla="*/ 294 w 362"/>
                <a:gd name="T93" fmla="*/ 316 h 362"/>
                <a:gd name="T94" fmla="*/ 296 w 362"/>
                <a:gd name="T95" fmla="*/ 308 h 362"/>
                <a:gd name="T96" fmla="*/ 300 w 362"/>
                <a:gd name="T97" fmla="*/ 301 h 362"/>
                <a:gd name="T98" fmla="*/ 304 w 362"/>
                <a:gd name="T99" fmla="*/ 299 h 362"/>
                <a:gd name="T100" fmla="*/ 311 w 362"/>
                <a:gd name="T101" fmla="*/ 296 h 362"/>
                <a:gd name="T102" fmla="*/ 319 w 362"/>
                <a:gd name="T103" fmla="*/ 296 h 362"/>
                <a:gd name="T104" fmla="*/ 326 w 362"/>
                <a:gd name="T105" fmla="*/ 299 h 362"/>
                <a:gd name="T106" fmla="*/ 329 w 362"/>
                <a:gd name="T107" fmla="*/ 301 h 362"/>
                <a:gd name="T108" fmla="*/ 334 w 362"/>
                <a:gd name="T109" fmla="*/ 308 h 362"/>
                <a:gd name="T110" fmla="*/ 336 w 362"/>
                <a:gd name="T111" fmla="*/ 316 h 362"/>
                <a:gd name="T112" fmla="*/ 334 w 362"/>
                <a:gd name="T113" fmla="*/ 324 h 362"/>
                <a:gd name="T114" fmla="*/ 329 w 362"/>
                <a:gd name="T115" fmla="*/ 33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2" h="362">
                  <a:moveTo>
                    <a:pt x="348" y="283"/>
                  </a:moveTo>
                  <a:lnTo>
                    <a:pt x="179" y="112"/>
                  </a:lnTo>
                  <a:lnTo>
                    <a:pt x="179" y="112"/>
                  </a:lnTo>
                  <a:lnTo>
                    <a:pt x="181" y="101"/>
                  </a:lnTo>
                  <a:lnTo>
                    <a:pt x="181" y="90"/>
                  </a:lnTo>
                  <a:lnTo>
                    <a:pt x="180" y="79"/>
                  </a:lnTo>
                  <a:lnTo>
                    <a:pt x="177" y="67"/>
                  </a:lnTo>
                  <a:lnTo>
                    <a:pt x="174" y="56"/>
                  </a:lnTo>
                  <a:lnTo>
                    <a:pt x="169" y="47"/>
                  </a:lnTo>
                  <a:lnTo>
                    <a:pt x="162" y="36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44" y="17"/>
                  </a:lnTo>
                  <a:lnTo>
                    <a:pt x="132" y="11"/>
                  </a:lnTo>
                  <a:lnTo>
                    <a:pt x="119" y="6"/>
                  </a:lnTo>
                  <a:lnTo>
                    <a:pt x="106" y="2"/>
                  </a:lnTo>
                  <a:lnTo>
                    <a:pt x="93" y="0"/>
                  </a:lnTo>
                  <a:lnTo>
                    <a:pt x="79" y="1"/>
                  </a:lnTo>
                  <a:lnTo>
                    <a:pt x="66" y="3"/>
                  </a:lnTo>
                  <a:lnTo>
                    <a:pt x="53" y="8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6" y="62"/>
                  </a:lnTo>
                  <a:lnTo>
                    <a:pt x="110" y="67"/>
                  </a:lnTo>
                  <a:lnTo>
                    <a:pt x="111" y="73"/>
                  </a:lnTo>
                  <a:lnTo>
                    <a:pt x="112" y="80"/>
                  </a:lnTo>
                  <a:lnTo>
                    <a:pt x="111" y="85"/>
                  </a:lnTo>
                  <a:lnTo>
                    <a:pt x="110" y="92"/>
                  </a:lnTo>
                  <a:lnTo>
                    <a:pt x="106" y="97"/>
                  </a:lnTo>
                  <a:lnTo>
                    <a:pt x="102" y="103"/>
                  </a:lnTo>
                  <a:lnTo>
                    <a:pt x="102" y="103"/>
                  </a:lnTo>
                  <a:lnTo>
                    <a:pt x="97" y="107"/>
                  </a:lnTo>
                  <a:lnTo>
                    <a:pt x="91" y="110"/>
                  </a:lnTo>
                  <a:lnTo>
                    <a:pt x="85" y="112"/>
                  </a:lnTo>
                  <a:lnTo>
                    <a:pt x="78" y="112"/>
                  </a:lnTo>
                  <a:lnTo>
                    <a:pt x="72" y="112"/>
                  </a:lnTo>
                  <a:lnTo>
                    <a:pt x="66" y="110"/>
                  </a:lnTo>
                  <a:lnTo>
                    <a:pt x="60" y="107"/>
                  </a:lnTo>
                  <a:lnTo>
                    <a:pt x="56" y="103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3" y="67"/>
                  </a:lnTo>
                  <a:lnTo>
                    <a:pt x="1" y="81"/>
                  </a:lnTo>
                  <a:lnTo>
                    <a:pt x="0" y="94"/>
                  </a:lnTo>
                  <a:lnTo>
                    <a:pt x="1" y="107"/>
                  </a:lnTo>
                  <a:lnTo>
                    <a:pt x="4" y="120"/>
                  </a:lnTo>
                  <a:lnTo>
                    <a:pt x="9" y="133"/>
                  </a:lnTo>
                  <a:lnTo>
                    <a:pt x="17" y="14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35" y="163"/>
                  </a:lnTo>
                  <a:lnTo>
                    <a:pt x="45" y="169"/>
                  </a:lnTo>
                  <a:lnTo>
                    <a:pt x="56" y="175"/>
                  </a:lnTo>
                  <a:lnTo>
                    <a:pt x="66" y="179"/>
                  </a:lnTo>
                  <a:lnTo>
                    <a:pt x="77" y="181"/>
                  </a:lnTo>
                  <a:lnTo>
                    <a:pt x="89" y="182"/>
                  </a:lnTo>
                  <a:lnTo>
                    <a:pt x="101" y="181"/>
                  </a:lnTo>
                  <a:lnTo>
                    <a:pt x="112" y="179"/>
                  </a:lnTo>
                  <a:lnTo>
                    <a:pt x="282" y="349"/>
                  </a:lnTo>
                  <a:lnTo>
                    <a:pt x="282" y="349"/>
                  </a:lnTo>
                  <a:lnTo>
                    <a:pt x="289" y="355"/>
                  </a:lnTo>
                  <a:lnTo>
                    <a:pt x="297" y="359"/>
                  </a:lnTo>
                  <a:lnTo>
                    <a:pt x="306" y="362"/>
                  </a:lnTo>
                  <a:lnTo>
                    <a:pt x="314" y="362"/>
                  </a:lnTo>
                  <a:lnTo>
                    <a:pt x="314" y="362"/>
                  </a:lnTo>
                  <a:lnTo>
                    <a:pt x="324" y="362"/>
                  </a:lnTo>
                  <a:lnTo>
                    <a:pt x="333" y="359"/>
                  </a:lnTo>
                  <a:lnTo>
                    <a:pt x="340" y="355"/>
                  </a:lnTo>
                  <a:lnTo>
                    <a:pt x="348" y="349"/>
                  </a:lnTo>
                  <a:lnTo>
                    <a:pt x="348" y="349"/>
                  </a:lnTo>
                  <a:lnTo>
                    <a:pt x="354" y="342"/>
                  </a:lnTo>
                  <a:lnTo>
                    <a:pt x="359" y="333"/>
                  </a:lnTo>
                  <a:lnTo>
                    <a:pt x="361" y="325"/>
                  </a:lnTo>
                  <a:lnTo>
                    <a:pt x="362" y="316"/>
                  </a:lnTo>
                  <a:lnTo>
                    <a:pt x="361" y="306"/>
                  </a:lnTo>
                  <a:lnTo>
                    <a:pt x="359" y="298"/>
                  </a:lnTo>
                  <a:lnTo>
                    <a:pt x="354" y="290"/>
                  </a:lnTo>
                  <a:lnTo>
                    <a:pt x="348" y="283"/>
                  </a:lnTo>
                  <a:lnTo>
                    <a:pt x="348" y="283"/>
                  </a:lnTo>
                  <a:close/>
                  <a:moveTo>
                    <a:pt x="329" y="330"/>
                  </a:moveTo>
                  <a:lnTo>
                    <a:pt x="329" y="330"/>
                  </a:lnTo>
                  <a:lnTo>
                    <a:pt x="326" y="333"/>
                  </a:lnTo>
                  <a:lnTo>
                    <a:pt x="323" y="334"/>
                  </a:lnTo>
                  <a:lnTo>
                    <a:pt x="319" y="336"/>
                  </a:lnTo>
                  <a:lnTo>
                    <a:pt x="314" y="336"/>
                  </a:lnTo>
                  <a:lnTo>
                    <a:pt x="311" y="336"/>
                  </a:lnTo>
                  <a:lnTo>
                    <a:pt x="307" y="334"/>
                  </a:lnTo>
                  <a:lnTo>
                    <a:pt x="304" y="333"/>
                  </a:lnTo>
                  <a:lnTo>
                    <a:pt x="300" y="330"/>
                  </a:lnTo>
                  <a:lnTo>
                    <a:pt x="300" y="330"/>
                  </a:lnTo>
                  <a:lnTo>
                    <a:pt x="297" y="327"/>
                  </a:lnTo>
                  <a:lnTo>
                    <a:pt x="296" y="324"/>
                  </a:lnTo>
                  <a:lnTo>
                    <a:pt x="295" y="319"/>
                  </a:lnTo>
                  <a:lnTo>
                    <a:pt x="294" y="316"/>
                  </a:lnTo>
                  <a:lnTo>
                    <a:pt x="295" y="312"/>
                  </a:lnTo>
                  <a:lnTo>
                    <a:pt x="296" y="308"/>
                  </a:lnTo>
                  <a:lnTo>
                    <a:pt x="297" y="304"/>
                  </a:lnTo>
                  <a:lnTo>
                    <a:pt x="300" y="301"/>
                  </a:lnTo>
                  <a:lnTo>
                    <a:pt x="300" y="301"/>
                  </a:lnTo>
                  <a:lnTo>
                    <a:pt x="304" y="299"/>
                  </a:lnTo>
                  <a:lnTo>
                    <a:pt x="307" y="297"/>
                  </a:lnTo>
                  <a:lnTo>
                    <a:pt x="311" y="296"/>
                  </a:lnTo>
                  <a:lnTo>
                    <a:pt x="314" y="296"/>
                  </a:lnTo>
                  <a:lnTo>
                    <a:pt x="319" y="296"/>
                  </a:lnTo>
                  <a:lnTo>
                    <a:pt x="323" y="297"/>
                  </a:lnTo>
                  <a:lnTo>
                    <a:pt x="326" y="299"/>
                  </a:lnTo>
                  <a:lnTo>
                    <a:pt x="329" y="301"/>
                  </a:lnTo>
                  <a:lnTo>
                    <a:pt x="329" y="301"/>
                  </a:lnTo>
                  <a:lnTo>
                    <a:pt x="332" y="304"/>
                  </a:lnTo>
                  <a:lnTo>
                    <a:pt x="334" y="308"/>
                  </a:lnTo>
                  <a:lnTo>
                    <a:pt x="335" y="312"/>
                  </a:lnTo>
                  <a:lnTo>
                    <a:pt x="336" y="316"/>
                  </a:lnTo>
                  <a:lnTo>
                    <a:pt x="335" y="319"/>
                  </a:lnTo>
                  <a:lnTo>
                    <a:pt x="334" y="324"/>
                  </a:lnTo>
                  <a:lnTo>
                    <a:pt x="332" y="327"/>
                  </a:lnTo>
                  <a:lnTo>
                    <a:pt x="329" y="330"/>
                  </a:lnTo>
                  <a:lnTo>
                    <a:pt x="329" y="3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6083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designed from the ground up...</a:t>
            </a:r>
            <a:endParaRPr lang="hi-IN" dirty="0"/>
          </a:p>
        </p:txBody>
      </p:sp>
      <p:grpSp>
        <p:nvGrpSpPr>
          <p:cNvPr id="24" name="Group 23"/>
          <p:cNvGrpSpPr/>
          <p:nvPr/>
        </p:nvGrpSpPr>
        <p:grpSpPr>
          <a:xfrm>
            <a:off x="2743313" y="2906992"/>
            <a:ext cx="301080" cy="306817"/>
            <a:chOff x="8507565" y="3550873"/>
            <a:chExt cx="301080" cy="371330"/>
          </a:xfrm>
          <a:solidFill>
            <a:schemeClr val="bg2">
              <a:lumMod val="90000"/>
            </a:schemeClr>
          </a:solidFill>
        </p:grpSpPr>
        <p:sp>
          <p:nvSpPr>
            <p:cNvPr id="25" name="Round Diagonal Corner Rectangle 24"/>
            <p:cNvSpPr/>
            <p:nvPr/>
          </p:nvSpPr>
          <p:spPr>
            <a:xfrm rot="5400000">
              <a:off x="8546342" y="3589268"/>
              <a:ext cx="223525" cy="146735"/>
            </a:xfrm>
            <a:prstGeom prst="round2DiagRect">
              <a:avLst>
                <a:gd name="adj1" fmla="val 23013"/>
                <a:gd name="adj2" fmla="val 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26" name="Freeform 112"/>
            <p:cNvSpPr>
              <a:spLocks/>
            </p:cNvSpPr>
            <p:nvPr/>
          </p:nvSpPr>
          <p:spPr bwMode="auto">
            <a:xfrm rot="16200000">
              <a:off x="8530051" y="3643610"/>
              <a:ext cx="256107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2743313" y="4064495"/>
            <a:ext cx="301080" cy="306817"/>
            <a:chOff x="8507565" y="3550873"/>
            <a:chExt cx="301080" cy="371330"/>
          </a:xfrm>
          <a:solidFill>
            <a:schemeClr val="bg2">
              <a:lumMod val="90000"/>
            </a:schemeClr>
          </a:solidFill>
        </p:grpSpPr>
        <p:sp>
          <p:nvSpPr>
            <p:cNvPr id="28" name="Round Diagonal Corner Rectangle 27"/>
            <p:cNvSpPr/>
            <p:nvPr/>
          </p:nvSpPr>
          <p:spPr>
            <a:xfrm rot="5400000">
              <a:off x="8546342" y="3589268"/>
              <a:ext cx="223525" cy="146735"/>
            </a:xfrm>
            <a:prstGeom prst="round2DiagRect">
              <a:avLst>
                <a:gd name="adj1" fmla="val 23013"/>
                <a:gd name="adj2" fmla="val 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29" name="Freeform 112"/>
            <p:cNvSpPr>
              <a:spLocks/>
            </p:cNvSpPr>
            <p:nvPr/>
          </p:nvSpPr>
          <p:spPr bwMode="auto">
            <a:xfrm rot="16200000">
              <a:off x="8530051" y="3643610"/>
              <a:ext cx="256107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  <p:sp>
        <p:nvSpPr>
          <p:cNvPr id="30" name="Round Diagonal Corner Rectangle 29"/>
          <p:cNvSpPr/>
          <p:nvPr/>
        </p:nvSpPr>
        <p:spPr>
          <a:xfrm flipH="1">
            <a:off x="921325" y="4442921"/>
            <a:ext cx="3879276" cy="782965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1440" rIns="99568" bIns="91440" numCol="1" spcCol="1270" anchor="t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kern="1200" dirty="0" smtClean="0">
                <a:solidFill>
                  <a:schemeClr val="accent1"/>
                </a:solidFill>
              </a:rPr>
              <a:t>Platform</a:t>
            </a:r>
            <a:endParaRPr lang="en-US" sz="1400" b="1" kern="1200" dirty="0">
              <a:solidFill>
                <a:schemeClr val="accent1"/>
              </a:solidFill>
            </a:endParaRPr>
          </a:p>
        </p:txBody>
      </p:sp>
      <p:sp>
        <p:nvSpPr>
          <p:cNvPr id="31" name="Round Diagonal Corner Rectangle 30"/>
          <p:cNvSpPr/>
          <p:nvPr/>
        </p:nvSpPr>
        <p:spPr>
          <a:xfrm flipH="1">
            <a:off x="977903" y="4799306"/>
            <a:ext cx="1854324" cy="355072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/>
              <a:t>Hardware</a:t>
            </a:r>
            <a:endParaRPr lang="en-US" sz="1400" kern="1200" dirty="0"/>
          </a:p>
        </p:txBody>
      </p:sp>
      <p:sp>
        <p:nvSpPr>
          <p:cNvPr id="32" name="Round Diagonal Corner Rectangle 31"/>
          <p:cNvSpPr/>
          <p:nvPr/>
        </p:nvSpPr>
        <p:spPr>
          <a:xfrm flipH="1">
            <a:off x="2883274" y="4799306"/>
            <a:ext cx="1854324" cy="355072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/>
              <a:t>Firmware</a:t>
            </a:r>
            <a:endParaRPr lang="en-US" sz="1400" kern="1200" dirty="0"/>
          </a:p>
        </p:txBody>
      </p:sp>
      <p:sp>
        <p:nvSpPr>
          <p:cNvPr id="33" name="Round Diagonal Corner Rectangle 32"/>
          <p:cNvSpPr/>
          <p:nvPr/>
        </p:nvSpPr>
        <p:spPr>
          <a:xfrm flipH="1">
            <a:off x="921325" y="3301525"/>
            <a:ext cx="3879276" cy="782965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1440" rIns="99568" bIns="91440" numCol="1" spcCol="1270" anchor="t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kern="1200" dirty="0" smtClean="0">
                <a:solidFill>
                  <a:schemeClr val="accent1"/>
                </a:solidFill>
              </a:rPr>
              <a:t>Middleware</a:t>
            </a:r>
            <a:endParaRPr lang="en-US" sz="1400" b="1" kern="1200" dirty="0">
              <a:solidFill>
                <a:schemeClr val="accent1"/>
              </a:solidFill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 flipH="1">
            <a:off x="977903" y="3673223"/>
            <a:ext cx="1854324" cy="354966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/>
              <a:t>System software</a:t>
            </a:r>
            <a:endParaRPr lang="en-US" sz="1400" kern="1200" dirty="0"/>
          </a:p>
        </p:txBody>
      </p:sp>
      <p:sp>
        <p:nvSpPr>
          <p:cNvPr id="35" name="Round Diagonal Corner Rectangle 34"/>
          <p:cNvSpPr/>
          <p:nvPr/>
        </p:nvSpPr>
        <p:spPr>
          <a:xfrm flipH="1">
            <a:off x="2883274" y="3673223"/>
            <a:ext cx="1854324" cy="354966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/>
              <a:t>OS</a:t>
            </a:r>
            <a:endParaRPr lang="en-US" sz="1400" kern="1200" dirty="0"/>
          </a:p>
        </p:txBody>
      </p:sp>
      <p:sp>
        <p:nvSpPr>
          <p:cNvPr id="36" name="Round Diagonal Corner Rectangle 35"/>
          <p:cNvSpPr/>
          <p:nvPr/>
        </p:nvSpPr>
        <p:spPr>
          <a:xfrm flipH="1">
            <a:off x="921325" y="2162175"/>
            <a:ext cx="3879276" cy="782965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1440" rIns="99568" bIns="91440" numCol="1" spcCol="1270" anchor="t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kern="1200" dirty="0" smtClean="0">
                <a:solidFill>
                  <a:schemeClr val="accent1"/>
                </a:solidFill>
              </a:rPr>
              <a:t>Workload</a:t>
            </a:r>
            <a:endParaRPr lang="en-US" sz="1400" b="1" kern="1200" dirty="0">
              <a:solidFill>
                <a:schemeClr val="accent1"/>
              </a:solidFill>
            </a:endParaRPr>
          </a:p>
        </p:txBody>
      </p:sp>
      <p:sp>
        <p:nvSpPr>
          <p:cNvPr id="37" name="Round Diagonal Corner Rectangle 36"/>
          <p:cNvSpPr/>
          <p:nvPr/>
        </p:nvSpPr>
        <p:spPr>
          <a:xfrm flipH="1">
            <a:off x="977903" y="2533873"/>
            <a:ext cx="1854324" cy="354966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/>
              <a:t>Application</a:t>
            </a:r>
            <a:endParaRPr lang="en-US" sz="1400" kern="1200" dirty="0"/>
          </a:p>
        </p:txBody>
      </p:sp>
      <p:sp>
        <p:nvSpPr>
          <p:cNvPr id="38" name="Round Diagonal Corner Rectangle 37"/>
          <p:cNvSpPr/>
          <p:nvPr/>
        </p:nvSpPr>
        <p:spPr>
          <a:xfrm flipH="1">
            <a:off x="2883274" y="2533873"/>
            <a:ext cx="1854324" cy="354966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/>
              <a:t>Data</a:t>
            </a:r>
            <a:endParaRPr lang="en-US" sz="1400" kern="1200" dirty="0"/>
          </a:p>
        </p:txBody>
      </p:sp>
    </p:spTree>
    <p:extLst>
      <p:ext uri="{BB962C8B-B14F-4D97-AF65-F5344CB8AC3E}">
        <p14:creationId xmlns:p14="http://schemas.microsoft.com/office/powerpoint/2010/main" val="1553507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with built-in primitives...</a:t>
            </a:r>
            <a:endParaRPr lang="hi-IN" dirty="0"/>
          </a:p>
        </p:txBody>
      </p:sp>
      <p:sp>
        <p:nvSpPr>
          <p:cNvPr id="7" name="Round Diagonal Corner Rectangle 6"/>
          <p:cNvSpPr/>
          <p:nvPr/>
        </p:nvSpPr>
        <p:spPr>
          <a:xfrm flipH="1">
            <a:off x="7123110" y="2378556"/>
            <a:ext cx="3487739" cy="2628900"/>
          </a:xfrm>
          <a:prstGeom prst="round2DiagRect">
            <a:avLst>
              <a:gd name="adj1" fmla="val 9936"/>
              <a:gd name="adj2" fmla="val 0"/>
            </a:avLst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2400" b="1" dirty="0" smtClean="0"/>
              <a:t>Security Information and Event Management (SIEM), Proxy, ..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2743313" y="2906992"/>
            <a:ext cx="301080" cy="306817"/>
            <a:chOff x="8507565" y="3550873"/>
            <a:chExt cx="301080" cy="371330"/>
          </a:xfrm>
          <a:solidFill>
            <a:schemeClr val="bg2">
              <a:lumMod val="90000"/>
            </a:schemeClr>
          </a:solidFill>
        </p:grpSpPr>
        <p:sp>
          <p:nvSpPr>
            <p:cNvPr id="23" name="Round Diagonal Corner Rectangle 22"/>
            <p:cNvSpPr/>
            <p:nvPr/>
          </p:nvSpPr>
          <p:spPr>
            <a:xfrm rot="5400000">
              <a:off x="8546342" y="3589268"/>
              <a:ext cx="223525" cy="146735"/>
            </a:xfrm>
            <a:prstGeom prst="round2DiagRect">
              <a:avLst>
                <a:gd name="adj1" fmla="val 23013"/>
                <a:gd name="adj2" fmla="val 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24" name="Freeform 112"/>
            <p:cNvSpPr>
              <a:spLocks/>
            </p:cNvSpPr>
            <p:nvPr/>
          </p:nvSpPr>
          <p:spPr bwMode="auto">
            <a:xfrm rot="16200000">
              <a:off x="8530051" y="3643610"/>
              <a:ext cx="256107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743313" y="4064495"/>
            <a:ext cx="301080" cy="306817"/>
            <a:chOff x="8507565" y="3550873"/>
            <a:chExt cx="301080" cy="371330"/>
          </a:xfrm>
          <a:solidFill>
            <a:schemeClr val="bg2">
              <a:lumMod val="90000"/>
            </a:schemeClr>
          </a:solidFill>
        </p:grpSpPr>
        <p:sp>
          <p:nvSpPr>
            <p:cNvPr id="26" name="Round Diagonal Corner Rectangle 25"/>
            <p:cNvSpPr/>
            <p:nvPr/>
          </p:nvSpPr>
          <p:spPr>
            <a:xfrm rot="5400000">
              <a:off x="8546342" y="3589268"/>
              <a:ext cx="223525" cy="146735"/>
            </a:xfrm>
            <a:prstGeom prst="round2DiagRect">
              <a:avLst>
                <a:gd name="adj1" fmla="val 23013"/>
                <a:gd name="adj2" fmla="val 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27" name="Freeform 112"/>
            <p:cNvSpPr>
              <a:spLocks/>
            </p:cNvSpPr>
            <p:nvPr/>
          </p:nvSpPr>
          <p:spPr bwMode="auto">
            <a:xfrm rot="16200000">
              <a:off x="8530051" y="3643610"/>
              <a:ext cx="256107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  <p:sp>
        <p:nvSpPr>
          <p:cNvPr id="28" name="Round Diagonal Corner Rectangle 27"/>
          <p:cNvSpPr/>
          <p:nvPr/>
        </p:nvSpPr>
        <p:spPr>
          <a:xfrm flipH="1">
            <a:off x="921325" y="4442921"/>
            <a:ext cx="3879276" cy="782965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1440" rIns="99568" bIns="91440" numCol="1" spcCol="1270" anchor="t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kern="1200" dirty="0" smtClean="0">
                <a:solidFill>
                  <a:schemeClr val="accent1"/>
                </a:solidFill>
              </a:rPr>
              <a:t>Platform</a:t>
            </a:r>
            <a:endParaRPr lang="en-US" sz="1400" b="1" kern="1200" dirty="0">
              <a:solidFill>
                <a:schemeClr val="accent1"/>
              </a:solidFill>
            </a:endParaRPr>
          </a:p>
        </p:txBody>
      </p:sp>
      <p:sp>
        <p:nvSpPr>
          <p:cNvPr id="29" name="Round Diagonal Corner Rectangle 28"/>
          <p:cNvSpPr/>
          <p:nvPr/>
        </p:nvSpPr>
        <p:spPr>
          <a:xfrm flipH="1">
            <a:off x="977903" y="4799306"/>
            <a:ext cx="1854324" cy="355072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/>
              <a:t>Hardware</a:t>
            </a:r>
            <a:endParaRPr lang="en-US" sz="1400" kern="1200" dirty="0"/>
          </a:p>
        </p:txBody>
      </p:sp>
      <p:sp>
        <p:nvSpPr>
          <p:cNvPr id="30" name="Round Diagonal Corner Rectangle 29"/>
          <p:cNvSpPr/>
          <p:nvPr/>
        </p:nvSpPr>
        <p:spPr>
          <a:xfrm flipH="1">
            <a:off x="2883274" y="4799306"/>
            <a:ext cx="1854324" cy="355072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/>
              <a:t>Firmware</a:t>
            </a:r>
            <a:endParaRPr lang="en-US" sz="1400" kern="1200" dirty="0"/>
          </a:p>
        </p:txBody>
      </p:sp>
      <p:sp>
        <p:nvSpPr>
          <p:cNvPr id="31" name="Round Diagonal Corner Rectangle 30"/>
          <p:cNvSpPr/>
          <p:nvPr/>
        </p:nvSpPr>
        <p:spPr>
          <a:xfrm flipH="1">
            <a:off x="921325" y="3301525"/>
            <a:ext cx="3879276" cy="782965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1440" rIns="99568" bIns="91440" numCol="1" spcCol="1270" anchor="t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kern="1200" dirty="0" smtClean="0">
                <a:solidFill>
                  <a:schemeClr val="accent1"/>
                </a:solidFill>
              </a:rPr>
              <a:t>Middleware</a:t>
            </a:r>
            <a:endParaRPr lang="en-US" sz="1400" b="1" kern="1200" dirty="0">
              <a:solidFill>
                <a:schemeClr val="accent1"/>
              </a:solidFill>
            </a:endParaRPr>
          </a:p>
        </p:txBody>
      </p:sp>
      <p:sp>
        <p:nvSpPr>
          <p:cNvPr id="32" name="Round Diagonal Corner Rectangle 31"/>
          <p:cNvSpPr/>
          <p:nvPr/>
        </p:nvSpPr>
        <p:spPr>
          <a:xfrm flipH="1">
            <a:off x="977903" y="3673223"/>
            <a:ext cx="1854324" cy="354966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/>
              <a:t>System software</a:t>
            </a:r>
            <a:endParaRPr lang="en-US" sz="1400" kern="1200" dirty="0"/>
          </a:p>
        </p:txBody>
      </p:sp>
      <p:sp>
        <p:nvSpPr>
          <p:cNvPr id="33" name="Round Diagonal Corner Rectangle 32"/>
          <p:cNvSpPr/>
          <p:nvPr/>
        </p:nvSpPr>
        <p:spPr>
          <a:xfrm flipH="1">
            <a:off x="2883274" y="3673223"/>
            <a:ext cx="1854324" cy="354966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/>
              <a:t>OS</a:t>
            </a:r>
            <a:endParaRPr lang="en-US" sz="1400" kern="1200" dirty="0"/>
          </a:p>
        </p:txBody>
      </p:sp>
      <p:sp>
        <p:nvSpPr>
          <p:cNvPr id="34" name="Round Diagonal Corner Rectangle 33"/>
          <p:cNvSpPr/>
          <p:nvPr/>
        </p:nvSpPr>
        <p:spPr>
          <a:xfrm flipH="1">
            <a:off x="921325" y="2162175"/>
            <a:ext cx="3879276" cy="782965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1440" rIns="99568" bIns="91440" numCol="1" spcCol="1270" anchor="t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kern="1200" dirty="0" smtClean="0">
                <a:solidFill>
                  <a:schemeClr val="accent1"/>
                </a:solidFill>
              </a:rPr>
              <a:t>Workload</a:t>
            </a:r>
            <a:endParaRPr lang="en-US" sz="1400" b="1" kern="1200" dirty="0">
              <a:solidFill>
                <a:schemeClr val="accent1"/>
              </a:solidFill>
            </a:endParaRPr>
          </a:p>
        </p:txBody>
      </p:sp>
      <p:sp>
        <p:nvSpPr>
          <p:cNvPr id="35" name="Round Diagonal Corner Rectangle 34"/>
          <p:cNvSpPr/>
          <p:nvPr/>
        </p:nvSpPr>
        <p:spPr>
          <a:xfrm flipH="1">
            <a:off x="977903" y="2533873"/>
            <a:ext cx="1854324" cy="354966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/>
              <a:t>Application</a:t>
            </a:r>
            <a:endParaRPr lang="en-US" sz="1400" kern="1200" dirty="0"/>
          </a:p>
        </p:txBody>
      </p:sp>
      <p:sp>
        <p:nvSpPr>
          <p:cNvPr id="36" name="Round Diagonal Corner Rectangle 35"/>
          <p:cNvSpPr/>
          <p:nvPr/>
        </p:nvSpPr>
        <p:spPr>
          <a:xfrm flipH="1">
            <a:off x="2883274" y="2533873"/>
            <a:ext cx="1854324" cy="354966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/>
              <a:t>Data</a:t>
            </a:r>
            <a:endParaRPr lang="en-US" sz="1400" kern="1200" dirty="0"/>
          </a:p>
        </p:txBody>
      </p:sp>
      <p:grpSp>
        <p:nvGrpSpPr>
          <p:cNvPr id="5" name="Group 4"/>
          <p:cNvGrpSpPr/>
          <p:nvPr/>
        </p:nvGrpSpPr>
        <p:grpSpPr>
          <a:xfrm>
            <a:off x="5293666" y="3484387"/>
            <a:ext cx="1336379" cy="417240"/>
            <a:chOff x="5782328" y="2891709"/>
            <a:chExt cx="964333" cy="301081"/>
          </a:xfrm>
        </p:grpSpPr>
        <p:sp>
          <p:nvSpPr>
            <p:cNvPr id="40" name="Round Diagonal Corner Rectangle 39"/>
            <p:cNvSpPr/>
            <p:nvPr/>
          </p:nvSpPr>
          <p:spPr>
            <a:xfrm>
              <a:off x="5861230" y="2968882"/>
              <a:ext cx="782856" cy="146735"/>
            </a:xfrm>
            <a:prstGeom prst="round2DiagRect">
              <a:avLst>
                <a:gd name="adj1" fmla="val 23013"/>
                <a:gd name="adj2" fmla="val 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41" name="Freeform 112"/>
            <p:cNvSpPr>
              <a:spLocks/>
            </p:cNvSpPr>
            <p:nvPr/>
          </p:nvSpPr>
          <p:spPr bwMode="auto">
            <a:xfrm rot="10800000">
              <a:off x="6523793" y="2891709"/>
              <a:ext cx="222868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  <p:sp>
          <p:nvSpPr>
            <p:cNvPr id="42" name="Freeform 112"/>
            <p:cNvSpPr>
              <a:spLocks/>
            </p:cNvSpPr>
            <p:nvPr/>
          </p:nvSpPr>
          <p:spPr bwMode="auto">
            <a:xfrm>
              <a:off x="5782328" y="2891710"/>
              <a:ext cx="222868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3563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and the following goals.</a:t>
            </a:r>
            <a:endParaRPr lang="hi-IN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 rot="10800000">
            <a:off x="985181" y="2447926"/>
            <a:ext cx="2443773" cy="2181224"/>
          </a:xfrm>
          <a:prstGeom prst="round1Rect">
            <a:avLst/>
          </a:prstGeom>
          <a:solidFill>
            <a:schemeClr val="accent1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endParaRPr lang="en-US" sz="2000" b="1" dirty="0" smtClean="0">
              <a:solidFill>
                <a:schemeClr val="bg1"/>
              </a:solidFill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 flipH="1">
            <a:off x="3514072" y="2447926"/>
            <a:ext cx="2526084" cy="2181224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2000" b="1" dirty="0" smtClean="0">
                <a:solidFill>
                  <a:schemeClr val="bg1"/>
                </a:solidFill>
              </a:rPr>
              <a:t>Resilient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 flipH="1">
            <a:off x="6125272" y="2447927"/>
            <a:ext cx="2526084" cy="2181224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2000" b="1" dirty="0" smtClean="0">
                <a:solidFill>
                  <a:schemeClr val="bg1"/>
                </a:solidFill>
              </a:rPr>
              <a:t>Scalable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8736472" y="2447927"/>
            <a:ext cx="2469874" cy="2181224"/>
          </a:xfrm>
          <a:prstGeom prst="round1Rect">
            <a:avLst/>
          </a:prstGeom>
          <a:solidFill>
            <a:schemeClr val="accent1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2000" b="1" dirty="0" smtClean="0">
                <a:solidFill>
                  <a:schemeClr val="bg1"/>
                </a:solidFill>
              </a:rPr>
              <a:t>Manageable</a:t>
            </a:r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622103" y="2721443"/>
            <a:ext cx="1034478" cy="1218385"/>
            <a:chOff x="811" y="1729"/>
            <a:chExt cx="180" cy="212"/>
          </a:xfrm>
          <a:solidFill>
            <a:schemeClr val="bg1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894" y="1791"/>
              <a:ext cx="10" cy="4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Rectangle 6"/>
            <p:cNvSpPr>
              <a:spLocks noChangeArrowheads="1"/>
            </p:cNvSpPr>
            <p:nvPr/>
          </p:nvSpPr>
          <p:spPr bwMode="auto">
            <a:xfrm>
              <a:off x="923" y="1848"/>
              <a:ext cx="29" cy="1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888" y="1841"/>
              <a:ext cx="22" cy="22"/>
            </a:xfrm>
            <a:custGeom>
              <a:avLst/>
              <a:gdLst>
                <a:gd name="T0" fmla="*/ 43 w 43"/>
                <a:gd name="T1" fmla="*/ 21 h 43"/>
                <a:gd name="T2" fmla="*/ 43 w 43"/>
                <a:gd name="T3" fmla="*/ 21 h 43"/>
                <a:gd name="T4" fmla="*/ 43 w 43"/>
                <a:gd name="T5" fmla="*/ 26 h 43"/>
                <a:gd name="T6" fmla="*/ 42 w 43"/>
                <a:gd name="T7" fmla="*/ 30 h 43"/>
                <a:gd name="T8" fmla="*/ 40 w 43"/>
                <a:gd name="T9" fmla="*/ 33 h 43"/>
                <a:gd name="T10" fmla="*/ 37 w 43"/>
                <a:gd name="T11" fmla="*/ 37 h 43"/>
                <a:gd name="T12" fmla="*/ 34 w 43"/>
                <a:gd name="T13" fmla="*/ 40 h 43"/>
                <a:gd name="T14" fmla="*/ 30 w 43"/>
                <a:gd name="T15" fmla="*/ 42 h 43"/>
                <a:gd name="T16" fmla="*/ 26 w 43"/>
                <a:gd name="T17" fmla="*/ 43 h 43"/>
                <a:gd name="T18" fmla="*/ 22 w 43"/>
                <a:gd name="T19" fmla="*/ 43 h 43"/>
                <a:gd name="T20" fmla="*/ 22 w 43"/>
                <a:gd name="T21" fmla="*/ 43 h 43"/>
                <a:gd name="T22" fmla="*/ 17 w 43"/>
                <a:gd name="T23" fmla="*/ 43 h 43"/>
                <a:gd name="T24" fmla="*/ 13 w 43"/>
                <a:gd name="T25" fmla="*/ 42 h 43"/>
                <a:gd name="T26" fmla="*/ 10 w 43"/>
                <a:gd name="T27" fmla="*/ 40 h 43"/>
                <a:gd name="T28" fmla="*/ 7 w 43"/>
                <a:gd name="T29" fmla="*/ 37 h 43"/>
                <a:gd name="T30" fmla="*/ 3 w 43"/>
                <a:gd name="T31" fmla="*/ 33 h 43"/>
                <a:gd name="T32" fmla="*/ 1 w 43"/>
                <a:gd name="T33" fmla="*/ 30 h 43"/>
                <a:gd name="T34" fmla="*/ 0 w 43"/>
                <a:gd name="T35" fmla="*/ 26 h 43"/>
                <a:gd name="T36" fmla="*/ 0 w 43"/>
                <a:gd name="T37" fmla="*/ 21 h 43"/>
                <a:gd name="T38" fmla="*/ 0 w 43"/>
                <a:gd name="T39" fmla="*/ 21 h 43"/>
                <a:gd name="T40" fmla="*/ 0 w 43"/>
                <a:gd name="T41" fmla="*/ 17 h 43"/>
                <a:gd name="T42" fmla="*/ 1 w 43"/>
                <a:gd name="T43" fmla="*/ 13 h 43"/>
                <a:gd name="T44" fmla="*/ 3 w 43"/>
                <a:gd name="T45" fmla="*/ 10 h 43"/>
                <a:gd name="T46" fmla="*/ 7 w 43"/>
                <a:gd name="T47" fmla="*/ 6 h 43"/>
                <a:gd name="T48" fmla="*/ 10 w 43"/>
                <a:gd name="T49" fmla="*/ 3 h 43"/>
                <a:gd name="T50" fmla="*/ 13 w 43"/>
                <a:gd name="T51" fmla="*/ 1 h 43"/>
                <a:gd name="T52" fmla="*/ 17 w 43"/>
                <a:gd name="T53" fmla="*/ 0 h 43"/>
                <a:gd name="T54" fmla="*/ 22 w 43"/>
                <a:gd name="T55" fmla="*/ 0 h 43"/>
                <a:gd name="T56" fmla="*/ 22 w 43"/>
                <a:gd name="T57" fmla="*/ 0 h 43"/>
                <a:gd name="T58" fmla="*/ 26 w 43"/>
                <a:gd name="T59" fmla="*/ 0 h 43"/>
                <a:gd name="T60" fmla="*/ 30 w 43"/>
                <a:gd name="T61" fmla="*/ 1 h 43"/>
                <a:gd name="T62" fmla="*/ 34 w 43"/>
                <a:gd name="T63" fmla="*/ 3 h 43"/>
                <a:gd name="T64" fmla="*/ 37 w 43"/>
                <a:gd name="T65" fmla="*/ 6 h 43"/>
                <a:gd name="T66" fmla="*/ 40 w 43"/>
                <a:gd name="T67" fmla="*/ 10 h 43"/>
                <a:gd name="T68" fmla="*/ 42 w 43"/>
                <a:gd name="T69" fmla="*/ 13 h 43"/>
                <a:gd name="T70" fmla="*/ 43 w 43"/>
                <a:gd name="T71" fmla="*/ 17 h 43"/>
                <a:gd name="T72" fmla="*/ 43 w 43"/>
                <a:gd name="T73" fmla="*/ 21 h 43"/>
                <a:gd name="T74" fmla="*/ 43 w 43"/>
                <a:gd name="T75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3" h="43">
                  <a:moveTo>
                    <a:pt x="43" y="21"/>
                  </a:moveTo>
                  <a:lnTo>
                    <a:pt x="43" y="21"/>
                  </a:lnTo>
                  <a:lnTo>
                    <a:pt x="43" y="26"/>
                  </a:lnTo>
                  <a:lnTo>
                    <a:pt x="42" y="30"/>
                  </a:lnTo>
                  <a:lnTo>
                    <a:pt x="40" y="33"/>
                  </a:lnTo>
                  <a:lnTo>
                    <a:pt x="37" y="37"/>
                  </a:lnTo>
                  <a:lnTo>
                    <a:pt x="34" y="40"/>
                  </a:lnTo>
                  <a:lnTo>
                    <a:pt x="30" y="42"/>
                  </a:lnTo>
                  <a:lnTo>
                    <a:pt x="26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17" y="43"/>
                  </a:lnTo>
                  <a:lnTo>
                    <a:pt x="13" y="42"/>
                  </a:lnTo>
                  <a:lnTo>
                    <a:pt x="10" y="40"/>
                  </a:lnTo>
                  <a:lnTo>
                    <a:pt x="7" y="37"/>
                  </a:lnTo>
                  <a:lnTo>
                    <a:pt x="3" y="33"/>
                  </a:lnTo>
                  <a:lnTo>
                    <a:pt x="1" y="30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7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7" y="6"/>
                  </a:lnTo>
                  <a:lnTo>
                    <a:pt x="10" y="3"/>
                  </a:lnTo>
                  <a:lnTo>
                    <a:pt x="13" y="1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0" y="1"/>
                  </a:lnTo>
                  <a:lnTo>
                    <a:pt x="34" y="3"/>
                  </a:lnTo>
                  <a:lnTo>
                    <a:pt x="37" y="6"/>
                  </a:lnTo>
                  <a:lnTo>
                    <a:pt x="40" y="10"/>
                  </a:lnTo>
                  <a:lnTo>
                    <a:pt x="42" y="13"/>
                  </a:lnTo>
                  <a:lnTo>
                    <a:pt x="43" y="17"/>
                  </a:lnTo>
                  <a:lnTo>
                    <a:pt x="43" y="21"/>
                  </a:lnTo>
                  <a:lnTo>
                    <a:pt x="4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811" y="1729"/>
              <a:ext cx="180" cy="212"/>
            </a:xfrm>
            <a:custGeom>
              <a:avLst/>
              <a:gdLst>
                <a:gd name="T0" fmla="*/ 360 w 360"/>
                <a:gd name="T1" fmla="*/ 94 h 422"/>
                <a:gd name="T2" fmla="*/ 317 w 360"/>
                <a:gd name="T3" fmla="*/ 90 h 422"/>
                <a:gd name="T4" fmla="*/ 281 w 360"/>
                <a:gd name="T5" fmla="*/ 106 h 422"/>
                <a:gd name="T6" fmla="*/ 247 w 360"/>
                <a:gd name="T7" fmla="*/ 86 h 422"/>
                <a:gd name="T8" fmla="*/ 208 w 360"/>
                <a:gd name="T9" fmla="*/ 74 h 422"/>
                <a:gd name="T10" fmla="*/ 223 w 360"/>
                <a:gd name="T11" fmla="*/ 47 h 422"/>
                <a:gd name="T12" fmla="*/ 222 w 360"/>
                <a:gd name="T13" fmla="*/ 19 h 422"/>
                <a:gd name="T14" fmla="*/ 214 w 360"/>
                <a:gd name="T15" fmla="*/ 6 h 422"/>
                <a:gd name="T16" fmla="*/ 200 w 360"/>
                <a:gd name="T17" fmla="*/ 0 h 422"/>
                <a:gd name="T18" fmla="*/ 128 w 360"/>
                <a:gd name="T19" fmla="*/ 23 h 422"/>
                <a:gd name="T20" fmla="*/ 131 w 360"/>
                <a:gd name="T21" fmla="*/ 33 h 422"/>
                <a:gd name="T22" fmla="*/ 141 w 360"/>
                <a:gd name="T23" fmla="*/ 43 h 422"/>
                <a:gd name="T24" fmla="*/ 156 w 360"/>
                <a:gd name="T25" fmla="*/ 47 h 422"/>
                <a:gd name="T26" fmla="*/ 140 w 360"/>
                <a:gd name="T27" fmla="*/ 75 h 422"/>
                <a:gd name="T28" fmla="*/ 95 w 360"/>
                <a:gd name="T29" fmla="*/ 90 h 422"/>
                <a:gd name="T30" fmla="*/ 56 w 360"/>
                <a:gd name="T31" fmla="*/ 118 h 422"/>
                <a:gd name="T32" fmla="*/ 27 w 360"/>
                <a:gd name="T33" fmla="*/ 154 h 422"/>
                <a:gd name="T34" fmla="*/ 7 w 360"/>
                <a:gd name="T35" fmla="*/ 198 h 422"/>
                <a:gd name="T36" fmla="*/ 0 w 360"/>
                <a:gd name="T37" fmla="*/ 247 h 422"/>
                <a:gd name="T38" fmla="*/ 4 w 360"/>
                <a:gd name="T39" fmla="*/ 282 h 422"/>
                <a:gd name="T40" fmla="*/ 22 w 360"/>
                <a:gd name="T41" fmla="*/ 331 h 422"/>
                <a:gd name="T42" fmla="*/ 52 w 360"/>
                <a:gd name="T43" fmla="*/ 371 h 422"/>
                <a:gd name="T44" fmla="*/ 92 w 360"/>
                <a:gd name="T45" fmla="*/ 401 h 422"/>
                <a:gd name="T46" fmla="*/ 140 w 360"/>
                <a:gd name="T47" fmla="*/ 419 h 422"/>
                <a:gd name="T48" fmla="*/ 176 w 360"/>
                <a:gd name="T49" fmla="*/ 422 h 422"/>
                <a:gd name="T50" fmla="*/ 227 w 360"/>
                <a:gd name="T51" fmla="*/ 415 h 422"/>
                <a:gd name="T52" fmla="*/ 274 w 360"/>
                <a:gd name="T53" fmla="*/ 392 h 422"/>
                <a:gd name="T54" fmla="*/ 311 w 360"/>
                <a:gd name="T55" fmla="*/ 359 h 422"/>
                <a:gd name="T56" fmla="*/ 337 w 360"/>
                <a:gd name="T57" fmla="*/ 314 h 422"/>
                <a:gd name="T58" fmla="*/ 350 w 360"/>
                <a:gd name="T59" fmla="*/ 265 h 422"/>
                <a:gd name="T60" fmla="*/ 350 w 360"/>
                <a:gd name="T61" fmla="*/ 229 h 422"/>
                <a:gd name="T62" fmla="*/ 338 w 360"/>
                <a:gd name="T63" fmla="*/ 182 h 422"/>
                <a:gd name="T64" fmla="*/ 315 w 360"/>
                <a:gd name="T65" fmla="*/ 141 h 422"/>
                <a:gd name="T66" fmla="*/ 176 w 360"/>
                <a:gd name="T67" fmla="*/ 393 h 422"/>
                <a:gd name="T68" fmla="*/ 147 w 360"/>
                <a:gd name="T69" fmla="*/ 390 h 422"/>
                <a:gd name="T70" fmla="*/ 106 w 360"/>
                <a:gd name="T71" fmla="*/ 375 h 422"/>
                <a:gd name="T72" fmla="*/ 73 w 360"/>
                <a:gd name="T73" fmla="*/ 350 h 422"/>
                <a:gd name="T74" fmla="*/ 48 w 360"/>
                <a:gd name="T75" fmla="*/ 317 h 422"/>
                <a:gd name="T76" fmla="*/ 33 w 360"/>
                <a:gd name="T77" fmla="*/ 276 h 422"/>
                <a:gd name="T78" fmla="*/ 30 w 360"/>
                <a:gd name="T79" fmla="*/ 247 h 422"/>
                <a:gd name="T80" fmla="*/ 36 w 360"/>
                <a:gd name="T81" fmla="*/ 203 h 422"/>
                <a:gd name="T82" fmla="*/ 54 w 360"/>
                <a:gd name="T83" fmla="*/ 165 h 422"/>
                <a:gd name="T84" fmla="*/ 83 w 360"/>
                <a:gd name="T85" fmla="*/ 133 h 422"/>
                <a:gd name="T86" fmla="*/ 119 w 360"/>
                <a:gd name="T87" fmla="*/ 112 h 422"/>
                <a:gd name="T88" fmla="*/ 161 w 360"/>
                <a:gd name="T89" fmla="*/ 101 h 422"/>
                <a:gd name="T90" fmla="*/ 191 w 360"/>
                <a:gd name="T91" fmla="*/ 101 h 422"/>
                <a:gd name="T92" fmla="*/ 233 w 360"/>
                <a:gd name="T93" fmla="*/ 112 h 422"/>
                <a:gd name="T94" fmla="*/ 268 w 360"/>
                <a:gd name="T95" fmla="*/ 133 h 422"/>
                <a:gd name="T96" fmla="*/ 296 w 360"/>
                <a:gd name="T97" fmla="*/ 165 h 422"/>
                <a:gd name="T98" fmla="*/ 315 w 360"/>
                <a:gd name="T99" fmla="*/ 203 h 422"/>
                <a:gd name="T100" fmla="*/ 322 w 360"/>
                <a:gd name="T101" fmla="*/ 247 h 422"/>
                <a:gd name="T102" fmla="*/ 319 w 360"/>
                <a:gd name="T103" fmla="*/ 276 h 422"/>
                <a:gd name="T104" fmla="*/ 304 w 360"/>
                <a:gd name="T105" fmla="*/ 317 h 422"/>
                <a:gd name="T106" fmla="*/ 279 w 360"/>
                <a:gd name="T107" fmla="*/ 350 h 422"/>
                <a:gd name="T108" fmla="*/ 246 w 360"/>
                <a:gd name="T109" fmla="*/ 375 h 422"/>
                <a:gd name="T110" fmla="*/ 205 w 360"/>
                <a:gd name="T111" fmla="*/ 390 h 422"/>
                <a:gd name="T112" fmla="*/ 176 w 360"/>
                <a:gd name="T113" fmla="*/ 393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60" h="422">
                  <a:moveTo>
                    <a:pt x="329" y="103"/>
                  </a:moveTo>
                  <a:lnTo>
                    <a:pt x="339" y="113"/>
                  </a:lnTo>
                  <a:lnTo>
                    <a:pt x="360" y="94"/>
                  </a:lnTo>
                  <a:lnTo>
                    <a:pt x="326" y="60"/>
                  </a:lnTo>
                  <a:lnTo>
                    <a:pt x="306" y="79"/>
                  </a:lnTo>
                  <a:lnTo>
                    <a:pt x="317" y="90"/>
                  </a:lnTo>
                  <a:lnTo>
                    <a:pt x="292" y="115"/>
                  </a:lnTo>
                  <a:lnTo>
                    <a:pt x="292" y="115"/>
                  </a:lnTo>
                  <a:lnTo>
                    <a:pt x="281" y="106"/>
                  </a:lnTo>
                  <a:lnTo>
                    <a:pt x="270" y="99"/>
                  </a:lnTo>
                  <a:lnTo>
                    <a:pt x="258" y="92"/>
                  </a:lnTo>
                  <a:lnTo>
                    <a:pt x="247" y="86"/>
                  </a:lnTo>
                  <a:lnTo>
                    <a:pt x="235" y="82"/>
                  </a:lnTo>
                  <a:lnTo>
                    <a:pt x="222" y="77"/>
                  </a:lnTo>
                  <a:lnTo>
                    <a:pt x="208" y="74"/>
                  </a:lnTo>
                  <a:lnTo>
                    <a:pt x="195" y="72"/>
                  </a:lnTo>
                  <a:lnTo>
                    <a:pt x="195" y="47"/>
                  </a:lnTo>
                  <a:lnTo>
                    <a:pt x="223" y="47"/>
                  </a:lnTo>
                  <a:lnTo>
                    <a:pt x="223" y="23"/>
                  </a:lnTo>
                  <a:lnTo>
                    <a:pt x="223" y="23"/>
                  </a:lnTo>
                  <a:lnTo>
                    <a:pt x="222" y="19"/>
                  </a:lnTo>
                  <a:lnTo>
                    <a:pt x="221" y="14"/>
                  </a:lnTo>
                  <a:lnTo>
                    <a:pt x="218" y="11"/>
                  </a:lnTo>
                  <a:lnTo>
                    <a:pt x="214" y="6"/>
                  </a:lnTo>
                  <a:lnTo>
                    <a:pt x="210" y="4"/>
                  </a:lnTo>
                  <a:lnTo>
                    <a:pt x="206" y="2"/>
                  </a:lnTo>
                  <a:lnTo>
                    <a:pt x="200" y="0"/>
                  </a:lnTo>
                  <a:lnTo>
                    <a:pt x="195" y="0"/>
                  </a:lnTo>
                  <a:lnTo>
                    <a:pt x="128" y="0"/>
                  </a:lnTo>
                  <a:lnTo>
                    <a:pt x="128" y="23"/>
                  </a:lnTo>
                  <a:lnTo>
                    <a:pt x="128" y="23"/>
                  </a:lnTo>
                  <a:lnTo>
                    <a:pt x="128" y="28"/>
                  </a:lnTo>
                  <a:lnTo>
                    <a:pt x="131" y="33"/>
                  </a:lnTo>
                  <a:lnTo>
                    <a:pt x="133" y="36"/>
                  </a:lnTo>
                  <a:lnTo>
                    <a:pt x="137" y="41"/>
                  </a:lnTo>
                  <a:lnTo>
                    <a:pt x="141" y="43"/>
                  </a:lnTo>
                  <a:lnTo>
                    <a:pt x="146" y="45"/>
                  </a:lnTo>
                  <a:lnTo>
                    <a:pt x="151" y="47"/>
                  </a:lnTo>
                  <a:lnTo>
                    <a:pt x="156" y="47"/>
                  </a:lnTo>
                  <a:lnTo>
                    <a:pt x="156" y="72"/>
                  </a:lnTo>
                  <a:lnTo>
                    <a:pt x="156" y="72"/>
                  </a:lnTo>
                  <a:lnTo>
                    <a:pt x="140" y="75"/>
                  </a:lnTo>
                  <a:lnTo>
                    <a:pt x="125" y="78"/>
                  </a:lnTo>
                  <a:lnTo>
                    <a:pt x="110" y="84"/>
                  </a:lnTo>
                  <a:lnTo>
                    <a:pt x="95" y="90"/>
                  </a:lnTo>
                  <a:lnTo>
                    <a:pt x="81" y="99"/>
                  </a:lnTo>
                  <a:lnTo>
                    <a:pt x="69" y="108"/>
                  </a:lnTo>
                  <a:lnTo>
                    <a:pt x="56" y="118"/>
                  </a:lnTo>
                  <a:lnTo>
                    <a:pt x="46" y="129"/>
                  </a:lnTo>
                  <a:lnTo>
                    <a:pt x="36" y="141"/>
                  </a:lnTo>
                  <a:lnTo>
                    <a:pt x="27" y="154"/>
                  </a:lnTo>
                  <a:lnTo>
                    <a:pt x="19" y="168"/>
                  </a:lnTo>
                  <a:lnTo>
                    <a:pt x="12" y="183"/>
                  </a:lnTo>
                  <a:lnTo>
                    <a:pt x="7" y="198"/>
                  </a:lnTo>
                  <a:lnTo>
                    <a:pt x="4" y="213"/>
                  </a:lnTo>
                  <a:lnTo>
                    <a:pt x="2" y="230"/>
                  </a:lnTo>
                  <a:lnTo>
                    <a:pt x="0" y="247"/>
                  </a:lnTo>
                  <a:lnTo>
                    <a:pt x="0" y="247"/>
                  </a:lnTo>
                  <a:lnTo>
                    <a:pt x="2" y="265"/>
                  </a:lnTo>
                  <a:lnTo>
                    <a:pt x="4" y="282"/>
                  </a:lnTo>
                  <a:lnTo>
                    <a:pt x="8" y="298"/>
                  </a:lnTo>
                  <a:lnTo>
                    <a:pt x="14" y="314"/>
                  </a:lnTo>
                  <a:lnTo>
                    <a:pt x="22" y="331"/>
                  </a:lnTo>
                  <a:lnTo>
                    <a:pt x="31" y="345"/>
                  </a:lnTo>
                  <a:lnTo>
                    <a:pt x="40" y="359"/>
                  </a:lnTo>
                  <a:lnTo>
                    <a:pt x="52" y="371"/>
                  </a:lnTo>
                  <a:lnTo>
                    <a:pt x="64" y="382"/>
                  </a:lnTo>
                  <a:lnTo>
                    <a:pt x="78" y="392"/>
                  </a:lnTo>
                  <a:lnTo>
                    <a:pt x="92" y="401"/>
                  </a:lnTo>
                  <a:lnTo>
                    <a:pt x="108" y="408"/>
                  </a:lnTo>
                  <a:lnTo>
                    <a:pt x="124" y="415"/>
                  </a:lnTo>
                  <a:lnTo>
                    <a:pt x="140" y="419"/>
                  </a:lnTo>
                  <a:lnTo>
                    <a:pt x="157" y="421"/>
                  </a:lnTo>
                  <a:lnTo>
                    <a:pt x="176" y="422"/>
                  </a:lnTo>
                  <a:lnTo>
                    <a:pt x="176" y="422"/>
                  </a:lnTo>
                  <a:lnTo>
                    <a:pt x="194" y="421"/>
                  </a:lnTo>
                  <a:lnTo>
                    <a:pt x="211" y="419"/>
                  </a:lnTo>
                  <a:lnTo>
                    <a:pt x="227" y="415"/>
                  </a:lnTo>
                  <a:lnTo>
                    <a:pt x="243" y="408"/>
                  </a:lnTo>
                  <a:lnTo>
                    <a:pt x="258" y="401"/>
                  </a:lnTo>
                  <a:lnTo>
                    <a:pt x="274" y="392"/>
                  </a:lnTo>
                  <a:lnTo>
                    <a:pt x="286" y="382"/>
                  </a:lnTo>
                  <a:lnTo>
                    <a:pt x="299" y="371"/>
                  </a:lnTo>
                  <a:lnTo>
                    <a:pt x="311" y="359"/>
                  </a:lnTo>
                  <a:lnTo>
                    <a:pt x="321" y="345"/>
                  </a:lnTo>
                  <a:lnTo>
                    <a:pt x="329" y="331"/>
                  </a:lnTo>
                  <a:lnTo>
                    <a:pt x="337" y="314"/>
                  </a:lnTo>
                  <a:lnTo>
                    <a:pt x="342" y="298"/>
                  </a:lnTo>
                  <a:lnTo>
                    <a:pt x="347" y="282"/>
                  </a:lnTo>
                  <a:lnTo>
                    <a:pt x="350" y="265"/>
                  </a:lnTo>
                  <a:lnTo>
                    <a:pt x="351" y="247"/>
                  </a:lnTo>
                  <a:lnTo>
                    <a:pt x="351" y="247"/>
                  </a:lnTo>
                  <a:lnTo>
                    <a:pt x="350" y="229"/>
                  </a:lnTo>
                  <a:lnTo>
                    <a:pt x="348" y="213"/>
                  </a:lnTo>
                  <a:lnTo>
                    <a:pt x="343" y="198"/>
                  </a:lnTo>
                  <a:lnTo>
                    <a:pt x="338" y="182"/>
                  </a:lnTo>
                  <a:lnTo>
                    <a:pt x="332" y="168"/>
                  </a:lnTo>
                  <a:lnTo>
                    <a:pt x="324" y="154"/>
                  </a:lnTo>
                  <a:lnTo>
                    <a:pt x="315" y="141"/>
                  </a:lnTo>
                  <a:lnTo>
                    <a:pt x="305" y="128"/>
                  </a:lnTo>
                  <a:lnTo>
                    <a:pt x="329" y="103"/>
                  </a:lnTo>
                  <a:close/>
                  <a:moveTo>
                    <a:pt x="176" y="393"/>
                  </a:moveTo>
                  <a:lnTo>
                    <a:pt x="176" y="393"/>
                  </a:lnTo>
                  <a:lnTo>
                    <a:pt x="161" y="392"/>
                  </a:lnTo>
                  <a:lnTo>
                    <a:pt x="147" y="390"/>
                  </a:lnTo>
                  <a:lnTo>
                    <a:pt x="133" y="387"/>
                  </a:lnTo>
                  <a:lnTo>
                    <a:pt x="119" y="381"/>
                  </a:lnTo>
                  <a:lnTo>
                    <a:pt x="106" y="375"/>
                  </a:lnTo>
                  <a:lnTo>
                    <a:pt x="94" y="368"/>
                  </a:lnTo>
                  <a:lnTo>
                    <a:pt x="83" y="360"/>
                  </a:lnTo>
                  <a:lnTo>
                    <a:pt x="73" y="350"/>
                  </a:lnTo>
                  <a:lnTo>
                    <a:pt x="63" y="339"/>
                  </a:lnTo>
                  <a:lnTo>
                    <a:pt x="54" y="328"/>
                  </a:lnTo>
                  <a:lnTo>
                    <a:pt x="48" y="317"/>
                  </a:lnTo>
                  <a:lnTo>
                    <a:pt x="41" y="304"/>
                  </a:lnTo>
                  <a:lnTo>
                    <a:pt x="36" y="290"/>
                  </a:lnTo>
                  <a:lnTo>
                    <a:pt x="33" y="276"/>
                  </a:lnTo>
                  <a:lnTo>
                    <a:pt x="31" y="262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1" y="231"/>
                  </a:lnTo>
                  <a:lnTo>
                    <a:pt x="33" y="217"/>
                  </a:lnTo>
                  <a:lnTo>
                    <a:pt x="36" y="203"/>
                  </a:lnTo>
                  <a:lnTo>
                    <a:pt x="41" y="189"/>
                  </a:lnTo>
                  <a:lnTo>
                    <a:pt x="48" y="177"/>
                  </a:lnTo>
                  <a:lnTo>
                    <a:pt x="54" y="165"/>
                  </a:lnTo>
                  <a:lnTo>
                    <a:pt x="63" y="154"/>
                  </a:lnTo>
                  <a:lnTo>
                    <a:pt x="73" y="143"/>
                  </a:lnTo>
                  <a:lnTo>
                    <a:pt x="83" y="133"/>
                  </a:lnTo>
                  <a:lnTo>
                    <a:pt x="94" y="126"/>
                  </a:lnTo>
                  <a:lnTo>
                    <a:pt x="106" y="118"/>
                  </a:lnTo>
                  <a:lnTo>
                    <a:pt x="119" y="112"/>
                  </a:lnTo>
                  <a:lnTo>
                    <a:pt x="133" y="108"/>
                  </a:lnTo>
                  <a:lnTo>
                    <a:pt x="147" y="103"/>
                  </a:lnTo>
                  <a:lnTo>
                    <a:pt x="161" y="101"/>
                  </a:lnTo>
                  <a:lnTo>
                    <a:pt x="176" y="100"/>
                  </a:lnTo>
                  <a:lnTo>
                    <a:pt x="176" y="100"/>
                  </a:lnTo>
                  <a:lnTo>
                    <a:pt x="191" y="101"/>
                  </a:lnTo>
                  <a:lnTo>
                    <a:pt x="205" y="103"/>
                  </a:lnTo>
                  <a:lnTo>
                    <a:pt x="219" y="108"/>
                  </a:lnTo>
                  <a:lnTo>
                    <a:pt x="233" y="112"/>
                  </a:lnTo>
                  <a:lnTo>
                    <a:pt x="246" y="118"/>
                  </a:lnTo>
                  <a:lnTo>
                    <a:pt x="257" y="126"/>
                  </a:lnTo>
                  <a:lnTo>
                    <a:pt x="268" y="133"/>
                  </a:lnTo>
                  <a:lnTo>
                    <a:pt x="279" y="143"/>
                  </a:lnTo>
                  <a:lnTo>
                    <a:pt x="289" y="154"/>
                  </a:lnTo>
                  <a:lnTo>
                    <a:pt x="296" y="165"/>
                  </a:lnTo>
                  <a:lnTo>
                    <a:pt x="304" y="177"/>
                  </a:lnTo>
                  <a:lnTo>
                    <a:pt x="310" y="189"/>
                  </a:lnTo>
                  <a:lnTo>
                    <a:pt x="315" y="203"/>
                  </a:lnTo>
                  <a:lnTo>
                    <a:pt x="319" y="217"/>
                  </a:lnTo>
                  <a:lnTo>
                    <a:pt x="321" y="231"/>
                  </a:lnTo>
                  <a:lnTo>
                    <a:pt x="322" y="247"/>
                  </a:lnTo>
                  <a:lnTo>
                    <a:pt x="322" y="247"/>
                  </a:lnTo>
                  <a:lnTo>
                    <a:pt x="321" y="262"/>
                  </a:lnTo>
                  <a:lnTo>
                    <a:pt x="319" y="276"/>
                  </a:lnTo>
                  <a:lnTo>
                    <a:pt x="315" y="290"/>
                  </a:lnTo>
                  <a:lnTo>
                    <a:pt x="310" y="304"/>
                  </a:lnTo>
                  <a:lnTo>
                    <a:pt x="304" y="317"/>
                  </a:lnTo>
                  <a:lnTo>
                    <a:pt x="296" y="328"/>
                  </a:lnTo>
                  <a:lnTo>
                    <a:pt x="289" y="339"/>
                  </a:lnTo>
                  <a:lnTo>
                    <a:pt x="279" y="350"/>
                  </a:lnTo>
                  <a:lnTo>
                    <a:pt x="268" y="360"/>
                  </a:lnTo>
                  <a:lnTo>
                    <a:pt x="257" y="368"/>
                  </a:lnTo>
                  <a:lnTo>
                    <a:pt x="246" y="375"/>
                  </a:lnTo>
                  <a:lnTo>
                    <a:pt x="233" y="381"/>
                  </a:lnTo>
                  <a:lnTo>
                    <a:pt x="219" y="387"/>
                  </a:lnTo>
                  <a:lnTo>
                    <a:pt x="205" y="390"/>
                  </a:lnTo>
                  <a:lnTo>
                    <a:pt x="191" y="392"/>
                  </a:lnTo>
                  <a:lnTo>
                    <a:pt x="176" y="393"/>
                  </a:lnTo>
                  <a:lnTo>
                    <a:pt x="176" y="3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" name="Group 4"/>
          <p:cNvGrpSpPr>
            <a:grpSpLocks noChangeAspect="1"/>
          </p:cNvGrpSpPr>
          <p:nvPr/>
        </p:nvGrpSpPr>
        <p:grpSpPr bwMode="auto">
          <a:xfrm>
            <a:off x="6838296" y="2751302"/>
            <a:ext cx="1153180" cy="1158666"/>
            <a:chOff x="4740" y="602"/>
            <a:chExt cx="210" cy="211"/>
          </a:xfrm>
          <a:solidFill>
            <a:schemeClr val="bg1"/>
          </a:solidFill>
        </p:grpSpPr>
        <p:sp>
          <p:nvSpPr>
            <p:cNvPr id="15" name="Freeform 5"/>
            <p:cNvSpPr>
              <a:spLocks/>
            </p:cNvSpPr>
            <p:nvPr/>
          </p:nvSpPr>
          <p:spPr bwMode="auto">
            <a:xfrm>
              <a:off x="4771" y="632"/>
              <a:ext cx="148" cy="151"/>
            </a:xfrm>
            <a:custGeom>
              <a:avLst/>
              <a:gdLst>
                <a:gd name="T0" fmla="*/ 200 w 298"/>
                <a:gd name="T1" fmla="*/ 26 h 303"/>
                <a:gd name="T2" fmla="*/ 196 w 298"/>
                <a:gd name="T3" fmla="*/ 27 h 303"/>
                <a:gd name="T4" fmla="*/ 192 w 298"/>
                <a:gd name="T5" fmla="*/ 32 h 303"/>
                <a:gd name="T6" fmla="*/ 191 w 298"/>
                <a:gd name="T7" fmla="*/ 36 h 303"/>
                <a:gd name="T8" fmla="*/ 193 w 298"/>
                <a:gd name="T9" fmla="*/ 43 h 303"/>
                <a:gd name="T10" fmla="*/ 207 w 298"/>
                <a:gd name="T11" fmla="*/ 57 h 303"/>
                <a:gd name="T12" fmla="*/ 44 w 298"/>
                <a:gd name="T13" fmla="*/ 200 h 303"/>
                <a:gd name="T14" fmla="*/ 41 w 298"/>
                <a:gd name="T15" fmla="*/ 198 h 303"/>
                <a:gd name="T16" fmla="*/ 36 w 298"/>
                <a:gd name="T17" fmla="*/ 196 h 303"/>
                <a:gd name="T18" fmla="*/ 30 w 298"/>
                <a:gd name="T19" fmla="*/ 196 h 303"/>
                <a:gd name="T20" fmla="*/ 26 w 298"/>
                <a:gd name="T21" fmla="*/ 200 h 303"/>
                <a:gd name="T22" fmla="*/ 1 w 298"/>
                <a:gd name="T23" fmla="*/ 289 h 303"/>
                <a:gd name="T24" fmla="*/ 0 w 298"/>
                <a:gd name="T25" fmla="*/ 292 h 303"/>
                <a:gd name="T26" fmla="*/ 1 w 298"/>
                <a:gd name="T27" fmla="*/ 298 h 303"/>
                <a:gd name="T28" fmla="*/ 4 w 298"/>
                <a:gd name="T29" fmla="*/ 302 h 303"/>
                <a:gd name="T30" fmla="*/ 10 w 298"/>
                <a:gd name="T31" fmla="*/ 303 h 303"/>
                <a:gd name="T32" fmla="*/ 98 w 298"/>
                <a:gd name="T33" fmla="*/ 278 h 303"/>
                <a:gd name="T34" fmla="*/ 101 w 298"/>
                <a:gd name="T35" fmla="*/ 277 h 303"/>
                <a:gd name="T36" fmla="*/ 106 w 298"/>
                <a:gd name="T37" fmla="*/ 272 h 303"/>
                <a:gd name="T38" fmla="*/ 107 w 298"/>
                <a:gd name="T39" fmla="*/ 267 h 303"/>
                <a:gd name="T40" fmla="*/ 105 w 298"/>
                <a:gd name="T41" fmla="*/ 262 h 303"/>
                <a:gd name="T42" fmla="*/ 91 w 298"/>
                <a:gd name="T43" fmla="*/ 247 h 303"/>
                <a:gd name="T44" fmla="*/ 243 w 298"/>
                <a:gd name="T45" fmla="*/ 91 h 303"/>
                <a:gd name="T46" fmla="*/ 255 w 298"/>
                <a:gd name="T47" fmla="*/ 103 h 303"/>
                <a:gd name="T48" fmla="*/ 257 w 298"/>
                <a:gd name="T49" fmla="*/ 105 h 303"/>
                <a:gd name="T50" fmla="*/ 263 w 298"/>
                <a:gd name="T51" fmla="*/ 108 h 303"/>
                <a:gd name="T52" fmla="*/ 269 w 298"/>
                <a:gd name="T53" fmla="*/ 107 h 303"/>
                <a:gd name="T54" fmla="*/ 272 w 298"/>
                <a:gd name="T55" fmla="*/ 103 h 303"/>
                <a:gd name="T56" fmla="*/ 297 w 298"/>
                <a:gd name="T57" fmla="*/ 14 h 303"/>
                <a:gd name="T58" fmla="*/ 298 w 298"/>
                <a:gd name="T59" fmla="*/ 10 h 303"/>
                <a:gd name="T60" fmla="*/ 297 w 298"/>
                <a:gd name="T61" fmla="*/ 5 h 303"/>
                <a:gd name="T62" fmla="*/ 293 w 298"/>
                <a:gd name="T63" fmla="*/ 1 h 303"/>
                <a:gd name="T64" fmla="*/ 288 w 298"/>
                <a:gd name="T65" fmla="*/ 0 h 303"/>
                <a:gd name="T66" fmla="*/ 284 w 298"/>
                <a:gd name="T67" fmla="*/ 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8" h="303">
                  <a:moveTo>
                    <a:pt x="284" y="1"/>
                  </a:moveTo>
                  <a:lnTo>
                    <a:pt x="200" y="26"/>
                  </a:lnTo>
                  <a:lnTo>
                    <a:pt x="200" y="26"/>
                  </a:lnTo>
                  <a:lnTo>
                    <a:pt x="196" y="27"/>
                  </a:lnTo>
                  <a:lnTo>
                    <a:pt x="193" y="28"/>
                  </a:lnTo>
                  <a:lnTo>
                    <a:pt x="192" y="32"/>
                  </a:lnTo>
                  <a:lnTo>
                    <a:pt x="191" y="34"/>
                  </a:lnTo>
                  <a:lnTo>
                    <a:pt x="191" y="36"/>
                  </a:lnTo>
                  <a:lnTo>
                    <a:pt x="192" y="39"/>
                  </a:lnTo>
                  <a:lnTo>
                    <a:pt x="193" y="43"/>
                  </a:lnTo>
                  <a:lnTo>
                    <a:pt x="195" y="46"/>
                  </a:lnTo>
                  <a:lnTo>
                    <a:pt x="207" y="57"/>
                  </a:lnTo>
                  <a:lnTo>
                    <a:pt x="56" y="212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1" y="198"/>
                  </a:lnTo>
                  <a:lnTo>
                    <a:pt x="38" y="196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30" y="196"/>
                  </a:lnTo>
                  <a:lnTo>
                    <a:pt x="28" y="198"/>
                  </a:lnTo>
                  <a:lnTo>
                    <a:pt x="26" y="200"/>
                  </a:lnTo>
                  <a:lnTo>
                    <a:pt x="25" y="203"/>
                  </a:lnTo>
                  <a:lnTo>
                    <a:pt x="1" y="289"/>
                  </a:lnTo>
                  <a:lnTo>
                    <a:pt x="1" y="289"/>
                  </a:lnTo>
                  <a:lnTo>
                    <a:pt x="0" y="292"/>
                  </a:lnTo>
                  <a:lnTo>
                    <a:pt x="0" y="295"/>
                  </a:lnTo>
                  <a:lnTo>
                    <a:pt x="1" y="298"/>
                  </a:lnTo>
                  <a:lnTo>
                    <a:pt x="2" y="301"/>
                  </a:lnTo>
                  <a:lnTo>
                    <a:pt x="4" y="302"/>
                  </a:lnTo>
                  <a:lnTo>
                    <a:pt x="8" y="303"/>
                  </a:lnTo>
                  <a:lnTo>
                    <a:pt x="10" y="303"/>
                  </a:lnTo>
                  <a:lnTo>
                    <a:pt x="14" y="302"/>
                  </a:lnTo>
                  <a:lnTo>
                    <a:pt x="98" y="278"/>
                  </a:lnTo>
                  <a:lnTo>
                    <a:pt x="98" y="278"/>
                  </a:lnTo>
                  <a:lnTo>
                    <a:pt x="101" y="277"/>
                  </a:lnTo>
                  <a:lnTo>
                    <a:pt x="105" y="275"/>
                  </a:lnTo>
                  <a:lnTo>
                    <a:pt x="106" y="272"/>
                  </a:lnTo>
                  <a:lnTo>
                    <a:pt x="107" y="270"/>
                  </a:lnTo>
                  <a:lnTo>
                    <a:pt x="107" y="267"/>
                  </a:lnTo>
                  <a:lnTo>
                    <a:pt x="107" y="264"/>
                  </a:lnTo>
                  <a:lnTo>
                    <a:pt x="105" y="262"/>
                  </a:lnTo>
                  <a:lnTo>
                    <a:pt x="103" y="258"/>
                  </a:lnTo>
                  <a:lnTo>
                    <a:pt x="91" y="247"/>
                  </a:lnTo>
                  <a:lnTo>
                    <a:pt x="243" y="91"/>
                  </a:lnTo>
                  <a:lnTo>
                    <a:pt x="243" y="91"/>
                  </a:lnTo>
                  <a:lnTo>
                    <a:pt x="243" y="91"/>
                  </a:lnTo>
                  <a:lnTo>
                    <a:pt x="255" y="103"/>
                  </a:lnTo>
                  <a:lnTo>
                    <a:pt x="255" y="103"/>
                  </a:lnTo>
                  <a:lnTo>
                    <a:pt x="257" y="105"/>
                  </a:lnTo>
                  <a:lnTo>
                    <a:pt x="260" y="107"/>
                  </a:lnTo>
                  <a:lnTo>
                    <a:pt x="263" y="108"/>
                  </a:lnTo>
                  <a:lnTo>
                    <a:pt x="265" y="107"/>
                  </a:lnTo>
                  <a:lnTo>
                    <a:pt x="269" y="107"/>
                  </a:lnTo>
                  <a:lnTo>
                    <a:pt x="271" y="105"/>
                  </a:lnTo>
                  <a:lnTo>
                    <a:pt x="272" y="103"/>
                  </a:lnTo>
                  <a:lnTo>
                    <a:pt x="274" y="100"/>
                  </a:lnTo>
                  <a:lnTo>
                    <a:pt x="297" y="14"/>
                  </a:lnTo>
                  <a:lnTo>
                    <a:pt x="297" y="14"/>
                  </a:lnTo>
                  <a:lnTo>
                    <a:pt x="298" y="10"/>
                  </a:lnTo>
                  <a:lnTo>
                    <a:pt x="298" y="7"/>
                  </a:lnTo>
                  <a:lnTo>
                    <a:pt x="297" y="5"/>
                  </a:lnTo>
                  <a:lnTo>
                    <a:pt x="296" y="3"/>
                  </a:lnTo>
                  <a:lnTo>
                    <a:pt x="293" y="1"/>
                  </a:lnTo>
                  <a:lnTo>
                    <a:pt x="290" y="0"/>
                  </a:lnTo>
                  <a:lnTo>
                    <a:pt x="288" y="0"/>
                  </a:lnTo>
                  <a:lnTo>
                    <a:pt x="284" y="1"/>
                  </a:lnTo>
                  <a:lnTo>
                    <a:pt x="2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4817" y="602"/>
              <a:ext cx="133" cy="131"/>
            </a:xfrm>
            <a:custGeom>
              <a:avLst/>
              <a:gdLst>
                <a:gd name="T0" fmla="*/ 0 w 264"/>
                <a:gd name="T1" fmla="*/ 36 h 262"/>
                <a:gd name="T2" fmla="*/ 224 w 264"/>
                <a:gd name="T3" fmla="*/ 36 h 262"/>
                <a:gd name="T4" fmla="*/ 224 w 264"/>
                <a:gd name="T5" fmla="*/ 36 h 262"/>
                <a:gd name="T6" fmla="*/ 226 w 264"/>
                <a:gd name="T7" fmla="*/ 37 h 262"/>
                <a:gd name="T8" fmla="*/ 227 w 264"/>
                <a:gd name="T9" fmla="*/ 39 h 262"/>
                <a:gd name="T10" fmla="*/ 227 w 264"/>
                <a:gd name="T11" fmla="*/ 262 h 262"/>
                <a:gd name="T12" fmla="*/ 264 w 264"/>
                <a:gd name="T13" fmla="*/ 262 h 262"/>
                <a:gd name="T14" fmla="*/ 264 w 264"/>
                <a:gd name="T15" fmla="*/ 39 h 262"/>
                <a:gd name="T16" fmla="*/ 264 w 264"/>
                <a:gd name="T17" fmla="*/ 39 h 262"/>
                <a:gd name="T18" fmla="*/ 263 w 264"/>
                <a:gd name="T19" fmla="*/ 31 h 262"/>
                <a:gd name="T20" fmla="*/ 261 w 264"/>
                <a:gd name="T21" fmla="*/ 24 h 262"/>
                <a:gd name="T22" fmla="*/ 257 w 264"/>
                <a:gd name="T23" fmla="*/ 17 h 262"/>
                <a:gd name="T24" fmla="*/ 252 w 264"/>
                <a:gd name="T25" fmla="*/ 11 h 262"/>
                <a:gd name="T26" fmla="*/ 246 w 264"/>
                <a:gd name="T27" fmla="*/ 7 h 262"/>
                <a:gd name="T28" fmla="*/ 239 w 264"/>
                <a:gd name="T29" fmla="*/ 3 h 262"/>
                <a:gd name="T30" fmla="*/ 232 w 264"/>
                <a:gd name="T31" fmla="*/ 1 h 262"/>
                <a:gd name="T32" fmla="*/ 224 w 264"/>
                <a:gd name="T33" fmla="*/ 0 h 262"/>
                <a:gd name="T34" fmla="*/ 0 w 264"/>
                <a:gd name="T35" fmla="*/ 0 h 262"/>
                <a:gd name="T36" fmla="*/ 0 w 264"/>
                <a:gd name="T37" fmla="*/ 36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4" h="262">
                  <a:moveTo>
                    <a:pt x="0" y="36"/>
                  </a:moveTo>
                  <a:lnTo>
                    <a:pt x="224" y="36"/>
                  </a:lnTo>
                  <a:lnTo>
                    <a:pt x="224" y="36"/>
                  </a:lnTo>
                  <a:lnTo>
                    <a:pt x="226" y="37"/>
                  </a:lnTo>
                  <a:lnTo>
                    <a:pt x="227" y="39"/>
                  </a:lnTo>
                  <a:lnTo>
                    <a:pt x="227" y="262"/>
                  </a:lnTo>
                  <a:lnTo>
                    <a:pt x="264" y="262"/>
                  </a:lnTo>
                  <a:lnTo>
                    <a:pt x="264" y="39"/>
                  </a:lnTo>
                  <a:lnTo>
                    <a:pt x="264" y="39"/>
                  </a:lnTo>
                  <a:lnTo>
                    <a:pt x="263" y="31"/>
                  </a:lnTo>
                  <a:lnTo>
                    <a:pt x="261" y="24"/>
                  </a:lnTo>
                  <a:lnTo>
                    <a:pt x="257" y="17"/>
                  </a:lnTo>
                  <a:lnTo>
                    <a:pt x="252" y="11"/>
                  </a:lnTo>
                  <a:lnTo>
                    <a:pt x="246" y="7"/>
                  </a:lnTo>
                  <a:lnTo>
                    <a:pt x="239" y="3"/>
                  </a:lnTo>
                  <a:lnTo>
                    <a:pt x="232" y="1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4740" y="681"/>
              <a:ext cx="130" cy="132"/>
            </a:xfrm>
            <a:custGeom>
              <a:avLst/>
              <a:gdLst>
                <a:gd name="T0" fmla="*/ 260 w 260"/>
                <a:gd name="T1" fmla="*/ 227 h 263"/>
                <a:gd name="T2" fmla="*/ 40 w 260"/>
                <a:gd name="T3" fmla="*/ 227 h 263"/>
                <a:gd name="T4" fmla="*/ 40 w 260"/>
                <a:gd name="T5" fmla="*/ 227 h 263"/>
                <a:gd name="T6" fmla="*/ 38 w 260"/>
                <a:gd name="T7" fmla="*/ 226 h 263"/>
                <a:gd name="T8" fmla="*/ 36 w 260"/>
                <a:gd name="T9" fmla="*/ 224 h 263"/>
                <a:gd name="T10" fmla="*/ 36 w 260"/>
                <a:gd name="T11" fmla="*/ 0 h 263"/>
                <a:gd name="T12" fmla="*/ 0 w 260"/>
                <a:gd name="T13" fmla="*/ 0 h 263"/>
                <a:gd name="T14" fmla="*/ 0 w 260"/>
                <a:gd name="T15" fmla="*/ 224 h 263"/>
                <a:gd name="T16" fmla="*/ 0 w 260"/>
                <a:gd name="T17" fmla="*/ 224 h 263"/>
                <a:gd name="T18" fmla="*/ 1 w 260"/>
                <a:gd name="T19" fmla="*/ 232 h 263"/>
                <a:gd name="T20" fmla="*/ 3 w 260"/>
                <a:gd name="T21" fmla="*/ 239 h 263"/>
                <a:gd name="T22" fmla="*/ 7 w 260"/>
                <a:gd name="T23" fmla="*/ 246 h 263"/>
                <a:gd name="T24" fmla="*/ 12 w 260"/>
                <a:gd name="T25" fmla="*/ 252 h 263"/>
                <a:gd name="T26" fmla="*/ 18 w 260"/>
                <a:gd name="T27" fmla="*/ 257 h 263"/>
                <a:gd name="T28" fmla="*/ 25 w 260"/>
                <a:gd name="T29" fmla="*/ 260 h 263"/>
                <a:gd name="T30" fmla="*/ 32 w 260"/>
                <a:gd name="T31" fmla="*/ 262 h 263"/>
                <a:gd name="T32" fmla="*/ 40 w 260"/>
                <a:gd name="T33" fmla="*/ 263 h 263"/>
                <a:gd name="T34" fmla="*/ 260 w 260"/>
                <a:gd name="T35" fmla="*/ 263 h 263"/>
                <a:gd name="T36" fmla="*/ 260 w 260"/>
                <a:gd name="T37" fmla="*/ 227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0" h="263">
                  <a:moveTo>
                    <a:pt x="260" y="227"/>
                  </a:moveTo>
                  <a:lnTo>
                    <a:pt x="40" y="227"/>
                  </a:lnTo>
                  <a:lnTo>
                    <a:pt x="40" y="227"/>
                  </a:lnTo>
                  <a:lnTo>
                    <a:pt x="38" y="226"/>
                  </a:lnTo>
                  <a:lnTo>
                    <a:pt x="36" y="224"/>
                  </a:lnTo>
                  <a:lnTo>
                    <a:pt x="36" y="0"/>
                  </a:lnTo>
                  <a:lnTo>
                    <a:pt x="0" y="0"/>
                  </a:lnTo>
                  <a:lnTo>
                    <a:pt x="0" y="224"/>
                  </a:lnTo>
                  <a:lnTo>
                    <a:pt x="0" y="224"/>
                  </a:lnTo>
                  <a:lnTo>
                    <a:pt x="1" y="232"/>
                  </a:lnTo>
                  <a:lnTo>
                    <a:pt x="3" y="239"/>
                  </a:lnTo>
                  <a:lnTo>
                    <a:pt x="7" y="246"/>
                  </a:lnTo>
                  <a:lnTo>
                    <a:pt x="12" y="252"/>
                  </a:lnTo>
                  <a:lnTo>
                    <a:pt x="18" y="257"/>
                  </a:lnTo>
                  <a:lnTo>
                    <a:pt x="25" y="260"/>
                  </a:lnTo>
                  <a:lnTo>
                    <a:pt x="32" y="262"/>
                  </a:lnTo>
                  <a:lnTo>
                    <a:pt x="40" y="263"/>
                  </a:lnTo>
                  <a:lnTo>
                    <a:pt x="260" y="263"/>
                  </a:lnTo>
                  <a:lnTo>
                    <a:pt x="260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" name="Group 4"/>
          <p:cNvGrpSpPr>
            <a:grpSpLocks noChangeAspect="1"/>
          </p:cNvGrpSpPr>
          <p:nvPr/>
        </p:nvGrpSpPr>
        <p:grpSpPr bwMode="auto">
          <a:xfrm>
            <a:off x="9456366" y="2767470"/>
            <a:ext cx="1192584" cy="1126330"/>
            <a:chOff x="2475" y="2315"/>
            <a:chExt cx="216" cy="204"/>
          </a:xfrm>
          <a:solidFill>
            <a:schemeClr val="bg1"/>
          </a:solidFill>
        </p:grpSpPr>
        <p:sp>
          <p:nvSpPr>
            <p:cNvPr id="19" name="Freeform 5"/>
            <p:cNvSpPr>
              <a:spLocks/>
            </p:cNvSpPr>
            <p:nvPr/>
          </p:nvSpPr>
          <p:spPr bwMode="auto">
            <a:xfrm>
              <a:off x="2475" y="2384"/>
              <a:ext cx="216" cy="135"/>
            </a:xfrm>
            <a:custGeom>
              <a:avLst/>
              <a:gdLst>
                <a:gd name="T0" fmla="*/ 385 w 432"/>
                <a:gd name="T1" fmla="*/ 191 h 269"/>
                <a:gd name="T2" fmla="*/ 229 w 432"/>
                <a:gd name="T3" fmla="*/ 131 h 269"/>
                <a:gd name="T4" fmla="*/ 320 w 432"/>
                <a:gd name="T5" fmla="*/ 93 h 269"/>
                <a:gd name="T6" fmla="*/ 320 w 432"/>
                <a:gd name="T7" fmla="*/ 34 h 269"/>
                <a:gd name="T8" fmla="*/ 317 w 432"/>
                <a:gd name="T9" fmla="*/ 21 h 269"/>
                <a:gd name="T10" fmla="*/ 310 w 432"/>
                <a:gd name="T11" fmla="*/ 10 h 269"/>
                <a:gd name="T12" fmla="*/ 299 w 432"/>
                <a:gd name="T13" fmla="*/ 3 h 269"/>
                <a:gd name="T14" fmla="*/ 286 w 432"/>
                <a:gd name="T15" fmla="*/ 0 h 269"/>
                <a:gd name="T16" fmla="*/ 112 w 432"/>
                <a:gd name="T17" fmla="*/ 61 h 269"/>
                <a:gd name="T18" fmla="*/ 113 w 432"/>
                <a:gd name="T19" fmla="*/ 67 h 269"/>
                <a:gd name="T20" fmla="*/ 118 w 432"/>
                <a:gd name="T21" fmla="*/ 79 h 269"/>
                <a:gd name="T22" fmla="*/ 127 w 432"/>
                <a:gd name="T23" fmla="*/ 88 h 269"/>
                <a:gd name="T24" fmla="*/ 139 w 432"/>
                <a:gd name="T25" fmla="*/ 93 h 269"/>
                <a:gd name="T26" fmla="*/ 203 w 432"/>
                <a:gd name="T27" fmla="*/ 93 h 269"/>
                <a:gd name="T28" fmla="*/ 47 w 432"/>
                <a:gd name="T29" fmla="*/ 131 h 269"/>
                <a:gd name="T30" fmla="*/ 0 w 432"/>
                <a:gd name="T31" fmla="*/ 191 h 269"/>
                <a:gd name="T32" fmla="*/ 0 w 432"/>
                <a:gd name="T33" fmla="*/ 243 h 269"/>
                <a:gd name="T34" fmla="*/ 2 w 432"/>
                <a:gd name="T35" fmla="*/ 253 h 269"/>
                <a:gd name="T36" fmla="*/ 7 w 432"/>
                <a:gd name="T37" fmla="*/ 262 h 269"/>
                <a:gd name="T38" fmla="*/ 16 w 432"/>
                <a:gd name="T39" fmla="*/ 267 h 269"/>
                <a:gd name="T40" fmla="*/ 26 w 432"/>
                <a:gd name="T41" fmla="*/ 269 h 269"/>
                <a:gd name="T42" fmla="*/ 121 w 432"/>
                <a:gd name="T43" fmla="*/ 217 h 269"/>
                <a:gd name="T44" fmla="*/ 121 w 432"/>
                <a:gd name="T45" fmla="*/ 212 h 269"/>
                <a:gd name="T46" fmla="*/ 117 w 432"/>
                <a:gd name="T47" fmla="*/ 202 h 269"/>
                <a:gd name="T48" fmla="*/ 110 w 432"/>
                <a:gd name="T49" fmla="*/ 196 h 269"/>
                <a:gd name="T50" fmla="*/ 100 w 432"/>
                <a:gd name="T51" fmla="*/ 191 h 269"/>
                <a:gd name="T52" fmla="*/ 73 w 432"/>
                <a:gd name="T53" fmla="*/ 191 h 269"/>
                <a:gd name="T54" fmla="*/ 203 w 432"/>
                <a:gd name="T55" fmla="*/ 157 h 269"/>
                <a:gd name="T56" fmla="*/ 155 w 432"/>
                <a:gd name="T57" fmla="*/ 191 h 269"/>
                <a:gd name="T58" fmla="*/ 155 w 432"/>
                <a:gd name="T59" fmla="*/ 243 h 269"/>
                <a:gd name="T60" fmla="*/ 158 w 432"/>
                <a:gd name="T61" fmla="*/ 253 h 269"/>
                <a:gd name="T62" fmla="*/ 163 w 432"/>
                <a:gd name="T63" fmla="*/ 262 h 269"/>
                <a:gd name="T64" fmla="*/ 172 w 432"/>
                <a:gd name="T65" fmla="*/ 267 h 269"/>
                <a:gd name="T66" fmla="*/ 181 w 432"/>
                <a:gd name="T67" fmla="*/ 269 h 269"/>
                <a:gd name="T68" fmla="*/ 277 w 432"/>
                <a:gd name="T69" fmla="*/ 217 h 269"/>
                <a:gd name="T70" fmla="*/ 275 w 432"/>
                <a:gd name="T71" fmla="*/ 212 h 269"/>
                <a:gd name="T72" fmla="*/ 272 w 432"/>
                <a:gd name="T73" fmla="*/ 202 h 269"/>
                <a:gd name="T74" fmla="*/ 265 w 432"/>
                <a:gd name="T75" fmla="*/ 196 h 269"/>
                <a:gd name="T76" fmla="*/ 256 w 432"/>
                <a:gd name="T77" fmla="*/ 191 h 269"/>
                <a:gd name="T78" fmla="*/ 229 w 432"/>
                <a:gd name="T79" fmla="*/ 191 h 269"/>
                <a:gd name="T80" fmla="*/ 359 w 432"/>
                <a:gd name="T81" fmla="*/ 157 h 269"/>
                <a:gd name="T82" fmla="*/ 311 w 432"/>
                <a:gd name="T83" fmla="*/ 191 h 269"/>
                <a:gd name="T84" fmla="*/ 311 w 432"/>
                <a:gd name="T85" fmla="*/ 243 h 269"/>
                <a:gd name="T86" fmla="*/ 313 w 432"/>
                <a:gd name="T87" fmla="*/ 253 h 269"/>
                <a:gd name="T88" fmla="*/ 319 w 432"/>
                <a:gd name="T89" fmla="*/ 262 h 269"/>
                <a:gd name="T90" fmla="*/ 326 w 432"/>
                <a:gd name="T91" fmla="*/ 267 h 269"/>
                <a:gd name="T92" fmla="*/ 337 w 432"/>
                <a:gd name="T93" fmla="*/ 269 h 269"/>
                <a:gd name="T94" fmla="*/ 432 w 432"/>
                <a:gd name="T95" fmla="*/ 217 h 269"/>
                <a:gd name="T96" fmla="*/ 431 w 432"/>
                <a:gd name="T97" fmla="*/ 212 h 269"/>
                <a:gd name="T98" fmla="*/ 427 w 432"/>
                <a:gd name="T99" fmla="*/ 202 h 269"/>
                <a:gd name="T100" fmla="*/ 420 w 432"/>
                <a:gd name="T101" fmla="*/ 196 h 269"/>
                <a:gd name="T102" fmla="*/ 411 w 432"/>
                <a:gd name="T103" fmla="*/ 191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2" h="269">
                  <a:moveTo>
                    <a:pt x="406" y="191"/>
                  </a:moveTo>
                  <a:lnTo>
                    <a:pt x="385" y="191"/>
                  </a:lnTo>
                  <a:lnTo>
                    <a:pt x="385" y="131"/>
                  </a:lnTo>
                  <a:lnTo>
                    <a:pt x="229" y="131"/>
                  </a:lnTo>
                  <a:lnTo>
                    <a:pt x="229" y="93"/>
                  </a:lnTo>
                  <a:lnTo>
                    <a:pt x="320" y="93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19" y="27"/>
                  </a:lnTo>
                  <a:lnTo>
                    <a:pt x="317" y="21"/>
                  </a:lnTo>
                  <a:lnTo>
                    <a:pt x="314" y="15"/>
                  </a:lnTo>
                  <a:lnTo>
                    <a:pt x="310" y="10"/>
                  </a:lnTo>
                  <a:lnTo>
                    <a:pt x="305" y="7"/>
                  </a:lnTo>
                  <a:lnTo>
                    <a:pt x="299" y="3"/>
                  </a:lnTo>
                  <a:lnTo>
                    <a:pt x="293" y="1"/>
                  </a:lnTo>
                  <a:lnTo>
                    <a:pt x="286" y="0"/>
                  </a:lnTo>
                  <a:lnTo>
                    <a:pt x="112" y="0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3" y="67"/>
                  </a:lnTo>
                  <a:lnTo>
                    <a:pt x="115" y="74"/>
                  </a:lnTo>
                  <a:lnTo>
                    <a:pt x="118" y="79"/>
                  </a:lnTo>
                  <a:lnTo>
                    <a:pt x="122" y="84"/>
                  </a:lnTo>
                  <a:lnTo>
                    <a:pt x="127" y="88"/>
                  </a:lnTo>
                  <a:lnTo>
                    <a:pt x="133" y="91"/>
                  </a:lnTo>
                  <a:lnTo>
                    <a:pt x="139" y="93"/>
                  </a:lnTo>
                  <a:lnTo>
                    <a:pt x="146" y="93"/>
                  </a:lnTo>
                  <a:lnTo>
                    <a:pt x="203" y="93"/>
                  </a:lnTo>
                  <a:lnTo>
                    <a:pt x="203" y="131"/>
                  </a:lnTo>
                  <a:lnTo>
                    <a:pt x="47" y="131"/>
                  </a:lnTo>
                  <a:lnTo>
                    <a:pt x="47" y="191"/>
                  </a:lnTo>
                  <a:lnTo>
                    <a:pt x="0" y="191"/>
                  </a:lnTo>
                  <a:lnTo>
                    <a:pt x="0" y="243"/>
                  </a:lnTo>
                  <a:lnTo>
                    <a:pt x="0" y="243"/>
                  </a:lnTo>
                  <a:lnTo>
                    <a:pt x="1" y="248"/>
                  </a:lnTo>
                  <a:lnTo>
                    <a:pt x="2" y="253"/>
                  </a:lnTo>
                  <a:lnTo>
                    <a:pt x="5" y="257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6" y="267"/>
                  </a:lnTo>
                  <a:lnTo>
                    <a:pt x="21" y="268"/>
                  </a:lnTo>
                  <a:lnTo>
                    <a:pt x="26" y="269"/>
                  </a:lnTo>
                  <a:lnTo>
                    <a:pt x="121" y="269"/>
                  </a:lnTo>
                  <a:lnTo>
                    <a:pt x="121" y="217"/>
                  </a:lnTo>
                  <a:lnTo>
                    <a:pt x="121" y="217"/>
                  </a:lnTo>
                  <a:lnTo>
                    <a:pt x="121" y="212"/>
                  </a:lnTo>
                  <a:lnTo>
                    <a:pt x="119" y="207"/>
                  </a:lnTo>
                  <a:lnTo>
                    <a:pt x="117" y="202"/>
                  </a:lnTo>
                  <a:lnTo>
                    <a:pt x="113" y="199"/>
                  </a:lnTo>
                  <a:lnTo>
                    <a:pt x="110" y="196"/>
                  </a:lnTo>
                  <a:lnTo>
                    <a:pt x="106" y="194"/>
                  </a:lnTo>
                  <a:lnTo>
                    <a:pt x="100" y="191"/>
                  </a:lnTo>
                  <a:lnTo>
                    <a:pt x="95" y="191"/>
                  </a:lnTo>
                  <a:lnTo>
                    <a:pt x="73" y="191"/>
                  </a:lnTo>
                  <a:lnTo>
                    <a:pt x="73" y="157"/>
                  </a:lnTo>
                  <a:lnTo>
                    <a:pt x="203" y="157"/>
                  </a:lnTo>
                  <a:lnTo>
                    <a:pt x="203" y="191"/>
                  </a:lnTo>
                  <a:lnTo>
                    <a:pt x="155" y="191"/>
                  </a:lnTo>
                  <a:lnTo>
                    <a:pt x="155" y="243"/>
                  </a:lnTo>
                  <a:lnTo>
                    <a:pt x="155" y="243"/>
                  </a:lnTo>
                  <a:lnTo>
                    <a:pt x="157" y="248"/>
                  </a:lnTo>
                  <a:lnTo>
                    <a:pt x="158" y="253"/>
                  </a:lnTo>
                  <a:lnTo>
                    <a:pt x="160" y="257"/>
                  </a:lnTo>
                  <a:lnTo>
                    <a:pt x="163" y="262"/>
                  </a:lnTo>
                  <a:lnTo>
                    <a:pt x="167" y="264"/>
                  </a:lnTo>
                  <a:lnTo>
                    <a:pt x="172" y="267"/>
                  </a:lnTo>
                  <a:lnTo>
                    <a:pt x="176" y="268"/>
                  </a:lnTo>
                  <a:lnTo>
                    <a:pt x="181" y="269"/>
                  </a:lnTo>
                  <a:lnTo>
                    <a:pt x="277" y="269"/>
                  </a:lnTo>
                  <a:lnTo>
                    <a:pt x="277" y="217"/>
                  </a:lnTo>
                  <a:lnTo>
                    <a:pt x="277" y="217"/>
                  </a:lnTo>
                  <a:lnTo>
                    <a:pt x="275" y="212"/>
                  </a:lnTo>
                  <a:lnTo>
                    <a:pt x="274" y="207"/>
                  </a:lnTo>
                  <a:lnTo>
                    <a:pt x="272" y="202"/>
                  </a:lnTo>
                  <a:lnTo>
                    <a:pt x="269" y="199"/>
                  </a:lnTo>
                  <a:lnTo>
                    <a:pt x="265" y="196"/>
                  </a:lnTo>
                  <a:lnTo>
                    <a:pt x="260" y="194"/>
                  </a:lnTo>
                  <a:lnTo>
                    <a:pt x="256" y="191"/>
                  </a:lnTo>
                  <a:lnTo>
                    <a:pt x="251" y="191"/>
                  </a:lnTo>
                  <a:lnTo>
                    <a:pt x="229" y="191"/>
                  </a:lnTo>
                  <a:lnTo>
                    <a:pt x="229" y="157"/>
                  </a:lnTo>
                  <a:lnTo>
                    <a:pt x="359" y="157"/>
                  </a:lnTo>
                  <a:lnTo>
                    <a:pt x="359" y="191"/>
                  </a:lnTo>
                  <a:lnTo>
                    <a:pt x="311" y="191"/>
                  </a:lnTo>
                  <a:lnTo>
                    <a:pt x="311" y="243"/>
                  </a:lnTo>
                  <a:lnTo>
                    <a:pt x="311" y="243"/>
                  </a:lnTo>
                  <a:lnTo>
                    <a:pt x="311" y="248"/>
                  </a:lnTo>
                  <a:lnTo>
                    <a:pt x="313" y="253"/>
                  </a:lnTo>
                  <a:lnTo>
                    <a:pt x="315" y="257"/>
                  </a:lnTo>
                  <a:lnTo>
                    <a:pt x="319" y="262"/>
                  </a:lnTo>
                  <a:lnTo>
                    <a:pt x="322" y="264"/>
                  </a:lnTo>
                  <a:lnTo>
                    <a:pt x="326" y="267"/>
                  </a:lnTo>
                  <a:lnTo>
                    <a:pt x="332" y="268"/>
                  </a:lnTo>
                  <a:lnTo>
                    <a:pt x="337" y="269"/>
                  </a:lnTo>
                  <a:lnTo>
                    <a:pt x="432" y="269"/>
                  </a:lnTo>
                  <a:lnTo>
                    <a:pt x="432" y="217"/>
                  </a:lnTo>
                  <a:lnTo>
                    <a:pt x="432" y="217"/>
                  </a:lnTo>
                  <a:lnTo>
                    <a:pt x="431" y="212"/>
                  </a:lnTo>
                  <a:lnTo>
                    <a:pt x="430" y="207"/>
                  </a:lnTo>
                  <a:lnTo>
                    <a:pt x="427" y="202"/>
                  </a:lnTo>
                  <a:lnTo>
                    <a:pt x="425" y="199"/>
                  </a:lnTo>
                  <a:lnTo>
                    <a:pt x="420" y="196"/>
                  </a:lnTo>
                  <a:lnTo>
                    <a:pt x="416" y="194"/>
                  </a:lnTo>
                  <a:lnTo>
                    <a:pt x="411" y="191"/>
                  </a:lnTo>
                  <a:lnTo>
                    <a:pt x="406" y="1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2475" y="2384"/>
              <a:ext cx="216" cy="135"/>
            </a:xfrm>
            <a:custGeom>
              <a:avLst/>
              <a:gdLst>
                <a:gd name="T0" fmla="*/ 385 w 432"/>
                <a:gd name="T1" fmla="*/ 191 h 269"/>
                <a:gd name="T2" fmla="*/ 229 w 432"/>
                <a:gd name="T3" fmla="*/ 131 h 269"/>
                <a:gd name="T4" fmla="*/ 320 w 432"/>
                <a:gd name="T5" fmla="*/ 93 h 269"/>
                <a:gd name="T6" fmla="*/ 320 w 432"/>
                <a:gd name="T7" fmla="*/ 34 h 269"/>
                <a:gd name="T8" fmla="*/ 317 w 432"/>
                <a:gd name="T9" fmla="*/ 21 h 269"/>
                <a:gd name="T10" fmla="*/ 310 w 432"/>
                <a:gd name="T11" fmla="*/ 10 h 269"/>
                <a:gd name="T12" fmla="*/ 299 w 432"/>
                <a:gd name="T13" fmla="*/ 3 h 269"/>
                <a:gd name="T14" fmla="*/ 286 w 432"/>
                <a:gd name="T15" fmla="*/ 0 h 269"/>
                <a:gd name="T16" fmla="*/ 112 w 432"/>
                <a:gd name="T17" fmla="*/ 61 h 269"/>
                <a:gd name="T18" fmla="*/ 113 w 432"/>
                <a:gd name="T19" fmla="*/ 67 h 269"/>
                <a:gd name="T20" fmla="*/ 118 w 432"/>
                <a:gd name="T21" fmla="*/ 79 h 269"/>
                <a:gd name="T22" fmla="*/ 127 w 432"/>
                <a:gd name="T23" fmla="*/ 88 h 269"/>
                <a:gd name="T24" fmla="*/ 139 w 432"/>
                <a:gd name="T25" fmla="*/ 93 h 269"/>
                <a:gd name="T26" fmla="*/ 203 w 432"/>
                <a:gd name="T27" fmla="*/ 93 h 269"/>
                <a:gd name="T28" fmla="*/ 47 w 432"/>
                <a:gd name="T29" fmla="*/ 131 h 269"/>
                <a:gd name="T30" fmla="*/ 0 w 432"/>
                <a:gd name="T31" fmla="*/ 191 h 269"/>
                <a:gd name="T32" fmla="*/ 0 w 432"/>
                <a:gd name="T33" fmla="*/ 243 h 269"/>
                <a:gd name="T34" fmla="*/ 2 w 432"/>
                <a:gd name="T35" fmla="*/ 253 h 269"/>
                <a:gd name="T36" fmla="*/ 7 w 432"/>
                <a:gd name="T37" fmla="*/ 262 h 269"/>
                <a:gd name="T38" fmla="*/ 16 w 432"/>
                <a:gd name="T39" fmla="*/ 267 h 269"/>
                <a:gd name="T40" fmla="*/ 26 w 432"/>
                <a:gd name="T41" fmla="*/ 269 h 269"/>
                <a:gd name="T42" fmla="*/ 121 w 432"/>
                <a:gd name="T43" fmla="*/ 217 h 269"/>
                <a:gd name="T44" fmla="*/ 121 w 432"/>
                <a:gd name="T45" fmla="*/ 212 h 269"/>
                <a:gd name="T46" fmla="*/ 117 w 432"/>
                <a:gd name="T47" fmla="*/ 202 h 269"/>
                <a:gd name="T48" fmla="*/ 110 w 432"/>
                <a:gd name="T49" fmla="*/ 196 h 269"/>
                <a:gd name="T50" fmla="*/ 100 w 432"/>
                <a:gd name="T51" fmla="*/ 191 h 269"/>
                <a:gd name="T52" fmla="*/ 73 w 432"/>
                <a:gd name="T53" fmla="*/ 191 h 269"/>
                <a:gd name="T54" fmla="*/ 203 w 432"/>
                <a:gd name="T55" fmla="*/ 157 h 269"/>
                <a:gd name="T56" fmla="*/ 155 w 432"/>
                <a:gd name="T57" fmla="*/ 191 h 269"/>
                <a:gd name="T58" fmla="*/ 155 w 432"/>
                <a:gd name="T59" fmla="*/ 243 h 269"/>
                <a:gd name="T60" fmla="*/ 158 w 432"/>
                <a:gd name="T61" fmla="*/ 253 h 269"/>
                <a:gd name="T62" fmla="*/ 163 w 432"/>
                <a:gd name="T63" fmla="*/ 262 h 269"/>
                <a:gd name="T64" fmla="*/ 172 w 432"/>
                <a:gd name="T65" fmla="*/ 267 h 269"/>
                <a:gd name="T66" fmla="*/ 181 w 432"/>
                <a:gd name="T67" fmla="*/ 269 h 269"/>
                <a:gd name="T68" fmla="*/ 277 w 432"/>
                <a:gd name="T69" fmla="*/ 217 h 269"/>
                <a:gd name="T70" fmla="*/ 275 w 432"/>
                <a:gd name="T71" fmla="*/ 212 h 269"/>
                <a:gd name="T72" fmla="*/ 272 w 432"/>
                <a:gd name="T73" fmla="*/ 202 h 269"/>
                <a:gd name="T74" fmla="*/ 265 w 432"/>
                <a:gd name="T75" fmla="*/ 196 h 269"/>
                <a:gd name="T76" fmla="*/ 256 w 432"/>
                <a:gd name="T77" fmla="*/ 191 h 269"/>
                <a:gd name="T78" fmla="*/ 229 w 432"/>
                <a:gd name="T79" fmla="*/ 191 h 269"/>
                <a:gd name="T80" fmla="*/ 359 w 432"/>
                <a:gd name="T81" fmla="*/ 157 h 269"/>
                <a:gd name="T82" fmla="*/ 311 w 432"/>
                <a:gd name="T83" fmla="*/ 191 h 269"/>
                <a:gd name="T84" fmla="*/ 311 w 432"/>
                <a:gd name="T85" fmla="*/ 243 h 269"/>
                <a:gd name="T86" fmla="*/ 313 w 432"/>
                <a:gd name="T87" fmla="*/ 253 h 269"/>
                <a:gd name="T88" fmla="*/ 319 w 432"/>
                <a:gd name="T89" fmla="*/ 262 h 269"/>
                <a:gd name="T90" fmla="*/ 326 w 432"/>
                <a:gd name="T91" fmla="*/ 267 h 269"/>
                <a:gd name="T92" fmla="*/ 337 w 432"/>
                <a:gd name="T93" fmla="*/ 269 h 269"/>
                <a:gd name="T94" fmla="*/ 432 w 432"/>
                <a:gd name="T95" fmla="*/ 217 h 269"/>
                <a:gd name="T96" fmla="*/ 431 w 432"/>
                <a:gd name="T97" fmla="*/ 212 h 269"/>
                <a:gd name="T98" fmla="*/ 427 w 432"/>
                <a:gd name="T99" fmla="*/ 202 h 269"/>
                <a:gd name="T100" fmla="*/ 420 w 432"/>
                <a:gd name="T101" fmla="*/ 196 h 269"/>
                <a:gd name="T102" fmla="*/ 411 w 432"/>
                <a:gd name="T103" fmla="*/ 191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2" h="269">
                  <a:moveTo>
                    <a:pt x="406" y="191"/>
                  </a:moveTo>
                  <a:lnTo>
                    <a:pt x="385" y="191"/>
                  </a:lnTo>
                  <a:lnTo>
                    <a:pt x="385" y="131"/>
                  </a:lnTo>
                  <a:lnTo>
                    <a:pt x="229" y="131"/>
                  </a:lnTo>
                  <a:lnTo>
                    <a:pt x="229" y="93"/>
                  </a:lnTo>
                  <a:lnTo>
                    <a:pt x="320" y="93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19" y="27"/>
                  </a:lnTo>
                  <a:lnTo>
                    <a:pt x="317" y="21"/>
                  </a:lnTo>
                  <a:lnTo>
                    <a:pt x="314" y="15"/>
                  </a:lnTo>
                  <a:lnTo>
                    <a:pt x="310" y="10"/>
                  </a:lnTo>
                  <a:lnTo>
                    <a:pt x="305" y="7"/>
                  </a:lnTo>
                  <a:lnTo>
                    <a:pt x="299" y="3"/>
                  </a:lnTo>
                  <a:lnTo>
                    <a:pt x="293" y="1"/>
                  </a:lnTo>
                  <a:lnTo>
                    <a:pt x="286" y="0"/>
                  </a:lnTo>
                  <a:lnTo>
                    <a:pt x="112" y="0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3" y="67"/>
                  </a:lnTo>
                  <a:lnTo>
                    <a:pt x="115" y="74"/>
                  </a:lnTo>
                  <a:lnTo>
                    <a:pt x="118" y="79"/>
                  </a:lnTo>
                  <a:lnTo>
                    <a:pt x="122" y="84"/>
                  </a:lnTo>
                  <a:lnTo>
                    <a:pt x="127" y="88"/>
                  </a:lnTo>
                  <a:lnTo>
                    <a:pt x="133" y="91"/>
                  </a:lnTo>
                  <a:lnTo>
                    <a:pt x="139" y="93"/>
                  </a:lnTo>
                  <a:lnTo>
                    <a:pt x="146" y="93"/>
                  </a:lnTo>
                  <a:lnTo>
                    <a:pt x="203" y="93"/>
                  </a:lnTo>
                  <a:lnTo>
                    <a:pt x="203" y="131"/>
                  </a:lnTo>
                  <a:lnTo>
                    <a:pt x="47" y="131"/>
                  </a:lnTo>
                  <a:lnTo>
                    <a:pt x="47" y="191"/>
                  </a:lnTo>
                  <a:lnTo>
                    <a:pt x="0" y="191"/>
                  </a:lnTo>
                  <a:lnTo>
                    <a:pt x="0" y="243"/>
                  </a:lnTo>
                  <a:lnTo>
                    <a:pt x="0" y="243"/>
                  </a:lnTo>
                  <a:lnTo>
                    <a:pt x="1" y="248"/>
                  </a:lnTo>
                  <a:lnTo>
                    <a:pt x="2" y="253"/>
                  </a:lnTo>
                  <a:lnTo>
                    <a:pt x="5" y="257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6" y="267"/>
                  </a:lnTo>
                  <a:lnTo>
                    <a:pt x="21" y="268"/>
                  </a:lnTo>
                  <a:lnTo>
                    <a:pt x="26" y="269"/>
                  </a:lnTo>
                  <a:lnTo>
                    <a:pt x="121" y="269"/>
                  </a:lnTo>
                  <a:lnTo>
                    <a:pt x="121" y="217"/>
                  </a:lnTo>
                  <a:lnTo>
                    <a:pt x="121" y="217"/>
                  </a:lnTo>
                  <a:lnTo>
                    <a:pt x="121" y="212"/>
                  </a:lnTo>
                  <a:lnTo>
                    <a:pt x="119" y="207"/>
                  </a:lnTo>
                  <a:lnTo>
                    <a:pt x="117" y="202"/>
                  </a:lnTo>
                  <a:lnTo>
                    <a:pt x="113" y="199"/>
                  </a:lnTo>
                  <a:lnTo>
                    <a:pt x="110" y="196"/>
                  </a:lnTo>
                  <a:lnTo>
                    <a:pt x="106" y="194"/>
                  </a:lnTo>
                  <a:lnTo>
                    <a:pt x="100" y="191"/>
                  </a:lnTo>
                  <a:lnTo>
                    <a:pt x="95" y="191"/>
                  </a:lnTo>
                  <a:lnTo>
                    <a:pt x="73" y="191"/>
                  </a:lnTo>
                  <a:lnTo>
                    <a:pt x="73" y="157"/>
                  </a:lnTo>
                  <a:lnTo>
                    <a:pt x="203" y="157"/>
                  </a:lnTo>
                  <a:lnTo>
                    <a:pt x="203" y="191"/>
                  </a:lnTo>
                  <a:lnTo>
                    <a:pt x="155" y="191"/>
                  </a:lnTo>
                  <a:lnTo>
                    <a:pt x="155" y="243"/>
                  </a:lnTo>
                  <a:lnTo>
                    <a:pt x="155" y="243"/>
                  </a:lnTo>
                  <a:lnTo>
                    <a:pt x="157" y="248"/>
                  </a:lnTo>
                  <a:lnTo>
                    <a:pt x="158" y="253"/>
                  </a:lnTo>
                  <a:lnTo>
                    <a:pt x="160" y="257"/>
                  </a:lnTo>
                  <a:lnTo>
                    <a:pt x="163" y="262"/>
                  </a:lnTo>
                  <a:lnTo>
                    <a:pt x="167" y="264"/>
                  </a:lnTo>
                  <a:lnTo>
                    <a:pt x="172" y="267"/>
                  </a:lnTo>
                  <a:lnTo>
                    <a:pt x="176" y="268"/>
                  </a:lnTo>
                  <a:lnTo>
                    <a:pt x="181" y="269"/>
                  </a:lnTo>
                  <a:lnTo>
                    <a:pt x="277" y="269"/>
                  </a:lnTo>
                  <a:lnTo>
                    <a:pt x="277" y="217"/>
                  </a:lnTo>
                  <a:lnTo>
                    <a:pt x="277" y="217"/>
                  </a:lnTo>
                  <a:lnTo>
                    <a:pt x="275" y="212"/>
                  </a:lnTo>
                  <a:lnTo>
                    <a:pt x="274" y="207"/>
                  </a:lnTo>
                  <a:lnTo>
                    <a:pt x="272" y="202"/>
                  </a:lnTo>
                  <a:lnTo>
                    <a:pt x="269" y="199"/>
                  </a:lnTo>
                  <a:lnTo>
                    <a:pt x="265" y="196"/>
                  </a:lnTo>
                  <a:lnTo>
                    <a:pt x="260" y="194"/>
                  </a:lnTo>
                  <a:lnTo>
                    <a:pt x="256" y="191"/>
                  </a:lnTo>
                  <a:lnTo>
                    <a:pt x="251" y="191"/>
                  </a:lnTo>
                  <a:lnTo>
                    <a:pt x="229" y="191"/>
                  </a:lnTo>
                  <a:lnTo>
                    <a:pt x="229" y="157"/>
                  </a:lnTo>
                  <a:lnTo>
                    <a:pt x="359" y="157"/>
                  </a:lnTo>
                  <a:lnTo>
                    <a:pt x="359" y="191"/>
                  </a:lnTo>
                  <a:lnTo>
                    <a:pt x="311" y="191"/>
                  </a:lnTo>
                  <a:lnTo>
                    <a:pt x="311" y="243"/>
                  </a:lnTo>
                  <a:lnTo>
                    <a:pt x="311" y="243"/>
                  </a:lnTo>
                  <a:lnTo>
                    <a:pt x="311" y="248"/>
                  </a:lnTo>
                  <a:lnTo>
                    <a:pt x="313" y="253"/>
                  </a:lnTo>
                  <a:lnTo>
                    <a:pt x="315" y="257"/>
                  </a:lnTo>
                  <a:lnTo>
                    <a:pt x="319" y="262"/>
                  </a:lnTo>
                  <a:lnTo>
                    <a:pt x="322" y="264"/>
                  </a:lnTo>
                  <a:lnTo>
                    <a:pt x="326" y="267"/>
                  </a:lnTo>
                  <a:lnTo>
                    <a:pt x="332" y="268"/>
                  </a:lnTo>
                  <a:lnTo>
                    <a:pt x="337" y="269"/>
                  </a:lnTo>
                  <a:lnTo>
                    <a:pt x="432" y="269"/>
                  </a:lnTo>
                  <a:lnTo>
                    <a:pt x="432" y="217"/>
                  </a:lnTo>
                  <a:lnTo>
                    <a:pt x="432" y="217"/>
                  </a:lnTo>
                  <a:lnTo>
                    <a:pt x="431" y="212"/>
                  </a:lnTo>
                  <a:lnTo>
                    <a:pt x="430" y="207"/>
                  </a:lnTo>
                  <a:lnTo>
                    <a:pt x="427" y="202"/>
                  </a:lnTo>
                  <a:lnTo>
                    <a:pt x="425" y="199"/>
                  </a:lnTo>
                  <a:lnTo>
                    <a:pt x="420" y="196"/>
                  </a:lnTo>
                  <a:lnTo>
                    <a:pt x="416" y="194"/>
                  </a:lnTo>
                  <a:lnTo>
                    <a:pt x="411" y="191"/>
                  </a:lnTo>
                  <a:lnTo>
                    <a:pt x="406" y="19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7"/>
            <p:cNvSpPr>
              <a:spLocks/>
            </p:cNvSpPr>
            <p:nvPr/>
          </p:nvSpPr>
          <p:spPr bwMode="auto">
            <a:xfrm>
              <a:off x="2555" y="2315"/>
              <a:ext cx="56" cy="61"/>
            </a:xfrm>
            <a:custGeom>
              <a:avLst/>
              <a:gdLst>
                <a:gd name="T0" fmla="*/ 56 w 112"/>
                <a:gd name="T1" fmla="*/ 121 h 121"/>
                <a:gd name="T2" fmla="*/ 56 w 112"/>
                <a:gd name="T3" fmla="*/ 121 h 121"/>
                <a:gd name="T4" fmla="*/ 70 w 112"/>
                <a:gd name="T5" fmla="*/ 120 h 121"/>
                <a:gd name="T6" fmla="*/ 82 w 112"/>
                <a:gd name="T7" fmla="*/ 117 h 121"/>
                <a:gd name="T8" fmla="*/ 92 w 112"/>
                <a:gd name="T9" fmla="*/ 112 h 121"/>
                <a:gd name="T10" fmla="*/ 96 w 112"/>
                <a:gd name="T11" fmla="*/ 110 h 121"/>
                <a:gd name="T12" fmla="*/ 99 w 112"/>
                <a:gd name="T13" fmla="*/ 107 h 121"/>
                <a:gd name="T14" fmla="*/ 102 w 112"/>
                <a:gd name="T15" fmla="*/ 102 h 121"/>
                <a:gd name="T16" fmla="*/ 106 w 112"/>
                <a:gd name="T17" fmla="*/ 98 h 121"/>
                <a:gd name="T18" fmla="*/ 110 w 112"/>
                <a:gd name="T19" fmla="*/ 87 h 121"/>
                <a:gd name="T20" fmla="*/ 112 w 112"/>
                <a:gd name="T21" fmla="*/ 75 h 121"/>
                <a:gd name="T22" fmla="*/ 112 w 112"/>
                <a:gd name="T23" fmla="*/ 60 h 121"/>
                <a:gd name="T24" fmla="*/ 112 w 112"/>
                <a:gd name="T25" fmla="*/ 60 h 121"/>
                <a:gd name="T26" fmla="*/ 112 w 112"/>
                <a:gd name="T27" fmla="*/ 45 h 121"/>
                <a:gd name="T28" fmla="*/ 110 w 112"/>
                <a:gd name="T29" fmla="*/ 33 h 121"/>
                <a:gd name="T30" fmla="*/ 106 w 112"/>
                <a:gd name="T31" fmla="*/ 22 h 121"/>
                <a:gd name="T32" fmla="*/ 102 w 112"/>
                <a:gd name="T33" fmla="*/ 18 h 121"/>
                <a:gd name="T34" fmla="*/ 99 w 112"/>
                <a:gd name="T35" fmla="*/ 14 h 121"/>
                <a:gd name="T36" fmla="*/ 96 w 112"/>
                <a:gd name="T37" fmla="*/ 11 h 121"/>
                <a:gd name="T38" fmla="*/ 92 w 112"/>
                <a:gd name="T39" fmla="*/ 8 h 121"/>
                <a:gd name="T40" fmla="*/ 82 w 112"/>
                <a:gd name="T41" fmla="*/ 4 h 121"/>
                <a:gd name="T42" fmla="*/ 70 w 112"/>
                <a:gd name="T43" fmla="*/ 1 h 121"/>
                <a:gd name="T44" fmla="*/ 56 w 112"/>
                <a:gd name="T45" fmla="*/ 0 h 121"/>
                <a:gd name="T46" fmla="*/ 56 w 112"/>
                <a:gd name="T47" fmla="*/ 0 h 121"/>
                <a:gd name="T48" fmla="*/ 42 w 112"/>
                <a:gd name="T49" fmla="*/ 1 h 121"/>
                <a:gd name="T50" fmla="*/ 30 w 112"/>
                <a:gd name="T51" fmla="*/ 4 h 121"/>
                <a:gd name="T52" fmla="*/ 20 w 112"/>
                <a:gd name="T53" fmla="*/ 8 h 121"/>
                <a:gd name="T54" fmla="*/ 16 w 112"/>
                <a:gd name="T55" fmla="*/ 11 h 121"/>
                <a:gd name="T56" fmla="*/ 13 w 112"/>
                <a:gd name="T57" fmla="*/ 14 h 121"/>
                <a:gd name="T58" fmla="*/ 10 w 112"/>
                <a:gd name="T59" fmla="*/ 18 h 121"/>
                <a:gd name="T60" fmla="*/ 6 w 112"/>
                <a:gd name="T61" fmla="*/ 22 h 121"/>
                <a:gd name="T62" fmla="*/ 3 w 112"/>
                <a:gd name="T63" fmla="*/ 33 h 121"/>
                <a:gd name="T64" fmla="*/ 0 w 112"/>
                <a:gd name="T65" fmla="*/ 45 h 121"/>
                <a:gd name="T66" fmla="*/ 0 w 112"/>
                <a:gd name="T67" fmla="*/ 60 h 121"/>
                <a:gd name="T68" fmla="*/ 0 w 112"/>
                <a:gd name="T69" fmla="*/ 60 h 121"/>
                <a:gd name="T70" fmla="*/ 0 w 112"/>
                <a:gd name="T71" fmla="*/ 75 h 121"/>
                <a:gd name="T72" fmla="*/ 3 w 112"/>
                <a:gd name="T73" fmla="*/ 87 h 121"/>
                <a:gd name="T74" fmla="*/ 6 w 112"/>
                <a:gd name="T75" fmla="*/ 98 h 121"/>
                <a:gd name="T76" fmla="*/ 10 w 112"/>
                <a:gd name="T77" fmla="*/ 102 h 121"/>
                <a:gd name="T78" fmla="*/ 13 w 112"/>
                <a:gd name="T79" fmla="*/ 107 h 121"/>
                <a:gd name="T80" fmla="*/ 16 w 112"/>
                <a:gd name="T81" fmla="*/ 110 h 121"/>
                <a:gd name="T82" fmla="*/ 20 w 112"/>
                <a:gd name="T83" fmla="*/ 112 h 121"/>
                <a:gd name="T84" fmla="*/ 30 w 112"/>
                <a:gd name="T85" fmla="*/ 117 h 121"/>
                <a:gd name="T86" fmla="*/ 42 w 112"/>
                <a:gd name="T87" fmla="*/ 120 h 121"/>
                <a:gd name="T88" fmla="*/ 56 w 112"/>
                <a:gd name="T8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2" h="121">
                  <a:moveTo>
                    <a:pt x="56" y="121"/>
                  </a:moveTo>
                  <a:lnTo>
                    <a:pt x="56" y="121"/>
                  </a:lnTo>
                  <a:lnTo>
                    <a:pt x="70" y="120"/>
                  </a:lnTo>
                  <a:lnTo>
                    <a:pt x="82" y="117"/>
                  </a:lnTo>
                  <a:lnTo>
                    <a:pt x="92" y="112"/>
                  </a:lnTo>
                  <a:lnTo>
                    <a:pt x="96" y="110"/>
                  </a:lnTo>
                  <a:lnTo>
                    <a:pt x="99" y="107"/>
                  </a:lnTo>
                  <a:lnTo>
                    <a:pt x="102" y="102"/>
                  </a:lnTo>
                  <a:lnTo>
                    <a:pt x="106" y="98"/>
                  </a:lnTo>
                  <a:lnTo>
                    <a:pt x="110" y="87"/>
                  </a:lnTo>
                  <a:lnTo>
                    <a:pt x="112" y="75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45"/>
                  </a:lnTo>
                  <a:lnTo>
                    <a:pt x="110" y="33"/>
                  </a:lnTo>
                  <a:lnTo>
                    <a:pt x="106" y="22"/>
                  </a:lnTo>
                  <a:lnTo>
                    <a:pt x="102" y="18"/>
                  </a:lnTo>
                  <a:lnTo>
                    <a:pt x="99" y="14"/>
                  </a:lnTo>
                  <a:lnTo>
                    <a:pt x="96" y="11"/>
                  </a:lnTo>
                  <a:lnTo>
                    <a:pt x="92" y="8"/>
                  </a:lnTo>
                  <a:lnTo>
                    <a:pt x="82" y="4"/>
                  </a:lnTo>
                  <a:lnTo>
                    <a:pt x="70" y="1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42" y="1"/>
                  </a:lnTo>
                  <a:lnTo>
                    <a:pt x="30" y="4"/>
                  </a:lnTo>
                  <a:lnTo>
                    <a:pt x="20" y="8"/>
                  </a:lnTo>
                  <a:lnTo>
                    <a:pt x="16" y="11"/>
                  </a:lnTo>
                  <a:lnTo>
                    <a:pt x="13" y="14"/>
                  </a:lnTo>
                  <a:lnTo>
                    <a:pt x="10" y="18"/>
                  </a:lnTo>
                  <a:lnTo>
                    <a:pt x="6" y="22"/>
                  </a:lnTo>
                  <a:lnTo>
                    <a:pt x="3" y="33"/>
                  </a:lnTo>
                  <a:lnTo>
                    <a:pt x="0" y="45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75"/>
                  </a:lnTo>
                  <a:lnTo>
                    <a:pt x="3" y="87"/>
                  </a:lnTo>
                  <a:lnTo>
                    <a:pt x="6" y="98"/>
                  </a:lnTo>
                  <a:lnTo>
                    <a:pt x="10" y="102"/>
                  </a:lnTo>
                  <a:lnTo>
                    <a:pt x="13" y="107"/>
                  </a:lnTo>
                  <a:lnTo>
                    <a:pt x="16" y="110"/>
                  </a:lnTo>
                  <a:lnTo>
                    <a:pt x="20" y="112"/>
                  </a:lnTo>
                  <a:lnTo>
                    <a:pt x="30" y="117"/>
                  </a:lnTo>
                  <a:lnTo>
                    <a:pt x="42" y="120"/>
                  </a:lnTo>
                  <a:lnTo>
                    <a:pt x="56" y="1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8"/>
            <p:cNvSpPr>
              <a:spLocks/>
            </p:cNvSpPr>
            <p:nvPr/>
          </p:nvSpPr>
          <p:spPr bwMode="auto">
            <a:xfrm>
              <a:off x="2555" y="2315"/>
              <a:ext cx="56" cy="61"/>
            </a:xfrm>
            <a:custGeom>
              <a:avLst/>
              <a:gdLst>
                <a:gd name="T0" fmla="*/ 56 w 112"/>
                <a:gd name="T1" fmla="*/ 121 h 121"/>
                <a:gd name="T2" fmla="*/ 56 w 112"/>
                <a:gd name="T3" fmla="*/ 121 h 121"/>
                <a:gd name="T4" fmla="*/ 70 w 112"/>
                <a:gd name="T5" fmla="*/ 120 h 121"/>
                <a:gd name="T6" fmla="*/ 82 w 112"/>
                <a:gd name="T7" fmla="*/ 117 h 121"/>
                <a:gd name="T8" fmla="*/ 92 w 112"/>
                <a:gd name="T9" fmla="*/ 112 h 121"/>
                <a:gd name="T10" fmla="*/ 96 w 112"/>
                <a:gd name="T11" fmla="*/ 110 h 121"/>
                <a:gd name="T12" fmla="*/ 99 w 112"/>
                <a:gd name="T13" fmla="*/ 107 h 121"/>
                <a:gd name="T14" fmla="*/ 102 w 112"/>
                <a:gd name="T15" fmla="*/ 102 h 121"/>
                <a:gd name="T16" fmla="*/ 106 w 112"/>
                <a:gd name="T17" fmla="*/ 98 h 121"/>
                <a:gd name="T18" fmla="*/ 110 w 112"/>
                <a:gd name="T19" fmla="*/ 87 h 121"/>
                <a:gd name="T20" fmla="*/ 112 w 112"/>
                <a:gd name="T21" fmla="*/ 75 h 121"/>
                <a:gd name="T22" fmla="*/ 112 w 112"/>
                <a:gd name="T23" fmla="*/ 60 h 121"/>
                <a:gd name="T24" fmla="*/ 112 w 112"/>
                <a:gd name="T25" fmla="*/ 60 h 121"/>
                <a:gd name="T26" fmla="*/ 112 w 112"/>
                <a:gd name="T27" fmla="*/ 45 h 121"/>
                <a:gd name="T28" fmla="*/ 110 w 112"/>
                <a:gd name="T29" fmla="*/ 33 h 121"/>
                <a:gd name="T30" fmla="*/ 106 w 112"/>
                <a:gd name="T31" fmla="*/ 22 h 121"/>
                <a:gd name="T32" fmla="*/ 102 w 112"/>
                <a:gd name="T33" fmla="*/ 18 h 121"/>
                <a:gd name="T34" fmla="*/ 99 w 112"/>
                <a:gd name="T35" fmla="*/ 14 h 121"/>
                <a:gd name="T36" fmla="*/ 96 w 112"/>
                <a:gd name="T37" fmla="*/ 11 h 121"/>
                <a:gd name="T38" fmla="*/ 92 w 112"/>
                <a:gd name="T39" fmla="*/ 8 h 121"/>
                <a:gd name="T40" fmla="*/ 82 w 112"/>
                <a:gd name="T41" fmla="*/ 4 h 121"/>
                <a:gd name="T42" fmla="*/ 70 w 112"/>
                <a:gd name="T43" fmla="*/ 1 h 121"/>
                <a:gd name="T44" fmla="*/ 56 w 112"/>
                <a:gd name="T45" fmla="*/ 0 h 121"/>
                <a:gd name="T46" fmla="*/ 56 w 112"/>
                <a:gd name="T47" fmla="*/ 0 h 121"/>
                <a:gd name="T48" fmla="*/ 42 w 112"/>
                <a:gd name="T49" fmla="*/ 1 h 121"/>
                <a:gd name="T50" fmla="*/ 30 w 112"/>
                <a:gd name="T51" fmla="*/ 4 h 121"/>
                <a:gd name="T52" fmla="*/ 20 w 112"/>
                <a:gd name="T53" fmla="*/ 8 h 121"/>
                <a:gd name="T54" fmla="*/ 16 w 112"/>
                <a:gd name="T55" fmla="*/ 11 h 121"/>
                <a:gd name="T56" fmla="*/ 13 w 112"/>
                <a:gd name="T57" fmla="*/ 14 h 121"/>
                <a:gd name="T58" fmla="*/ 10 w 112"/>
                <a:gd name="T59" fmla="*/ 18 h 121"/>
                <a:gd name="T60" fmla="*/ 6 w 112"/>
                <a:gd name="T61" fmla="*/ 22 h 121"/>
                <a:gd name="T62" fmla="*/ 3 w 112"/>
                <a:gd name="T63" fmla="*/ 33 h 121"/>
                <a:gd name="T64" fmla="*/ 0 w 112"/>
                <a:gd name="T65" fmla="*/ 45 h 121"/>
                <a:gd name="T66" fmla="*/ 0 w 112"/>
                <a:gd name="T67" fmla="*/ 60 h 121"/>
                <a:gd name="T68" fmla="*/ 0 w 112"/>
                <a:gd name="T69" fmla="*/ 60 h 121"/>
                <a:gd name="T70" fmla="*/ 0 w 112"/>
                <a:gd name="T71" fmla="*/ 75 h 121"/>
                <a:gd name="T72" fmla="*/ 3 w 112"/>
                <a:gd name="T73" fmla="*/ 87 h 121"/>
                <a:gd name="T74" fmla="*/ 6 w 112"/>
                <a:gd name="T75" fmla="*/ 98 h 121"/>
                <a:gd name="T76" fmla="*/ 10 w 112"/>
                <a:gd name="T77" fmla="*/ 102 h 121"/>
                <a:gd name="T78" fmla="*/ 13 w 112"/>
                <a:gd name="T79" fmla="*/ 107 h 121"/>
                <a:gd name="T80" fmla="*/ 16 w 112"/>
                <a:gd name="T81" fmla="*/ 110 h 121"/>
                <a:gd name="T82" fmla="*/ 20 w 112"/>
                <a:gd name="T83" fmla="*/ 112 h 121"/>
                <a:gd name="T84" fmla="*/ 30 w 112"/>
                <a:gd name="T85" fmla="*/ 117 h 121"/>
                <a:gd name="T86" fmla="*/ 42 w 112"/>
                <a:gd name="T87" fmla="*/ 120 h 121"/>
                <a:gd name="T88" fmla="*/ 56 w 112"/>
                <a:gd name="T8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2" h="121">
                  <a:moveTo>
                    <a:pt x="56" y="121"/>
                  </a:moveTo>
                  <a:lnTo>
                    <a:pt x="56" y="121"/>
                  </a:lnTo>
                  <a:lnTo>
                    <a:pt x="70" y="120"/>
                  </a:lnTo>
                  <a:lnTo>
                    <a:pt x="82" y="117"/>
                  </a:lnTo>
                  <a:lnTo>
                    <a:pt x="92" y="112"/>
                  </a:lnTo>
                  <a:lnTo>
                    <a:pt x="96" y="110"/>
                  </a:lnTo>
                  <a:lnTo>
                    <a:pt x="99" y="107"/>
                  </a:lnTo>
                  <a:lnTo>
                    <a:pt x="102" y="102"/>
                  </a:lnTo>
                  <a:lnTo>
                    <a:pt x="106" y="98"/>
                  </a:lnTo>
                  <a:lnTo>
                    <a:pt x="110" y="87"/>
                  </a:lnTo>
                  <a:lnTo>
                    <a:pt x="112" y="75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45"/>
                  </a:lnTo>
                  <a:lnTo>
                    <a:pt x="110" y="33"/>
                  </a:lnTo>
                  <a:lnTo>
                    <a:pt x="106" y="22"/>
                  </a:lnTo>
                  <a:lnTo>
                    <a:pt x="102" y="18"/>
                  </a:lnTo>
                  <a:lnTo>
                    <a:pt x="99" y="14"/>
                  </a:lnTo>
                  <a:lnTo>
                    <a:pt x="96" y="11"/>
                  </a:lnTo>
                  <a:lnTo>
                    <a:pt x="92" y="8"/>
                  </a:lnTo>
                  <a:lnTo>
                    <a:pt x="82" y="4"/>
                  </a:lnTo>
                  <a:lnTo>
                    <a:pt x="70" y="1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42" y="1"/>
                  </a:lnTo>
                  <a:lnTo>
                    <a:pt x="30" y="4"/>
                  </a:lnTo>
                  <a:lnTo>
                    <a:pt x="20" y="8"/>
                  </a:lnTo>
                  <a:lnTo>
                    <a:pt x="16" y="11"/>
                  </a:lnTo>
                  <a:lnTo>
                    <a:pt x="13" y="14"/>
                  </a:lnTo>
                  <a:lnTo>
                    <a:pt x="10" y="18"/>
                  </a:lnTo>
                  <a:lnTo>
                    <a:pt x="6" y="22"/>
                  </a:lnTo>
                  <a:lnTo>
                    <a:pt x="3" y="33"/>
                  </a:lnTo>
                  <a:lnTo>
                    <a:pt x="0" y="45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75"/>
                  </a:lnTo>
                  <a:lnTo>
                    <a:pt x="3" y="87"/>
                  </a:lnTo>
                  <a:lnTo>
                    <a:pt x="6" y="98"/>
                  </a:lnTo>
                  <a:lnTo>
                    <a:pt x="10" y="102"/>
                  </a:lnTo>
                  <a:lnTo>
                    <a:pt x="13" y="107"/>
                  </a:lnTo>
                  <a:lnTo>
                    <a:pt x="16" y="110"/>
                  </a:lnTo>
                  <a:lnTo>
                    <a:pt x="20" y="112"/>
                  </a:lnTo>
                  <a:lnTo>
                    <a:pt x="30" y="117"/>
                  </a:lnTo>
                  <a:lnTo>
                    <a:pt x="42" y="120"/>
                  </a:lnTo>
                  <a:lnTo>
                    <a:pt x="56" y="12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" name="Group 4"/>
          <p:cNvGrpSpPr>
            <a:grpSpLocks noChangeAspect="1"/>
          </p:cNvGrpSpPr>
          <p:nvPr/>
        </p:nvGrpSpPr>
        <p:grpSpPr bwMode="auto">
          <a:xfrm>
            <a:off x="4259068" y="2689818"/>
            <a:ext cx="1036092" cy="1281634"/>
            <a:chOff x="4276" y="1183"/>
            <a:chExt cx="173" cy="214"/>
          </a:xfrm>
          <a:solidFill>
            <a:schemeClr val="bg1"/>
          </a:solidFill>
        </p:grpSpPr>
        <p:sp>
          <p:nvSpPr>
            <p:cNvPr id="24" name="Freeform 5"/>
            <p:cNvSpPr>
              <a:spLocks/>
            </p:cNvSpPr>
            <p:nvPr/>
          </p:nvSpPr>
          <p:spPr bwMode="auto">
            <a:xfrm>
              <a:off x="4276" y="1204"/>
              <a:ext cx="114" cy="193"/>
            </a:xfrm>
            <a:custGeom>
              <a:avLst/>
              <a:gdLst>
                <a:gd name="T0" fmla="*/ 154 w 227"/>
                <a:gd name="T1" fmla="*/ 263 h 385"/>
                <a:gd name="T2" fmla="*/ 149 w 227"/>
                <a:gd name="T3" fmla="*/ 260 h 385"/>
                <a:gd name="T4" fmla="*/ 143 w 227"/>
                <a:gd name="T5" fmla="*/ 260 h 385"/>
                <a:gd name="T6" fmla="*/ 138 w 227"/>
                <a:gd name="T7" fmla="*/ 264 h 385"/>
                <a:gd name="T8" fmla="*/ 134 w 227"/>
                <a:gd name="T9" fmla="*/ 271 h 385"/>
                <a:gd name="T10" fmla="*/ 134 w 227"/>
                <a:gd name="T11" fmla="*/ 299 h 385"/>
                <a:gd name="T12" fmla="*/ 76 w 227"/>
                <a:gd name="T13" fmla="*/ 299 h 385"/>
                <a:gd name="T14" fmla="*/ 64 w 227"/>
                <a:gd name="T15" fmla="*/ 296 h 385"/>
                <a:gd name="T16" fmla="*/ 54 w 227"/>
                <a:gd name="T17" fmla="*/ 289 h 385"/>
                <a:gd name="T18" fmla="*/ 48 w 227"/>
                <a:gd name="T19" fmla="*/ 280 h 385"/>
                <a:gd name="T20" fmla="*/ 45 w 227"/>
                <a:gd name="T21" fmla="*/ 268 h 385"/>
                <a:gd name="T22" fmla="*/ 45 w 227"/>
                <a:gd name="T23" fmla="*/ 76 h 385"/>
                <a:gd name="T24" fmla="*/ 48 w 227"/>
                <a:gd name="T25" fmla="*/ 64 h 385"/>
                <a:gd name="T26" fmla="*/ 54 w 227"/>
                <a:gd name="T27" fmla="*/ 55 h 385"/>
                <a:gd name="T28" fmla="*/ 64 w 227"/>
                <a:gd name="T29" fmla="*/ 48 h 385"/>
                <a:gd name="T30" fmla="*/ 76 w 227"/>
                <a:gd name="T31" fmla="*/ 45 h 385"/>
                <a:gd name="T32" fmla="*/ 95 w 227"/>
                <a:gd name="T33" fmla="*/ 0 h 385"/>
                <a:gd name="T34" fmla="*/ 76 w 227"/>
                <a:gd name="T35" fmla="*/ 0 h 385"/>
                <a:gd name="T36" fmla="*/ 61 w 227"/>
                <a:gd name="T37" fmla="*/ 1 h 385"/>
                <a:gd name="T38" fmla="*/ 46 w 227"/>
                <a:gd name="T39" fmla="*/ 6 h 385"/>
                <a:gd name="T40" fmla="*/ 33 w 227"/>
                <a:gd name="T41" fmla="*/ 12 h 385"/>
                <a:gd name="T42" fmla="*/ 22 w 227"/>
                <a:gd name="T43" fmla="*/ 22 h 385"/>
                <a:gd name="T44" fmla="*/ 12 w 227"/>
                <a:gd name="T45" fmla="*/ 33 h 385"/>
                <a:gd name="T46" fmla="*/ 6 w 227"/>
                <a:gd name="T47" fmla="*/ 46 h 385"/>
                <a:gd name="T48" fmla="*/ 1 w 227"/>
                <a:gd name="T49" fmla="*/ 61 h 385"/>
                <a:gd name="T50" fmla="*/ 0 w 227"/>
                <a:gd name="T51" fmla="*/ 76 h 385"/>
                <a:gd name="T52" fmla="*/ 0 w 227"/>
                <a:gd name="T53" fmla="*/ 268 h 385"/>
                <a:gd name="T54" fmla="*/ 1 w 227"/>
                <a:gd name="T55" fmla="*/ 283 h 385"/>
                <a:gd name="T56" fmla="*/ 5 w 227"/>
                <a:gd name="T57" fmla="*/ 297 h 385"/>
                <a:gd name="T58" fmla="*/ 12 w 227"/>
                <a:gd name="T59" fmla="*/ 310 h 385"/>
                <a:gd name="T60" fmla="*/ 21 w 227"/>
                <a:gd name="T61" fmla="*/ 321 h 385"/>
                <a:gd name="T62" fmla="*/ 32 w 227"/>
                <a:gd name="T63" fmla="*/ 330 h 385"/>
                <a:gd name="T64" fmla="*/ 45 w 227"/>
                <a:gd name="T65" fmla="*/ 338 h 385"/>
                <a:gd name="T66" fmla="*/ 59 w 227"/>
                <a:gd name="T67" fmla="*/ 342 h 385"/>
                <a:gd name="T68" fmla="*/ 74 w 227"/>
                <a:gd name="T69" fmla="*/ 344 h 385"/>
                <a:gd name="T70" fmla="*/ 134 w 227"/>
                <a:gd name="T71" fmla="*/ 344 h 385"/>
                <a:gd name="T72" fmla="*/ 134 w 227"/>
                <a:gd name="T73" fmla="*/ 370 h 385"/>
                <a:gd name="T74" fmla="*/ 136 w 227"/>
                <a:gd name="T75" fmla="*/ 378 h 385"/>
                <a:gd name="T76" fmla="*/ 140 w 227"/>
                <a:gd name="T77" fmla="*/ 383 h 385"/>
                <a:gd name="T78" fmla="*/ 146 w 227"/>
                <a:gd name="T79" fmla="*/ 385 h 385"/>
                <a:gd name="T80" fmla="*/ 154 w 227"/>
                <a:gd name="T81" fmla="*/ 383 h 385"/>
                <a:gd name="T82" fmla="*/ 219 w 227"/>
                <a:gd name="T83" fmla="*/ 333 h 385"/>
                <a:gd name="T84" fmla="*/ 225 w 227"/>
                <a:gd name="T85" fmla="*/ 328 h 385"/>
                <a:gd name="T86" fmla="*/ 227 w 227"/>
                <a:gd name="T87" fmla="*/ 322 h 385"/>
                <a:gd name="T88" fmla="*/ 225 w 227"/>
                <a:gd name="T89" fmla="*/ 316 h 385"/>
                <a:gd name="T90" fmla="*/ 219 w 227"/>
                <a:gd name="T91" fmla="*/ 31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7" h="385">
                  <a:moveTo>
                    <a:pt x="219" y="312"/>
                  </a:moveTo>
                  <a:lnTo>
                    <a:pt x="154" y="263"/>
                  </a:lnTo>
                  <a:lnTo>
                    <a:pt x="154" y="263"/>
                  </a:lnTo>
                  <a:lnTo>
                    <a:pt x="149" y="260"/>
                  </a:lnTo>
                  <a:lnTo>
                    <a:pt x="146" y="260"/>
                  </a:lnTo>
                  <a:lnTo>
                    <a:pt x="143" y="260"/>
                  </a:lnTo>
                  <a:lnTo>
                    <a:pt x="140" y="261"/>
                  </a:lnTo>
                  <a:lnTo>
                    <a:pt x="138" y="264"/>
                  </a:lnTo>
                  <a:lnTo>
                    <a:pt x="135" y="267"/>
                  </a:lnTo>
                  <a:lnTo>
                    <a:pt x="134" y="271"/>
                  </a:lnTo>
                  <a:lnTo>
                    <a:pt x="134" y="275"/>
                  </a:lnTo>
                  <a:lnTo>
                    <a:pt x="134" y="299"/>
                  </a:lnTo>
                  <a:lnTo>
                    <a:pt x="76" y="299"/>
                  </a:lnTo>
                  <a:lnTo>
                    <a:pt x="76" y="299"/>
                  </a:lnTo>
                  <a:lnTo>
                    <a:pt x="70" y="298"/>
                  </a:lnTo>
                  <a:lnTo>
                    <a:pt x="64" y="296"/>
                  </a:lnTo>
                  <a:lnTo>
                    <a:pt x="59" y="294"/>
                  </a:lnTo>
                  <a:lnTo>
                    <a:pt x="54" y="289"/>
                  </a:lnTo>
                  <a:lnTo>
                    <a:pt x="50" y="285"/>
                  </a:lnTo>
                  <a:lnTo>
                    <a:pt x="48" y="280"/>
                  </a:lnTo>
                  <a:lnTo>
                    <a:pt x="46" y="274"/>
                  </a:lnTo>
                  <a:lnTo>
                    <a:pt x="45" y="268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6" y="70"/>
                  </a:lnTo>
                  <a:lnTo>
                    <a:pt x="48" y="64"/>
                  </a:lnTo>
                  <a:lnTo>
                    <a:pt x="50" y="59"/>
                  </a:lnTo>
                  <a:lnTo>
                    <a:pt x="54" y="55"/>
                  </a:lnTo>
                  <a:lnTo>
                    <a:pt x="59" y="50"/>
                  </a:lnTo>
                  <a:lnTo>
                    <a:pt x="64" y="48"/>
                  </a:lnTo>
                  <a:lnTo>
                    <a:pt x="70" y="46"/>
                  </a:lnTo>
                  <a:lnTo>
                    <a:pt x="76" y="45"/>
                  </a:lnTo>
                  <a:lnTo>
                    <a:pt x="95" y="45"/>
                  </a:lnTo>
                  <a:lnTo>
                    <a:pt x="95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69" y="0"/>
                  </a:lnTo>
                  <a:lnTo>
                    <a:pt x="61" y="1"/>
                  </a:lnTo>
                  <a:lnTo>
                    <a:pt x="53" y="3"/>
                  </a:lnTo>
                  <a:lnTo>
                    <a:pt x="46" y="6"/>
                  </a:lnTo>
                  <a:lnTo>
                    <a:pt x="39" y="8"/>
                  </a:lnTo>
                  <a:lnTo>
                    <a:pt x="33" y="12"/>
                  </a:lnTo>
                  <a:lnTo>
                    <a:pt x="28" y="17"/>
                  </a:lnTo>
                  <a:lnTo>
                    <a:pt x="22" y="22"/>
                  </a:lnTo>
                  <a:lnTo>
                    <a:pt x="17" y="28"/>
                  </a:lnTo>
                  <a:lnTo>
                    <a:pt x="12" y="33"/>
                  </a:lnTo>
                  <a:lnTo>
                    <a:pt x="8" y="39"/>
                  </a:lnTo>
                  <a:lnTo>
                    <a:pt x="6" y="46"/>
                  </a:lnTo>
                  <a:lnTo>
                    <a:pt x="3" y="53"/>
                  </a:lnTo>
                  <a:lnTo>
                    <a:pt x="1" y="61"/>
                  </a:lnTo>
                  <a:lnTo>
                    <a:pt x="0" y="69"/>
                  </a:lnTo>
                  <a:lnTo>
                    <a:pt x="0" y="7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75"/>
                  </a:lnTo>
                  <a:lnTo>
                    <a:pt x="1" y="283"/>
                  </a:lnTo>
                  <a:lnTo>
                    <a:pt x="3" y="291"/>
                  </a:lnTo>
                  <a:lnTo>
                    <a:pt x="5" y="297"/>
                  </a:lnTo>
                  <a:lnTo>
                    <a:pt x="8" y="304"/>
                  </a:lnTo>
                  <a:lnTo>
                    <a:pt x="12" y="310"/>
                  </a:lnTo>
                  <a:lnTo>
                    <a:pt x="17" y="316"/>
                  </a:lnTo>
                  <a:lnTo>
                    <a:pt x="21" y="321"/>
                  </a:lnTo>
                  <a:lnTo>
                    <a:pt x="26" y="326"/>
                  </a:lnTo>
                  <a:lnTo>
                    <a:pt x="32" y="330"/>
                  </a:lnTo>
                  <a:lnTo>
                    <a:pt x="38" y="335"/>
                  </a:lnTo>
                  <a:lnTo>
                    <a:pt x="45" y="338"/>
                  </a:lnTo>
                  <a:lnTo>
                    <a:pt x="51" y="340"/>
                  </a:lnTo>
                  <a:lnTo>
                    <a:pt x="59" y="342"/>
                  </a:lnTo>
                  <a:lnTo>
                    <a:pt x="66" y="343"/>
                  </a:lnTo>
                  <a:lnTo>
                    <a:pt x="74" y="344"/>
                  </a:lnTo>
                  <a:lnTo>
                    <a:pt x="74" y="344"/>
                  </a:lnTo>
                  <a:lnTo>
                    <a:pt x="134" y="344"/>
                  </a:lnTo>
                  <a:lnTo>
                    <a:pt x="134" y="370"/>
                  </a:lnTo>
                  <a:lnTo>
                    <a:pt x="134" y="370"/>
                  </a:lnTo>
                  <a:lnTo>
                    <a:pt x="135" y="375"/>
                  </a:lnTo>
                  <a:lnTo>
                    <a:pt x="136" y="378"/>
                  </a:lnTo>
                  <a:lnTo>
                    <a:pt x="138" y="381"/>
                  </a:lnTo>
                  <a:lnTo>
                    <a:pt x="140" y="383"/>
                  </a:lnTo>
                  <a:lnTo>
                    <a:pt x="143" y="384"/>
                  </a:lnTo>
                  <a:lnTo>
                    <a:pt x="146" y="385"/>
                  </a:lnTo>
                  <a:lnTo>
                    <a:pt x="149" y="384"/>
                  </a:lnTo>
                  <a:lnTo>
                    <a:pt x="154" y="383"/>
                  </a:lnTo>
                  <a:lnTo>
                    <a:pt x="219" y="333"/>
                  </a:lnTo>
                  <a:lnTo>
                    <a:pt x="219" y="333"/>
                  </a:lnTo>
                  <a:lnTo>
                    <a:pt x="223" y="330"/>
                  </a:lnTo>
                  <a:lnTo>
                    <a:pt x="225" y="328"/>
                  </a:lnTo>
                  <a:lnTo>
                    <a:pt x="227" y="325"/>
                  </a:lnTo>
                  <a:lnTo>
                    <a:pt x="227" y="322"/>
                  </a:lnTo>
                  <a:lnTo>
                    <a:pt x="227" y="320"/>
                  </a:lnTo>
                  <a:lnTo>
                    <a:pt x="225" y="316"/>
                  </a:lnTo>
                  <a:lnTo>
                    <a:pt x="223" y="314"/>
                  </a:lnTo>
                  <a:lnTo>
                    <a:pt x="219" y="312"/>
                  </a:lnTo>
                  <a:lnTo>
                    <a:pt x="219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4333" y="1183"/>
              <a:ext cx="116" cy="193"/>
            </a:xfrm>
            <a:custGeom>
              <a:avLst/>
              <a:gdLst>
                <a:gd name="T0" fmla="*/ 154 w 232"/>
                <a:gd name="T1" fmla="*/ 41 h 385"/>
                <a:gd name="T2" fmla="*/ 92 w 232"/>
                <a:gd name="T3" fmla="*/ 41 h 385"/>
                <a:gd name="T4" fmla="*/ 92 w 232"/>
                <a:gd name="T5" fmla="*/ 15 h 385"/>
                <a:gd name="T6" fmla="*/ 91 w 232"/>
                <a:gd name="T7" fmla="*/ 7 h 385"/>
                <a:gd name="T8" fmla="*/ 87 w 232"/>
                <a:gd name="T9" fmla="*/ 2 h 385"/>
                <a:gd name="T10" fmla="*/ 81 w 232"/>
                <a:gd name="T11" fmla="*/ 0 h 385"/>
                <a:gd name="T12" fmla="*/ 73 w 232"/>
                <a:gd name="T13" fmla="*/ 2 h 385"/>
                <a:gd name="T14" fmla="*/ 7 w 232"/>
                <a:gd name="T15" fmla="*/ 52 h 385"/>
                <a:gd name="T16" fmla="*/ 2 w 232"/>
                <a:gd name="T17" fmla="*/ 57 h 385"/>
                <a:gd name="T18" fmla="*/ 0 w 232"/>
                <a:gd name="T19" fmla="*/ 63 h 385"/>
                <a:gd name="T20" fmla="*/ 2 w 232"/>
                <a:gd name="T21" fmla="*/ 69 h 385"/>
                <a:gd name="T22" fmla="*/ 7 w 232"/>
                <a:gd name="T23" fmla="*/ 73 h 385"/>
                <a:gd name="T24" fmla="*/ 74 w 232"/>
                <a:gd name="T25" fmla="*/ 122 h 385"/>
                <a:gd name="T26" fmla="*/ 81 w 232"/>
                <a:gd name="T27" fmla="*/ 125 h 385"/>
                <a:gd name="T28" fmla="*/ 87 w 232"/>
                <a:gd name="T29" fmla="*/ 124 h 385"/>
                <a:gd name="T30" fmla="*/ 91 w 232"/>
                <a:gd name="T31" fmla="*/ 118 h 385"/>
                <a:gd name="T32" fmla="*/ 92 w 232"/>
                <a:gd name="T33" fmla="*/ 110 h 385"/>
                <a:gd name="T34" fmla="*/ 155 w 232"/>
                <a:gd name="T35" fmla="*/ 86 h 385"/>
                <a:gd name="T36" fmla="*/ 161 w 232"/>
                <a:gd name="T37" fmla="*/ 87 h 385"/>
                <a:gd name="T38" fmla="*/ 172 w 232"/>
                <a:gd name="T39" fmla="*/ 91 h 385"/>
                <a:gd name="T40" fmla="*/ 181 w 232"/>
                <a:gd name="T41" fmla="*/ 100 h 385"/>
                <a:gd name="T42" fmla="*/ 185 w 232"/>
                <a:gd name="T43" fmla="*/ 111 h 385"/>
                <a:gd name="T44" fmla="*/ 186 w 232"/>
                <a:gd name="T45" fmla="*/ 309 h 385"/>
                <a:gd name="T46" fmla="*/ 185 w 232"/>
                <a:gd name="T47" fmla="*/ 315 h 385"/>
                <a:gd name="T48" fmla="*/ 181 w 232"/>
                <a:gd name="T49" fmla="*/ 326 h 385"/>
                <a:gd name="T50" fmla="*/ 172 w 232"/>
                <a:gd name="T51" fmla="*/ 335 h 385"/>
                <a:gd name="T52" fmla="*/ 161 w 232"/>
                <a:gd name="T53" fmla="*/ 339 h 385"/>
                <a:gd name="T54" fmla="*/ 132 w 232"/>
                <a:gd name="T55" fmla="*/ 340 h 385"/>
                <a:gd name="T56" fmla="*/ 155 w 232"/>
                <a:gd name="T57" fmla="*/ 385 h 385"/>
                <a:gd name="T58" fmla="*/ 163 w 232"/>
                <a:gd name="T59" fmla="*/ 385 h 385"/>
                <a:gd name="T60" fmla="*/ 178 w 232"/>
                <a:gd name="T61" fmla="*/ 382 h 385"/>
                <a:gd name="T62" fmla="*/ 192 w 232"/>
                <a:gd name="T63" fmla="*/ 377 h 385"/>
                <a:gd name="T64" fmla="*/ 203 w 232"/>
                <a:gd name="T65" fmla="*/ 368 h 385"/>
                <a:gd name="T66" fmla="*/ 214 w 232"/>
                <a:gd name="T67" fmla="*/ 357 h 385"/>
                <a:gd name="T68" fmla="*/ 223 w 232"/>
                <a:gd name="T69" fmla="*/ 346 h 385"/>
                <a:gd name="T70" fmla="*/ 228 w 232"/>
                <a:gd name="T71" fmla="*/ 332 h 385"/>
                <a:gd name="T72" fmla="*/ 232 w 232"/>
                <a:gd name="T73" fmla="*/ 316 h 385"/>
                <a:gd name="T74" fmla="*/ 232 w 232"/>
                <a:gd name="T75" fmla="*/ 117 h 385"/>
                <a:gd name="T76" fmla="*/ 232 w 232"/>
                <a:gd name="T77" fmla="*/ 110 h 385"/>
                <a:gd name="T78" fmla="*/ 228 w 232"/>
                <a:gd name="T79" fmla="*/ 94 h 385"/>
                <a:gd name="T80" fmla="*/ 223 w 232"/>
                <a:gd name="T81" fmla="*/ 80 h 385"/>
                <a:gd name="T82" fmla="*/ 214 w 232"/>
                <a:gd name="T83" fmla="*/ 69 h 385"/>
                <a:gd name="T84" fmla="*/ 203 w 232"/>
                <a:gd name="T85" fmla="*/ 58 h 385"/>
                <a:gd name="T86" fmla="*/ 192 w 232"/>
                <a:gd name="T87" fmla="*/ 49 h 385"/>
                <a:gd name="T88" fmla="*/ 178 w 232"/>
                <a:gd name="T89" fmla="*/ 44 h 385"/>
                <a:gd name="T90" fmla="*/ 163 w 232"/>
                <a:gd name="T91" fmla="*/ 41 h 385"/>
                <a:gd name="T92" fmla="*/ 155 w 232"/>
                <a:gd name="T93" fmla="*/ 41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2" h="385">
                  <a:moveTo>
                    <a:pt x="155" y="41"/>
                  </a:moveTo>
                  <a:lnTo>
                    <a:pt x="154" y="41"/>
                  </a:lnTo>
                  <a:lnTo>
                    <a:pt x="154" y="41"/>
                  </a:lnTo>
                  <a:lnTo>
                    <a:pt x="92" y="41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0"/>
                  </a:lnTo>
                  <a:lnTo>
                    <a:pt x="91" y="7"/>
                  </a:lnTo>
                  <a:lnTo>
                    <a:pt x="89" y="4"/>
                  </a:lnTo>
                  <a:lnTo>
                    <a:pt x="87" y="2"/>
                  </a:lnTo>
                  <a:lnTo>
                    <a:pt x="84" y="1"/>
                  </a:lnTo>
                  <a:lnTo>
                    <a:pt x="81" y="0"/>
                  </a:lnTo>
                  <a:lnTo>
                    <a:pt x="77" y="1"/>
                  </a:lnTo>
                  <a:lnTo>
                    <a:pt x="73" y="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4" y="55"/>
                  </a:lnTo>
                  <a:lnTo>
                    <a:pt x="2" y="57"/>
                  </a:lnTo>
                  <a:lnTo>
                    <a:pt x="0" y="60"/>
                  </a:lnTo>
                  <a:lnTo>
                    <a:pt x="0" y="63"/>
                  </a:lnTo>
                  <a:lnTo>
                    <a:pt x="0" y="65"/>
                  </a:lnTo>
                  <a:lnTo>
                    <a:pt x="2" y="69"/>
                  </a:lnTo>
                  <a:lnTo>
                    <a:pt x="4" y="71"/>
                  </a:lnTo>
                  <a:lnTo>
                    <a:pt x="7" y="73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7" y="125"/>
                  </a:lnTo>
                  <a:lnTo>
                    <a:pt x="81" y="125"/>
                  </a:lnTo>
                  <a:lnTo>
                    <a:pt x="84" y="125"/>
                  </a:lnTo>
                  <a:lnTo>
                    <a:pt x="87" y="124"/>
                  </a:lnTo>
                  <a:lnTo>
                    <a:pt x="89" y="121"/>
                  </a:lnTo>
                  <a:lnTo>
                    <a:pt x="91" y="118"/>
                  </a:lnTo>
                  <a:lnTo>
                    <a:pt x="92" y="114"/>
                  </a:lnTo>
                  <a:lnTo>
                    <a:pt x="92" y="110"/>
                  </a:lnTo>
                  <a:lnTo>
                    <a:pt x="92" y="86"/>
                  </a:lnTo>
                  <a:lnTo>
                    <a:pt x="155" y="86"/>
                  </a:lnTo>
                  <a:lnTo>
                    <a:pt x="155" y="86"/>
                  </a:lnTo>
                  <a:lnTo>
                    <a:pt x="161" y="87"/>
                  </a:lnTo>
                  <a:lnTo>
                    <a:pt x="167" y="89"/>
                  </a:lnTo>
                  <a:lnTo>
                    <a:pt x="172" y="91"/>
                  </a:lnTo>
                  <a:lnTo>
                    <a:pt x="177" y="96"/>
                  </a:lnTo>
                  <a:lnTo>
                    <a:pt x="181" y="100"/>
                  </a:lnTo>
                  <a:lnTo>
                    <a:pt x="183" y="105"/>
                  </a:lnTo>
                  <a:lnTo>
                    <a:pt x="185" y="111"/>
                  </a:lnTo>
                  <a:lnTo>
                    <a:pt x="186" y="117"/>
                  </a:lnTo>
                  <a:lnTo>
                    <a:pt x="186" y="309"/>
                  </a:lnTo>
                  <a:lnTo>
                    <a:pt x="186" y="309"/>
                  </a:lnTo>
                  <a:lnTo>
                    <a:pt x="185" y="315"/>
                  </a:lnTo>
                  <a:lnTo>
                    <a:pt x="183" y="321"/>
                  </a:lnTo>
                  <a:lnTo>
                    <a:pt x="181" y="326"/>
                  </a:lnTo>
                  <a:lnTo>
                    <a:pt x="177" y="330"/>
                  </a:lnTo>
                  <a:lnTo>
                    <a:pt x="172" y="335"/>
                  </a:lnTo>
                  <a:lnTo>
                    <a:pt x="167" y="337"/>
                  </a:lnTo>
                  <a:lnTo>
                    <a:pt x="161" y="339"/>
                  </a:lnTo>
                  <a:lnTo>
                    <a:pt x="155" y="340"/>
                  </a:lnTo>
                  <a:lnTo>
                    <a:pt x="132" y="340"/>
                  </a:lnTo>
                  <a:lnTo>
                    <a:pt x="132" y="385"/>
                  </a:lnTo>
                  <a:lnTo>
                    <a:pt x="155" y="385"/>
                  </a:lnTo>
                  <a:lnTo>
                    <a:pt x="155" y="385"/>
                  </a:lnTo>
                  <a:lnTo>
                    <a:pt x="163" y="385"/>
                  </a:lnTo>
                  <a:lnTo>
                    <a:pt x="170" y="384"/>
                  </a:lnTo>
                  <a:lnTo>
                    <a:pt x="178" y="382"/>
                  </a:lnTo>
                  <a:lnTo>
                    <a:pt x="185" y="379"/>
                  </a:lnTo>
                  <a:lnTo>
                    <a:pt x="192" y="377"/>
                  </a:lnTo>
                  <a:lnTo>
                    <a:pt x="198" y="373"/>
                  </a:lnTo>
                  <a:lnTo>
                    <a:pt x="203" y="368"/>
                  </a:lnTo>
                  <a:lnTo>
                    <a:pt x="209" y="363"/>
                  </a:lnTo>
                  <a:lnTo>
                    <a:pt x="214" y="357"/>
                  </a:lnTo>
                  <a:lnTo>
                    <a:pt x="219" y="352"/>
                  </a:lnTo>
                  <a:lnTo>
                    <a:pt x="223" y="346"/>
                  </a:lnTo>
                  <a:lnTo>
                    <a:pt x="225" y="339"/>
                  </a:lnTo>
                  <a:lnTo>
                    <a:pt x="228" y="332"/>
                  </a:lnTo>
                  <a:lnTo>
                    <a:pt x="230" y="324"/>
                  </a:lnTo>
                  <a:lnTo>
                    <a:pt x="232" y="316"/>
                  </a:lnTo>
                  <a:lnTo>
                    <a:pt x="232" y="309"/>
                  </a:lnTo>
                  <a:lnTo>
                    <a:pt x="232" y="117"/>
                  </a:lnTo>
                  <a:lnTo>
                    <a:pt x="232" y="117"/>
                  </a:lnTo>
                  <a:lnTo>
                    <a:pt x="232" y="110"/>
                  </a:lnTo>
                  <a:lnTo>
                    <a:pt x="230" y="102"/>
                  </a:lnTo>
                  <a:lnTo>
                    <a:pt x="228" y="94"/>
                  </a:lnTo>
                  <a:lnTo>
                    <a:pt x="225" y="87"/>
                  </a:lnTo>
                  <a:lnTo>
                    <a:pt x="223" y="80"/>
                  </a:lnTo>
                  <a:lnTo>
                    <a:pt x="219" y="74"/>
                  </a:lnTo>
                  <a:lnTo>
                    <a:pt x="214" y="69"/>
                  </a:lnTo>
                  <a:lnTo>
                    <a:pt x="209" y="63"/>
                  </a:lnTo>
                  <a:lnTo>
                    <a:pt x="203" y="58"/>
                  </a:lnTo>
                  <a:lnTo>
                    <a:pt x="198" y="53"/>
                  </a:lnTo>
                  <a:lnTo>
                    <a:pt x="192" y="49"/>
                  </a:lnTo>
                  <a:lnTo>
                    <a:pt x="185" y="47"/>
                  </a:lnTo>
                  <a:lnTo>
                    <a:pt x="178" y="44"/>
                  </a:lnTo>
                  <a:lnTo>
                    <a:pt x="170" y="42"/>
                  </a:lnTo>
                  <a:lnTo>
                    <a:pt x="163" y="41"/>
                  </a:lnTo>
                  <a:lnTo>
                    <a:pt x="155" y="41"/>
                  </a:lnTo>
                  <a:lnTo>
                    <a:pt x="15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1418768" y="4202543"/>
            <a:ext cx="1576602" cy="3265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ctr"/>
            <a:r>
              <a:rPr lang="en-US" sz="2000" b="1" dirty="0">
                <a:solidFill>
                  <a:prstClr val="white"/>
                </a:solidFill>
              </a:rPr>
              <a:t>Efficient</a:t>
            </a:r>
          </a:p>
        </p:txBody>
      </p:sp>
    </p:spTree>
    <p:extLst>
      <p:ext uri="{BB962C8B-B14F-4D97-AF65-F5344CB8AC3E}">
        <p14:creationId xmlns:p14="http://schemas.microsoft.com/office/powerpoint/2010/main" val="1979735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 Single Corner Rectangle 8"/>
          <p:cNvSpPr/>
          <p:nvPr/>
        </p:nvSpPr>
        <p:spPr>
          <a:xfrm rot="10800000">
            <a:off x="970384" y="3840480"/>
            <a:ext cx="2441785" cy="487326"/>
          </a:xfrm>
          <a:prstGeom prst="round1Rect">
            <a:avLst/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000" b="1" kern="1200" dirty="0"/>
          </a:p>
        </p:txBody>
      </p:sp>
      <p:sp>
        <p:nvSpPr>
          <p:cNvPr id="11" name="Round Diagonal Corner Rectangle 10"/>
          <p:cNvSpPr/>
          <p:nvPr/>
        </p:nvSpPr>
        <p:spPr>
          <a:xfrm flipH="1">
            <a:off x="3489829" y="3840480"/>
            <a:ext cx="2588594" cy="487326"/>
          </a:xfrm>
          <a:prstGeom prst="round2DiagRect">
            <a:avLst>
              <a:gd name="adj1" fmla="val 0"/>
              <a:gd name="adj2" fmla="val 0"/>
            </a:avLst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kern="1200" dirty="0" smtClean="0"/>
              <a:t>Emerging</a:t>
            </a:r>
            <a:endParaRPr lang="en-US" sz="2000" b="1" kern="1200" dirty="0"/>
          </a:p>
        </p:txBody>
      </p:sp>
      <p:sp>
        <p:nvSpPr>
          <p:cNvPr id="13" name="Round Diagonal Corner Rectangle 12"/>
          <p:cNvSpPr/>
          <p:nvPr/>
        </p:nvSpPr>
        <p:spPr>
          <a:xfrm flipH="1">
            <a:off x="6156081" y="3840480"/>
            <a:ext cx="2588594" cy="487326"/>
          </a:xfrm>
          <a:prstGeom prst="round2DiagRect">
            <a:avLst>
              <a:gd name="adj1" fmla="val 0"/>
              <a:gd name="adj2" fmla="val 0"/>
            </a:avLst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kern="1200" dirty="0" smtClean="0"/>
              <a:t>Research</a:t>
            </a:r>
            <a:endParaRPr lang="en-US" sz="2000" b="1" kern="1200" dirty="0"/>
          </a:p>
        </p:txBody>
      </p:sp>
      <p:sp>
        <p:nvSpPr>
          <p:cNvPr id="15" name="Round Single Corner Rectangle 14"/>
          <p:cNvSpPr/>
          <p:nvPr/>
        </p:nvSpPr>
        <p:spPr>
          <a:xfrm>
            <a:off x="8822335" y="3840480"/>
            <a:ext cx="2486368" cy="487326"/>
          </a:xfrm>
          <a:prstGeom prst="round1Rect">
            <a:avLst/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kern="1200" dirty="0" smtClean="0"/>
              <a:t>New</a:t>
            </a:r>
            <a:endParaRPr lang="en-US" sz="2000" b="1" kern="12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echnology</a:t>
            </a:r>
            <a:endParaRPr lang="hi-IN" dirty="0"/>
          </a:p>
        </p:txBody>
      </p:sp>
      <p:sp>
        <p:nvSpPr>
          <p:cNvPr id="17" name="Left-Right Arrow 16"/>
          <p:cNvSpPr/>
          <p:nvPr/>
        </p:nvSpPr>
        <p:spPr>
          <a:xfrm>
            <a:off x="668069" y="4327806"/>
            <a:ext cx="10911315" cy="480060"/>
          </a:xfrm>
          <a:prstGeom prst="left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TextBox 2"/>
          <p:cNvSpPr txBox="1"/>
          <p:nvPr/>
        </p:nvSpPr>
        <p:spPr>
          <a:xfrm>
            <a:off x="1393973" y="4757117"/>
            <a:ext cx="1447800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 smtClean="0"/>
              <a:t>Access control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945926" y="4757117"/>
            <a:ext cx="1676400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 smtClean="0"/>
              <a:t>Disk encrypt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31372" y="4757117"/>
            <a:ext cx="2238012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 smtClean="0"/>
              <a:t>Firmware protection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997627" y="4757117"/>
            <a:ext cx="2238012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 smtClean="0"/>
              <a:t>Hardware isolation</a:t>
            </a:r>
          </a:p>
        </p:txBody>
      </p:sp>
      <p:grpSp>
        <p:nvGrpSpPr>
          <p:cNvPr id="16" name="Group 4"/>
          <p:cNvGrpSpPr>
            <a:grpSpLocks noChangeAspect="1"/>
          </p:cNvGrpSpPr>
          <p:nvPr/>
        </p:nvGrpSpPr>
        <p:grpSpPr bwMode="auto">
          <a:xfrm>
            <a:off x="4081849" y="2416935"/>
            <a:ext cx="1404552" cy="1254292"/>
            <a:chOff x="4221" y="1152"/>
            <a:chExt cx="215" cy="192"/>
          </a:xfrm>
        </p:grpSpPr>
        <p:sp>
          <p:nvSpPr>
            <p:cNvPr id="18" name="Freeform 5"/>
            <p:cNvSpPr>
              <a:spLocks noEditPoints="1"/>
            </p:cNvSpPr>
            <p:nvPr/>
          </p:nvSpPr>
          <p:spPr bwMode="auto">
            <a:xfrm>
              <a:off x="4221" y="1196"/>
              <a:ext cx="200" cy="148"/>
            </a:xfrm>
            <a:custGeom>
              <a:avLst/>
              <a:gdLst>
                <a:gd name="T0" fmla="*/ 58 w 399"/>
                <a:gd name="T1" fmla="*/ 204 h 296"/>
                <a:gd name="T2" fmla="*/ 81 w 399"/>
                <a:gd name="T3" fmla="*/ 224 h 296"/>
                <a:gd name="T4" fmla="*/ 143 w 399"/>
                <a:gd name="T5" fmla="*/ 143 h 296"/>
                <a:gd name="T6" fmla="*/ 231 w 399"/>
                <a:gd name="T7" fmla="*/ 219 h 296"/>
                <a:gd name="T8" fmla="*/ 310 w 399"/>
                <a:gd name="T9" fmla="*/ 126 h 296"/>
                <a:gd name="T10" fmla="*/ 310 w 399"/>
                <a:gd name="T11" fmla="*/ 126 h 296"/>
                <a:gd name="T12" fmla="*/ 294 w 399"/>
                <a:gd name="T13" fmla="*/ 122 h 296"/>
                <a:gd name="T14" fmla="*/ 279 w 399"/>
                <a:gd name="T15" fmla="*/ 116 h 296"/>
                <a:gd name="T16" fmla="*/ 230 w 399"/>
                <a:gd name="T17" fmla="*/ 174 h 296"/>
                <a:gd name="T18" fmla="*/ 140 w 399"/>
                <a:gd name="T19" fmla="*/ 93 h 296"/>
                <a:gd name="T20" fmla="*/ 58 w 399"/>
                <a:gd name="T21" fmla="*/ 204 h 296"/>
                <a:gd name="T22" fmla="*/ 399 w 399"/>
                <a:gd name="T23" fmla="*/ 105 h 296"/>
                <a:gd name="T24" fmla="*/ 399 w 399"/>
                <a:gd name="T25" fmla="*/ 105 h 296"/>
                <a:gd name="T26" fmla="*/ 386 w 399"/>
                <a:gd name="T27" fmla="*/ 113 h 296"/>
                <a:gd name="T28" fmla="*/ 373 w 399"/>
                <a:gd name="T29" fmla="*/ 119 h 296"/>
                <a:gd name="T30" fmla="*/ 373 w 399"/>
                <a:gd name="T31" fmla="*/ 270 h 296"/>
                <a:gd name="T32" fmla="*/ 26 w 399"/>
                <a:gd name="T33" fmla="*/ 270 h 296"/>
                <a:gd name="T34" fmla="*/ 26 w 399"/>
                <a:gd name="T35" fmla="*/ 25 h 296"/>
                <a:gd name="T36" fmla="*/ 214 w 399"/>
                <a:gd name="T37" fmla="*/ 25 h 296"/>
                <a:gd name="T38" fmla="*/ 214 w 399"/>
                <a:gd name="T39" fmla="*/ 25 h 296"/>
                <a:gd name="T40" fmla="*/ 213 w 399"/>
                <a:gd name="T41" fmla="*/ 10 h 296"/>
                <a:gd name="T42" fmla="*/ 213 w 399"/>
                <a:gd name="T43" fmla="*/ 10 h 296"/>
                <a:gd name="T44" fmla="*/ 213 w 399"/>
                <a:gd name="T45" fmla="*/ 0 h 296"/>
                <a:gd name="T46" fmla="*/ 0 w 399"/>
                <a:gd name="T47" fmla="*/ 0 h 296"/>
                <a:gd name="T48" fmla="*/ 0 w 399"/>
                <a:gd name="T49" fmla="*/ 270 h 296"/>
                <a:gd name="T50" fmla="*/ 0 w 399"/>
                <a:gd name="T51" fmla="*/ 270 h 296"/>
                <a:gd name="T52" fmla="*/ 0 w 399"/>
                <a:gd name="T53" fmla="*/ 275 h 296"/>
                <a:gd name="T54" fmla="*/ 3 w 399"/>
                <a:gd name="T55" fmla="*/ 280 h 296"/>
                <a:gd name="T56" fmla="*/ 5 w 399"/>
                <a:gd name="T57" fmla="*/ 284 h 296"/>
                <a:gd name="T58" fmla="*/ 8 w 399"/>
                <a:gd name="T59" fmla="*/ 288 h 296"/>
                <a:gd name="T60" fmla="*/ 11 w 399"/>
                <a:gd name="T61" fmla="*/ 291 h 296"/>
                <a:gd name="T62" fmla="*/ 16 w 399"/>
                <a:gd name="T63" fmla="*/ 294 h 296"/>
                <a:gd name="T64" fmla="*/ 21 w 399"/>
                <a:gd name="T65" fmla="*/ 295 h 296"/>
                <a:gd name="T66" fmla="*/ 26 w 399"/>
                <a:gd name="T67" fmla="*/ 296 h 296"/>
                <a:gd name="T68" fmla="*/ 399 w 399"/>
                <a:gd name="T69" fmla="*/ 296 h 296"/>
                <a:gd name="T70" fmla="*/ 399 w 399"/>
                <a:gd name="T71" fmla="*/ 105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9" h="296">
                  <a:moveTo>
                    <a:pt x="58" y="204"/>
                  </a:moveTo>
                  <a:lnTo>
                    <a:pt x="81" y="224"/>
                  </a:lnTo>
                  <a:lnTo>
                    <a:pt x="143" y="143"/>
                  </a:lnTo>
                  <a:lnTo>
                    <a:pt x="231" y="219"/>
                  </a:lnTo>
                  <a:lnTo>
                    <a:pt x="310" y="126"/>
                  </a:lnTo>
                  <a:lnTo>
                    <a:pt x="310" y="126"/>
                  </a:lnTo>
                  <a:lnTo>
                    <a:pt x="294" y="122"/>
                  </a:lnTo>
                  <a:lnTo>
                    <a:pt x="279" y="116"/>
                  </a:lnTo>
                  <a:lnTo>
                    <a:pt x="230" y="174"/>
                  </a:lnTo>
                  <a:lnTo>
                    <a:pt x="140" y="93"/>
                  </a:lnTo>
                  <a:lnTo>
                    <a:pt x="58" y="204"/>
                  </a:lnTo>
                  <a:close/>
                  <a:moveTo>
                    <a:pt x="399" y="105"/>
                  </a:moveTo>
                  <a:lnTo>
                    <a:pt x="399" y="105"/>
                  </a:lnTo>
                  <a:lnTo>
                    <a:pt x="386" y="113"/>
                  </a:lnTo>
                  <a:lnTo>
                    <a:pt x="373" y="119"/>
                  </a:lnTo>
                  <a:lnTo>
                    <a:pt x="373" y="270"/>
                  </a:lnTo>
                  <a:lnTo>
                    <a:pt x="26" y="270"/>
                  </a:lnTo>
                  <a:lnTo>
                    <a:pt x="26" y="25"/>
                  </a:lnTo>
                  <a:lnTo>
                    <a:pt x="214" y="25"/>
                  </a:lnTo>
                  <a:lnTo>
                    <a:pt x="214" y="25"/>
                  </a:lnTo>
                  <a:lnTo>
                    <a:pt x="213" y="10"/>
                  </a:lnTo>
                  <a:lnTo>
                    <a:pt x="213" y="10"/>
                  </a:lnTo>
                  <a:lnTo>
                    <a:pt x="213" y="0"/>
                  </a:lnTo>
                  <a:lnTo>
                    <a:pt x="0" y="0"/>
                  </a:lnTo>
                  <a:lnTo>
                    <a:pt x="0" y="270"/>
                  </a:lnTo>
                  <a:lnTo>
                    <a:pt x="0" y="270"/>
                  </a:lnTo>
                  <a:lnTo>
                    <a:pt x="0" y="275"/>
                  </a:lnTo>
                  <a:lnTo>
                    <a:pt x="3" y="280"/>
                  </a:lnTo>
                  <a:lnTo>
                    <a:pt x="5" y="284"/>
                  </a:lnTo>
                  <a:lnTo>
                    <a:pt x="8" y="288"/>
                  </a:lnTo>
                  <a:lnTo>
                    <a:pt x="11" y="291"/>
                  </a:lnTo>
                  <a:lnTo>
                    <a:pt x="16" y="294"/>
                  </a:lnTo>
                  <a:lnTo>
                    <a:pt x="21" y="295"/>
                  </a:lnTo>
                  <a:lnTo>
                    <a:pt x="26" y="296"/>
                  </a:lnTo>
                  <a:lnTo>
                    <a:pt x="399" y="296"/>
                  </a:lnTo>
                  <a:lnTo>
                    <a:pt x="399" y="105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/>
            <p:cNvSpPr>
              <a:spLocks noEditPoints="1"/>
            </p:cNvSpPr>
            <p:nvPr/>
          </p:nvSpPr>
          <p:spPr bwMode="auto">
            <a:xfrm>
              <a:off x="4336" y="1152"/>
              <a:ext cx="100" cy="100"/>
            </a:xfrm>
            <a:custGeom>
              <a:avLst/>
              <a:gdLst>
                <a:gd name="T0" fmla="*/ 99 w 200"/>
                <a:gd name="T1" fmla="*/ 0 h 201"/>
                <a:gd name="T2" fmla="*/ 80 w 200"/>
                <a:gd name="T3" fmla="*/ 2 h 201"/>
                <a:gd name="T4" fmla="*/ 60 w 200"/>
                <a:gd name="T5" fmla="*/ 9 h 201"/>
                <a:gd name="T6" fmla="*/ 44 w 200"/>
                <a:gd name="T7" fmla="*/ 17 h 201"/>
                <a:gd name="T8" fmla="*/ 29 w 200"/>
                <a:gd name="T9" fmla="*/ 30 h 201"/>
                <a:gd name="T10" fmla="*/ 17 w 200"/>
                <a:gd name="T11" fmla="*/ 44 h 201"/>
                <a:gd name="T12" fmla="*/ 8 w 200"/>
                <a:gd name="T13" fmla="*/ 61 h 201"/>
                <a:gd name="T14" fmla="*/ 2 w 200"/>
                <a:gd name="T15" fmla="*/ 80 h 201"/>
                <a:gd name="T16" fmla="*/ 0 w 200"/>
                <a:gd name="T17" fmla="*/ 100 h 201"/>
                <a:gd name="T18" fmla="*/ 0 w 200"/>
                <a:gd name="T19" fmla="*/ 111 h 201"/>
                <a:gd name="T20" fmla="*/ 4 w 200"/>
                <a:gd name="T21" fmla="*/ 130 h 201"/>
                <a:gd name="T22" fmla="*/ 12 w 200"/>
                <a:gd name="T23" fmla="*/ 148 h 201"/>
                <a:gd name="T24" fmla="*/ 23 w 200"/>
                <a:gd name="T25" fmla="*/ 164 h 201"/>
                <a:gd name="T26" fmla="*/ 37 w 200"/>
                <a:gd name="T27" fmla="*/ 178 h 201"/>
                <a:gd name="T28" fmla="*/ 52 w 200"/>
                <a:gd name="T29" fmla="*/ 189 h 201"/>
                <a:gd name="T30" fmla="*/ 70 w 200"/>
                <a:gd name="T31" fmla="*/ 196 h 201"/>
                <a:gd name="T32" fmla="*/ 90 w 200"/>
                <a:gd name="T33" fmla="*/ 199 h 201"/>
                <a:gd name="T34" fmla="*/ 99 w 200"/>
                <a:gd name="T35" fmla="*/ 201 h 201"/>
                <a:gd name="T36" fmla="*/ 120 w 200"/>
                <a:gd name="T37" fmla="*/ 198 h 201"/>
                <a:gd name="T38" fmla="*/ 139 w 200"/>
                <a:gd name="T39" fmla="*/ 192 h 201"/>
                <a:gd name="T40" fmla="*/ 155 w 200"/>
                <a:gd name="T41" fmla="*/ 183 h 201"/>
                <a:gd name="T42" fmla="*/ 170 w 200"/>
                <a:gd name="T43" fmla="*/ 171 h 201"/>
                <a:gd name="T44" fmla="*/ 182 w 200"/>
                <a:gd name="T45" fmla="*/ 156 h 201"/>
                <a:gd name="T46" fmla="*/ 192 w 200"/>
                <a:gd name="T47" fmla="*/ 139 h 201"/>
                <a:gd name="T48" fmla="*/ 197 w 200"/>
                <a:gd name="T49" fmla="*/ 121 h 201"/>
                <a:gd name="T50" fmla="*/ 200 w 200"/>
                <a:gd name="T51" fmla="*/ 100 h 201"/>
                <a:gd name="T52" fmla="*/ 200 w 200"/>
                <a:gd name="T53" fmla="*/ 91 h 201"/>
                <a:gd name="T54" fmla="*/ 195 w 200"/>
                <a:gd name="T55" fmla="*/ 71 h 201"/>
                <a:gd name="T56" fmla="*/ 188 w 200"/>
                <a:gd name="T57" fmla="*/ 53 h 201"/>
                <a:gd name="T58" fmla="*/ 177 w 200"/>
                <a:gd name="T59" fmla="*/ 37 h 201"/>
                <a:gd name="T60" fmla="*/ 163 w 200"/>
                <a:gd name="T61" fmla="*/ 24 h 201"/>
                <a:gd name="T62" fmla="*/ 148 w 200"/>
                <a:gd name="T63" fmla="*/ 13 h 201"/>
                <a:gd name="T64" fmla="*/ 129 w 200"/>
                <a:gd name="T65" fmla="*/ 5 h 201"/>
                <a:gd name="T66" fmla="*/ 110 w 200"/>
                <a:gd name="T67" fmla="*/ 1 h 201"/>
                <a:gd name="T68" fmla="*/ 99 w 200"/>
                <a:gd name="T69" fmla="*/ 0 h 201"/>
                <a:gd name="T70" fmla="*/ 99 w 200"/>
                <a:gd name="T71" fmla="*/ 136 h 201"/>
                <a:gd name="T72" fmla="*/ 66 w 200"/>
                <a:gd name="T73" fmla="*/ 111 h 201"/>
                <a:gd name="T74" fmla="*/ 79 w 200"/>
                <a:gd name="T75" fmla="*/ 72 h 201"/>
                <a:gd name="T76" fmla="*/ 121 w 200"/>
                <a:gd name="T77" fmla="*/ 72 h 201"/>
                <a:gd name="T78" fmla="*/ 134 w 200"/>
                <a:gd name="T79" fmla="*/ 11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0" h="201">
                  <a:moveTo>
                    <a:pt x="99" y="0"/>
                  </a:moveTo>
                  <a:lnTo>
                    <a:pt x="99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0" y="9"/>
                  </a:lnTo>
                  <a:lnTo>
                    <a:pt x="52" y="13"/>
                  </a:lnTo>
                  <a:lnTo>
                    <a:pt x="44" y="17"/>
                  </a:lnTo>
                  <a:lnTo>
                    <a:pt x="37" y="24"/>
                  </a:lnTo>
                  <a:lnTo>
                    <a:pt x="29" y="30"/>
                  </a:lnTo>
                  <a:lnTo>
                    <a:pt x="23" y="37"/>
                  </a:lnTo>
                  <a:lnTo>
                    <a:pt x="17" y="44"/>
                  </a:lnTo>
                  <a:lnTo>
                    <a:pt x="12" y="53"/>
                  </a:lnTo>
                  <a:lnTo>
                    <a:pt x="8" y="61"/>
                  </a:lnTo>
                  <a:lnTo>
                    <a:pt x="4" y="71"/>
                  </a:lnTo>
                  <a:lnTo>
                    <a:pt x="2" y="80"/>
                  </a:lnTo>
                  <a:lnTo>
                    <a:pt x="0" y="91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111"/>
                  </a:lnTo>
                  <a:lnTo>
                    <a:pt x="2" y="121"/>
                  </a:lnTo>
                  <a:lnTo>
                    <a:pt x="4" y="130"/>
                  </a:lnTo>
                  <a:lnTo>
                    <a:pt x="8" y="139"/>
                  </a:lnTo>
                  <a:lnTo>
                    <a:pt x="12" y="148"/>
                  </a:lnTo>
                  <a:lnTo>
                    <a:pt x="17" y="156"/>
                  </a:lnTo>
                  <a:lnTo>
                    <a:pt x="23" y="164"/>
                  </a:lnTo>
                  <a:lnTo>
                    <a:pt x="29" y="171"/>
                  </a:lnTo>
                  <a:lnTo>
                    <a:pt x="37" y="178"/>
                  </a:lnTo>
                  <a:lnTo>
                    <a:pt x="44" y="183"/>
                  </a:lnTo>
                  <a:lnTo>
                    <a:pt x="52" y="189"/>
                  </a:lnTo>
                  <a:lnTo>
                    <a:pt x="60" y="192"/>
                  </a:lnTo>
                  <a:lnTo>
                    <a:pt x="70" y="196"/>
                  </a:lnTo>
                  <a:lnTo>
                    <a:pt x="80" y="198"/>
                  </a:lnTo>
                  <a:lnTo>
                    <a:pt x="90" y="199"/>
                  </a:lnTo>
                  <a:lnTo>
                    <a:pt x="99" y="201"/>
                  </a:lnTo>
                  <a:lnTo>
                    <a:pt x="99" y="201"/>
                  </a:lnTo>
                  <a:lnTo>
                    <a:pt x="110" y="199"/>
                  </a:lnTo>
                  <a:lnTo>
                    <a:pt x="120" y="198"/>
                  </a:lnTo>
                  <a:lnTo>
                    <a:pt x="129" y="196"/>
                  </a:lnTo>
                  <a:lnTo>
                    <a:pt x="139" y="192"/>
                  </a:lnTo>
                  <a:lnTo>
                    <a:pt x="148" y="189"/>
                  </a:lnTo>
                  <a:lnTo>
                    <a:pt x="155" y="183"/>
                  </a:lnTo>
                  <a:lnTo>
                    <a:pt x="163" y="178"/>
                  </a:lnTo>
                  <a:lnTo>
                    <a:pt x="170" y="171"/>
                  </a:lnTo>
                  <a:lnTo>
                    <a:pt x="177" y="164"/>
                  </a:lnTo>
                  <a:lnTo>
                    <a:pt x="182" y="156"/>
                  </a:lnTo>
                  <a:lnTo>
                    <a:pt x="188" y="148"/>
                  </a:lnTo>
                  <a:lnTo>
                    <a:pt x="192" y="139"/>
                  </a:lnTo>
                  <a:lnTo>
                    <a:pt x="195" y="130"/>
                  </a:lnTo>
                  <a:lnTo>
                    <a:pt x="197" y="121"/>
                  </a:lnTo>
                  <a:lnTo>
                    <a:pt x="200" y="111"/>
                  </a:lnTo>
                  <a:lnTo>
                    <a:pt x="200" y="100"/>
                  </a:lnTo>
                  <a:lnTo>
                    <a:pt x="200" y="100"/>
                  </a:lnTo>
                  <a:lnTo>
                    <a:pt x="200" y="91"/>
                  </a:lnTo>
                  <a:lnTo>
                    <a:pt x="197" y="80"/>
                  </a:lnTo>
                  <a:lnTo>
                    <a:pt x="195" y="71"/>
                  </a:lnTo>
                  <a:lnTo>
                    <a:pt x="192" y="61"/>
                  </a:lnTo>
                  <a:lnTo>
                    <a:pt x="188" y="53"/>
                  </a:lnTo>
                  <a:lnTo>
                    <a:pt x="182" y="44"/>
                  </a:lnTo>
                  <a:lnTo>
                    <a:pt x="177" y="37"/>
                  </a:lnTo>
                  <a:lnTo>
                    <a:pt x="170" y="30"/>
                  </a:lnTo>
                  <a:lnTo>
                    <a:pt x="163" y="24"/>
                  </a:lnTo>
                  <a:lnTo>
                    <a:pt x="155" y="17"/>
                  </a:lnTo>
                  <a:lnTo>
                    <a:pt x="148" y="13"/>
                  </a:lnTo>
                  <a:lnTo>
                    <a:pt x="139" y="9"/>
                  </a:lnTo>
                  <a:lnTo>
                    <a:pt x="129" y="5"/>
                  </a:lnTo>
                  <a:lnTo>
                    <a:pt x="120" y="2"/>
                  </a:lnTo>
                  <a:lnTo>
                    <a:pt x="110" y="1"/>
                  </a:lnTo>
                  <a:lnTo>
                    <a:pt x="99" y="0"/>
                  </a:lnTo>
                  <a:lnTo>
                    <a:pt x="99" y="0"/>
                  </a:lnTo>
                  <a:close/>
                  <a:moveTo>
                    <a:pt x="141" y="157"/>
                  </a:moveTo>
                  <a:lnTo>
                    <a:pt x="99" y="136"/>
                  </a:lnTo>
                  <a:lnTo>
                    <a:pt x="58" y="157"/>
                  </a:lnTo>
                  <a:lnTo>
                    <a:pt x="66" y="111"/>
                  </a:lnTo>
                  <a:lnTo>
                    <a:pt x="32" y="79"/>
                  </a:lnTo>
                  <a:lnTo>
                    <a:pt x="79" y="72"/>
                  </a:lnTo>
                  <a:lnTo>
                    <a:pt x="99" y="30"/>
                  </a:lnTo>
                  <a:lnTo>
                    <a:pt x="121" y="72"/>
                  </a:lnTo>
                  <a:lnTo>
                    <a:pt x="167" y="79"/>
                  </a:lnTo>
                  <a:lnTo>
                    <a:pt x="134" y="111"/>
                  </a:lnTo>
                  <a:lnTo>
                    <a:pt x="141" y="157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" name="Freeform 12"/>
          <p:cNvSpPr>
            <a:spLocks noEditPoints="1"/>
          </p:cNvSpPr>
          <p:nvPr/>
        </p:nvSpPr>
        <p:spPr bwMode="auto">
          <a:xfrm>
            <a:off x="6890231" y="2486543"/>
            <a:ext cx="1120294" cy="1115076"/>
          </a:xfrm>
          <a:custGeom>
            <a:avLst/>
            <a:gdLst>
              <a:gd name="T0" fmla="*/ 239 w 430"/>
              <a:gd name="T1" fmla="*/ 299 h 426"/>
              <a:gd name="T2" fmla="*/ 219 w 430"/>
              <a:gd name="T3" fmla="*/ 309 h 426"/>
              <a:gd name="T4" fmla="*/ 189 w 430"/>
              <a:gd name="T5" fmla="*/ 319 h 426"/>
              <a:gd name="T6" fmla="*/ 159 w 430"/>
              <a:gd name="T7" fmla="*/ 322 h 426"/>
              <a:gd name="T8" fmla="*/ 127 w 430"/>
              <a:gd name="T9" fmla="*/ 319 h 426"/>
              <a:gd name="T10" fmla="*/ 83 w 430"/>
              <a:gd name="T11" fmla="*/ 302 h 426"/>
              <a:gd name="T12" fmla="*/ 47 w 430"/>
              <a:gd name="T13" fmla="*/ 274 h 426"/>
              <a:gd name="T14" fmla="*/ 19 w 430"/>
              <a:gd name="T15" fmla="*/ 237 h 426"/>
              <a:gd name="T16" fmla="*/ 4 w 430"/>
              <a:gd name="T17" fmla="*/ 193 h 426"/>
              <a:gd name="T18" fmla="*/ 0 w 430"/>
              <a:gd name="T19" fmla="*/ 160 h 426"/>
              <a:gd name="T20" fmla="*/ 7 w 430"/>
              <a:gd name="T21" fmla="*/ 113 h 426"/>
              <a:gd name="T22" fmla="*/ 27 w 430"/>
              <a:gd name="T23" fmla="*/ 71 h 426"/>
              <a:gd name="T24" fmla="*/ 58 w 430"/>
              <a:gd name="T25" fmla="*/ 36 h 426"/>
              <a:gd name="T26" fmla="*/ 96 w 430"/>
              <a:gd name="T27" fmla="*/ 13 h 426"/>
              <a:gd name="T28" fmla="*/ 143 w 430"/>
              <a:gd name="T29" fmla="*/ 1 h 426"/>
              <a:gd name="T30" fmla="*/ 175 w 430"/>
              <a:gd name="T31" fmla="*/ 1 h 426"/>
              <a:gd name="T32" fmla="*/ 220 w 430"/>
              <a:gd name="T33" fmla="*/ 13 h 426"/>
              <a:gd name="T34" fmla="*/ 259 w 430"/>
              <a:gd name="T35" fmla="*/ 36 h 426"/>
              <a:gd name="T36" fmla="*/ 289 w 430"/>
              <a:gd name="T37" fmla="*/ 71 h 426"/>
              <a:gd name="T38" fmla="*/ 310 w 430"/>
              <a:gd name="T39" fmla="*/ 113 h 426"/>
              <a:gd name="T40" fmla="*/ 316 w 430"/>
              <a:gd name="T41" fmla="*/ 160 h 426"/>
              <a:gd name="T42" fmla="*/ 315 w 430"/>
              <a:gd name="T43" fmla="*/ 182 h 426"/>
              <a:gd name="T44" fmla="*/ 308 w 430"/>
              <a:gd name="T45" fmla="*/ 213 h 426"/>
              <a:gd name="T46" fmla="*/ 295 w 430"/>
              <a:gd name="T47" fmla="*/ 242 h 426"/>
              <a:gd name="T48" fmla="*/ 397 w 430"/>
              <a:gd name="T49" fmla="*/ 419 h 426"/>
              <a:gd name="T50" fmla="*/ 390 w 430"/>
              <a:gd name="T51" fmla="*/ 424 h 426"/>
              <a:gd name="T52" fmla="*/ 380 w 430"/>
              <a:gd name="T53" fmla="*/ 426 h 426"/>
              <a:gd name="T54" fmla="*/ 366 w 430"/>
              <a:gd name="T55" fmla="*/ 422 h 426"/>
              <a:gd name="T56" fmla="*/ 45 w 430"/>
              <a:gd name="T57" fmla="*/ 160 h 426"/>
              <a:gd name="T58" fmla="*/ 47 w 430"/>
              <a:gd name="T59" fmla="*/ 184 h 426"/>
              <a:gd name="T60" fmla="*/ 58 w 430"/>
              <a:gd name="T61" fmla="*/ 216 h 426"/>
              <a:gd name="T62" fmla="*/ 78 w 430"/>
              <a:gd name="T63" fmla="*/ 243 h 426"/>
              <a:gd name="T64" fmla="*/ 104 w 430"/>
              <a:gd name="T65" fmla="*/ 263 h 426"/>
              <a:gd name="T66" fmla="*/ 135 w 430"/>
              <a:gd name="T67" fmla="*/ 274 h 426"/>
              <a:gd name="T68" fmla="*/ 159 w 430"/>
              <a:gd name="T69" fmla="*/ 277 h 426"/>
              <a:gd name="T70" fmla="*/ 191 w 430"/>
              <a:gd name="T71" fmla="*/ 271 h 426"/>
              <a:gd name="T72" fmla="*/ 212 w 430"/>
              <a:gd name="T73" fmla="*/ 263 h 426"/>
              <a:gd name="T74" fmla="*/ 239 w 430"/>
              <a:gd name="T75" fmla="*/ 243 h 426"/>
              <a:gd name="T76" fmla="*/ 259 w 430"/>
              <a:gd name="T77" fmla="*/ 216 h 426"/>
              <a:gd name="T78" fmla="*/ 268 w 430"/>
              <a:gd name="T79" fmla="*/ 195 h 426"/>
              <a:gd name="T80" fmla="*/ 272 w 430"/>
              <a:gd name="T81" fmla="*/ 160 h 426"/>
              <a:gd name="T82" fmla="*/ 270 w 430"/>
              <a:gd name="T83" fmla="*/ 138 h 426"/>
              <a:gd name="T84" fmla="*/ 259 w 430"/>
              <a:gd name="T85" fmla="*/ 105 h 426"/>
              <a:gd name="T86" fmla="*/ 239 w 430"/>
              <a:gd name="T87" fmla="*/ 78 h 426"/>
              <a:gd name="T88" fmla="*/ 213 w 430"/>
              <a:gd name="T89" fmla="*/ 59 h 426"/>
              <a:gd name="T90" fmla="*/ 182 w 430"/>
              <a:gd name="T91" fmla="*/ 47 h 426"/>
              <a:gd name="T92" fmla="*/ 159 w 430"/>
              <a:gd name="T93" fmla="*/ 45 h 426"/>
              <a:gd name="T94" fmla="*/ 124 w 430"/>
              <a:gd name="T95" fmla="*/ 50 h 426"/>
              <a:gd name="T96" fmla="*/ 94 w 430"/>
              <a:gd name="T97" fmla="*/ 64 h 426"/>
              <a:gd name="T98" fmla="*/ 71 w 430"/>
              <a:gd name="T99" fmla="*/ 87 h 426"/>
              <a:gd name="T100" fmla="*/ 53 w 430"/>
              <a:gd name="T101" fmla="*/ 116 h 426"/>
              <a:gd name="T102" fmla="*/ 45 w 430"/>
              <a:gd name="T103" fmla="*/ 148 h 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30" h="426">
                <a:moveTo>
                  <a:pt x="362" y="419"/>
                </a:moveTo>
                <a:lnTo>
                  <a:pt x="242" y="297"/>
                </a:lnTo>
                <a:lnTo>
                  <a:pt x="239" y="299"/>
                </a:lnTo>
                <a:lnTo>
                  <a:pt x="239" y="299"/>
                </a:lnTo>
                <a:lnTo>
                  <a:pt x="229" y="305"/>
                </a:lnTo>
                <a:lnTo>
                  <a:pt x="219" y="309"/>
                </a:lnTo>
                <a:lnTo>
                  <a:pt x="210" y="312"/>
                </a:lnTo>
                <a:lnTo>
                  <a:pt x="200" y="315"/>
                </a:lnTo>
                <a:lnTo>
                  <a:pt x="189" y="319"/>
                </a:lnTo>
                <a:lnTo>
                  <a:pt x="179" y="320"/>
                </a:lnTo>
                <a:lnTo>
                  <a:pt x="169" y="321"/>
                </a:lnTo>
                <a:lnTo>
                  <a:pt x="159" y="322"/>
                </a:lnTo>
                <a:lnTo>
                  <a:pt x="159" y="322"/>
                </a:lnTo>
                <a:lnTo>
                  <a:pt x="143" y="321"/>
                </a:lnTo>
                <a:lnTo>
                  <a:pt x="127" y="319"/>
                </a:lnTo>
                <a:lnTo>
                  <a:pt x="112" y="314"/>
                </a:lnTo>
                <a:lnTo>
                  <a:pt x="96" y="309"/>
                </a:lnTo>
                <a:lnTo>
                  <a:pt x="83" y="302"/>
                </a:lnTo>
                <a:lnTo>
                  <a:pt x="69" y="294"/>
                </a:lnTo>
                <a:lnTo>
                  <a:pt x="58" y="285"/>
                </a:lnTo>
                <a:lnTo>
                  <a:pt x="47" y="274"/>
                </a:lnTo>
                <a:lnTo>
                  <a:pt x="36" y="263"/>
                </a:lnTo>
                <a:lnTo>
                  <a:pt x="27" y="251"/>
                </a:lnTo>
                <a:lnTo>
                  <a:pt x="19" y="237"/>
                </a:lnTo>
                <a:lnTo>
                  <a:pt x="12" y="223"/>
                </a:lnTo>
                <a:lnTo>
                  <a:pt x="7" y="209"/>
                </a:lnTo>
                <a:lnTo>
                  <a:pt x="4" y="193"/>
                </a:lnTo>
                <a:lnTo>
                  <a:pt x="0" y="177"/>
                </a:lnTo>
                <a:lnTo>
                  <a:pt x="0" y="160"/>
                </a:lnTo>
                <a:lnTo>
                  <a:pt x="0" y="160"/>
                </a:lnTo>
                <a:lnTo>
                  <a:pt x="0" y="144"/>
                </a:lnTo>
                <a:lnTo>
                  <a:pt x="4" y="128"/>
                </a:lnTo>
                <a:lnTo>
                  <a:pt x="7" y="113"/>
                </a:lnTo>
                <a:lnTo>
                  <a:pt x="12" y="98"/>
                </a:lnTo>
                <a:lnTo>
                  <a:pt x="19" y="84"/>
                </a:lnTo>
                <a:lnTo>
                  <a:pt x="27" y="71"/>
                </a:lnTo>
                <a:lnTo>
                  <a:pt x="36" y="59"/>
                </a:lnTo>
                <a:lnTo>
                  <a:pt x="47" y="47"/>
                </a:lnTo>
                <a:lnTo>
                  <a:pt x="58" y="36"/>
                </a:lnTo>
                <a:lnTo>
                  <a:pt x="69" y="28"/>
                </a:lnTo>
                <a:lnTo>
                  <a:pt x="83" y="19"/>
                </a:lnTo>
                <a:lnTo>
                  <a:pt x="96" y="13"/>
                </a:lnTo>
                <a:lnTo>
                  <a:pt x="112" y="7"/>
                </a:lnTo>
                <a:lnTo>
                  <a:pt x="127" y="3"/>
                </a:lnTo>
                <a:lnTo>
                  <a:pt x="143" y="1"/>
                </a:lnTo>
                <a:lnTo>
                  <a:pt x="159" y="0"/>
                </a:lnTo>
                <a:lnTo>
                  <a:pt x="159" y="0"/>
                </a:lnTo>
                <a:lnTo>
                  <a:pt x="175" y="1"/>
                </a:lnTo>
                <a:lnTo>
                  <a:pt x="190" y="3"/>
                </a:lnTo>
                <a:lnTo>
                  <a:pt x="205" y="7"/>
                </a:lnTo>
                <a:lnTo>
                  <a:pt x="220" y="13"/>
                </a:lnTo>
                <a:lnTo>
                  <a:pt x="233" y="19"/>
                </a:lnTo>
                <a:lnTo>
                  <a:pt x="247" y="28"/>
                </a:lnTo>
                <a:lnTo>
                  <a:pt x="259" y="36"/>
                </a:lnTo>
                <a:lnTo>
                  <a:pt x="270" y="47"/>
                </a:lnTo>
                <a:lnTo>
                  <a:pt x="281" y="59"/>
                </a:lnTo>
                <a:lnTo>
                  <a:pt x="289" y="71"/>
                </a:lnTo>
                <a:lnTo>
                  <a:pt x="298" y="84"/>
                </a:lnTo>
                <a:lnTo>
                  <a:pt x="304" y="98"/>
                </a:lnTo>
                <a:lnTo>
                  <a:pt x="310" y="113"/>
                </a:lnTo>
                <a:lnTo>
                  <a:pt x="313" y="128"/>
                </a:lnTo>
                <a:lnTo>
                  <a:pt x="316" y="144"/>
                </a:lnTo>
                <a:lnTo>
                  <a:pt x="316" y="160"/>
                </a:lnTo>
                <a:lnTo>
                  <a:pt x="316" y="160"/>
                </a:lnTo>
                <a:lnTo>
                  <a:pt x="316" y="171"/>
                </a:lnTo>
                <a:lnTo>
                  <a:pt x="315" y="182"/>
                </a:lnTo>
                <a:lnTo>
                  <a:pt x="313" y="193"/>
                </a:lnTo>
                <a:lnTo>
                  <a:pt x="311" y="203"/>
                </a:lnTo>
                <a:lnTo>
                  <a:pt x="308" y="213"/>
                </a:lnTo>
                <a:lnTo>
                  <a:pt x="304" y="223"/>
                </a:lnTo>
                <a:lnTo>
                  <a:pt x="300" y="232"/>
                </a:lnTo>
                <a:lnTo>
                  <a:pt x="295" y="242"/>
                </a:lnTo>
                <a:lnTo>
                  <a:pt x="293" y="246"/>
                </a:lnTo>
                <a:lnTo>
                  <a:pt x="430" y="385"/>
                </a:lnTo>
                <a:lnTo>
                  <a:pt x="397" y="419"/>
                </a:lnTo>
                <a:lnTo>
                  <a:pt x="397" y="419"/>
                </a:lnTo>
                <a:lnTo>
                  <a:pt x="394" y="422"/>
                </a:lnTo>
                <a:lnTo>
                  <a:pt x="390" y="424"/>
                </a:lnTo>
                <a:lnTo>
                  <a:pt x="384" y="425"/>
                </a:lnTo>
                <a:lnTo>
                  <a:pt x="380" y="426"/>
                </a:lnTo>
                <a:lnTo>
                  <a:pt x="380" y="426"/>
                </a:lnTo>
                <a:lnTo>
                  <a:pt x="375" y="425"/>
                </a:lnTo>
                <a:lnTo>
                  <a:pt x="370" y="424"/>
                </a:lnTo>
                <a:lnTo>
                  <a:pt x="366" y="422"/>
                </a:lnTo>
                <a:lnTo>
                  <a:pt x="362" y="419"/>
                </a:lnTo>
                <a:lnTo>
                  <a:pt x="362" y="419"/>
                </a:lnTo>
                <a:close/>
                <a:moveTo>
                  <a:pt x="45" y="160"/>
                </a:moveTo>
                <a:lnTo>
                  <a:pt x="45" y="160"/>
                </a:lnTo>
                <a:lnTo>
                  <a:pt x="45" y="172"/>
                </a:lnTo>
                <a:lnTo>
                  <a:pt x="47" y="184"/>
                </a:lnTo>
                <a:lnTo>
                  <a:pt x="49" y="195"/>
                </a:lnTo>
                <a:lnTo>
                  <a:pt x="53" y="205"/>
                </a:lnTo>
                <a:lnTo>
                  <a:pt x="58" y="216"/>
                </a:lnTo>
                <a:lnTo>
                  <a:pt x="64" y="226"/>
                </a:lnTo>
                <a:lnTo>
                  <a:pt x="71" y="235"/>
                </a:lnTo>
                <a:lnTo>
                  <a:pt x="78" y="243"/>
                </a:lnTo>
                <a:lnTo>
                  <a:pt x="86" y="250"/>
                </a:lnTo>
                <a:lnTo>
                  <a:pt x="94" y="257"/>
                </a:lnTo>
                <a:lnTo>
                  <a:pt x="104" y="263"/>
                </a:lnTo>
                <a:lnTo>
                  <a:pt x="114" y="268"/>
                </a:lnTo>
                <a:lnTo>
                  <a:pt x="124" y="271"/>
                </a:lnTo>
                <a:lnTo>
                  <a:pt x="135" y="274"/>
                </a:lnTo>
                <a:lnTo>
                  <a:pt x="147" y="277"/>
                </a:lnTo>
                <a:lnTo>
                  <a:pt x="159" y="277"/>
                </a:lnTo>
                <a:lnTo>
                  <a:pt x="159" y="277"/>
                </a:lnTo>
                <a:lnTo>
                  <a:pt x="170" y="277"/>
                </a:lnTo>
                <a:lnTo>
                  <a:pt x="181" y="274"/>
                </a:lnTo>
                <a:lnTo>
                  <a:pt x="191" y="271"/>
                </a:lnTo>
                <a:lnTo>
                  <a:pt x="202" y="268"/>
                </a:lnTo>
                <a:lnTo>
                  <a:pt x="202" y="268"/>
                </a:lnTo>
                <a:lnTo>
                  <a:pt x="212" y="263"/>
                </a:lnTo>
                <a:lnTo>
                  <a:pt x="221" y="257"/>
                </a:lnTo>
                <a:lnTo>
                  <a:pt x="231" y="251"/>
                </a:lnTo>
                <a:lnTo>
                  <a:pt x="239" y="243"/>
                </a:lnTo>
                <a:lnTo>
                  <a:pt x="246" y="235"/>
                </a:lnTo>
                <a:lnTo>
                  <a:pt x="253" y="226"/>
                </a:lnTo>
                <a:lnTo>
                  <a:pt x="259" y="216"/>
                </a:lnTo>
                <a:lnTo>
                  <a:pt x="264" y="205"/>
                </a:lnTo>
                <a:lnTo>
                  <a:pt x="264" y="205"/>
                </a:lnTo>
                <a:lnTo>
                  <a:pt x="268" y="195"/>
                </a:lnTo>
                <a:lnTo>
                  <a:pt x="270" y="184"/>
                </a:lnTo>
                <a:lnTo>
                  <a:pt x="272" y="172"/>
                </a:lnTo>
                <a:lnTo>
                  <a:pt x="272" y="160"/>
                </a:lnTo>
                <a:lnTo>
                  <a:pt x="272" y="160"/>
                </a:lnTo>
                <a:lnTo>
                  <a:pt x="272" y="148"/>
                </a:lnTo>
                <a:lnTo>
                  <a:pt x="270" y="138"/>
                </a:lnTo>
                <a:lnTo>
                  <a:pt x="268" y="126"/>
                </a:lnTo>
                <a:lnTo>
                  <a:pt x="264" y="116"/>
                </a:lnTo>
                <a:lnTo>
                  <a:pt x="259" y="105"/>
                </a:lnTo>
                <a:lnTo>
                  <a:pt x="253" y="96"/>
                </a:lnTo>
                <a:lnTo>
                  <a:pt x="246" y="87"/>
                </a:lnTo>
                <a:lnTo>
                  <a:pt x="239" y="78"/>
                </a:lnTo>
                <a:lnTo>
                  <a:pt x="231" y="71"/>
                </a:lnTo>
                <a:lnTo>
                  <a:pt x="223" y="64"/>
                </a:lnTo>
                <a:lnTo>
                  <a:pt x="213" y="59"/>
                </a:lnTo>
                <a:lnTo>
                  <a:pt x="203" y="53"/>
                </a:lnTo>
                <a:lnTo>
                  <a:pt x="192" y="50"/>
                </a:lnTo>
                <a:lnTo>
                  <a:pt x="182" y="47"/>
                </a:lnTo>
                <a:lnTo>
                  <a:pt x="170" y="45"/>
                </a:lnTo>
                <a:lnTo>
                  <a:pt x="159" y="45"/>
                </a:lnTo>
                <a:lnTo>
                  <a:pt x="159" y="45"/>
                </a:lnTo>
                <a:lnTo>
                  <a:pt x="147" y="45"/>
                </a:lnTo>
                <a:lnTo>
                  <a:pt x="135" y="47"/>
                </a:lnTo>
                <a:lnTo>
                  <a:pt x="124" y="50"/>
                </a:lnTo>
                <a:lnTo>
                  <a:pt x="114" y="53"/>
                </a:lnTo>
                <a:lnTo>
                  <a:pt x="104" y="59"/>
                </a:lnTo>
                <a:lnTo>
                  <a:pt x="94" y="64"/>
                </a:lnTo>
                <a:lnTo>
                  <a:pt x="86" y="71"/>
                </a:lnTo>
                <a:lnTo>
                  <a:pt x="78" y="78"/>
                </a:lnTo>
                <a:lnTo>
                  <a:pt x="71" y="87"/>
                </a:lnTo>
                <a:lnTo>
                  <a:pt x="64" y="96"/>
                </a:lnTo>
                <a:lnTo>
                  <a:pt x="58" y="105"/>
                </a:lnTo>
                <a:lnTo>
                  <a:pt x="53" y="116"/>
                </a:lnTo>
                <a:lnTo>
                  <a:pt x="49" y="126"/>
                </a:lnTo>
                <a:lnTo>
                  <a:pt x="47" y="138"/>
                </a:lnTo>
                <a:lnTo>
                  <a:pt x="45" y="148"/>
                </a:lnTo>
                <a:lnTo>
                  <a:pt x="45" y="160"/>
                </a:lnTo>
                <a:lnTo>
                  <a:pt x="45" y="160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1" name="Group 4"/>
          <p:cNvGrpSpPr>
            <a:grpSpLocks noChangeAspect="1"/>
          </p:cNvGrpSpPr>
          <p:nvPr/>
        </p:nvGrpSpPr>
        <p:grpSpPr bwMode="auto">
          <a:xfrm>
            <a:off x="9603364" y="2430477"/>
            <a:ext cx="1026536" cy="1227208"/>
            <a:chOff x="3639" y="620"/>
            <a:chExt cx="133" cy="159"/>
          </a:xfrm>
        </p:grpSpPr>
        <p:sp>
          <p:nvSpPr>
            <p:cNvPr id="22" name="Freeform 5"/>
            <p:cNvSpPr>
              <a:spLocks/>
            </p:cNvSpPr>
            <p:nvPr/>
          </p:nvSpPr>
          <p:spPr bwMode="auto">
            <a:xfrm>
              <a:off x="3639" y="764"/>
              <a:ext cx="133" cy="15"/>
            </a:xfrm>
            <a:custGeom>
              <a:avLst/>
              <a:gdLst>
                <a:gd name="T0" fmla="*/ 0 w 401"/>
                <a:gd name="T1" fmla="*/ 0 h 45"/>
                <a:gd name="T2" fmla="*/ 0 w 401"/>
                <a:gd name="T3" fmla="*/ 13 h 45"/>
                <a:gd name="T4" fmla="*/ 0 w 401"/>
                <a:gd name="T5" fmla="*/ 13 h 45"/>
                <a:gd name="T6" fmla="*/ 0 w 401"/>
                <a:gd name="T7" fmla="*/ 20 h 45"/>
                <a:gd name="T8" fmla="*/ 3 w 401"/>
                <a:gd name="T9" fmla="*/ 25 h 45"/>
                <a:gd name="T10" fmla="*/ 5 w 401"/>
                <a:gd name="T11" fmla="*/ 30 h 45"/>
                <a:gd name="T12" fmla="*/ 9 w 401"/>
                <a:gd name="T13" fmla="*/ 36 h 45"/>
                <a:gd name="T14" fmla="*/ 15 w 401"/>
                <a:gd name="T15" fmla="*/ 40 h 45"/>
                <a:gd name="T16" fmla="*/ 20 w 401"/>
                <a:gd name="T17" fmla="*/ 42 h 45"/>
                <a:gd name="T18" fmla="*/ 25 w 401"/>
                <a:gd name="T19" fmla="*/ 44 h 45"/>
                <a:gd name="T20" fmla="*/ 32 w 401"/>
                <a:gd name="T21" fmla="*/ 45 h 45"/>
                <a:gd name="T22" fmla="*/ 401 w 401"/>
                <a:gd name="T23" fmla="*/ 45 h 45"/>
                <a:gd name="T24" fmla="*/ 401 w 401"/>
                <a:gd name="T25" fmla="*/ 0 h 45"/>
                <a:gd name="T26" fmla="*/ 0 w 401"/>
                <a:gd name="T2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1" h="45">
                  <a:moveTo>
                    <a:pt x="0" y="0"/>
                  </a:moveTo>
                  <a:lnTo>
                    <a:pt x="0" y="13"/>
                  </a:lnTo>
                  <a:lnTo>
                    <a:pt x="0" y="13"/>
                  </a:lnTo>
                  <a:lnTo>
                    <a:pt x="0" y="20"/>
                  </a:lnTo>
                  <a:lnTo>
                    <a:pt x="3" y="25"/>
                  </a:lnTo>
                  <a:lnTo>
                    <a:pt x="5" y="30"/>
                  </a:lnTo>
                  <a:lnTo>
                    <a:pt x="9" y="36"/>
                  </a:lnTo>
                  <a:lnTo>
                    <a:pt x="15" y="40"/>
                  </a:lnTo>
                  <a:lnTo>
                    <a:pt x="20" y="42"/>
                  </a:lnTo>
                  <a:lnTo>
                    <a:pt x="25" y="44"/>
                  </a:lnTo>
                  <a:lnTo>
                    <a:pt x="32" y="45"/>
                  </a:lnTo>
                  <a:lnTo>
                    <a:pt x="401" y="45"/>
                  </a:lnTo>
                  <a:lnTo>
                    <a:pt x="40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6"/>
            <p:cNvSpPr>
              <a:spLocks/>
            </p:cNvSpPr>
            <p:nvPr/>
          </p:nvSpPr>
          <p:spPr bwMode="auto">
            <a:xfrm>
              <a:off x="3654" y="620"/>
              <a:ext cx="103" cy="103"/>
            </a:xfrm>
            <a:custGeom>
              <a:avLst/>
              <a:gdLst>
                <a:gd name="T0" fmla="*/ 155 w 309"/>
                <a:gd name="T1" fmla="*/ 310 h 310"/>
                <a:gd name="T2" fmla="*/ 215 w 309"/>
                <a:gd name="T3" fmla="*/ 217 h 310"/>
                <a:gd name="T4" fmla="*/ 309 w 309"/>
                <a:gd name="T5" fmla="*/ 155 h 310"/>
                <a:gd name="T6" fmla="*/ 217 w 309"/>
                <a:gd name="T7" fmla="*/ 94 h 310"/>
                <a:gd name="T8" fmla="*/ 155 w 309"/>
                <a:gd name="T9" fmla="*/ 0 h 310"/>
                <a:gd name="T10" fmla="*/ 93 w 309"/>
                <a:gd name="T11" fmla="*/ 94 h 310"/>
                <a:gd name="T12" fmla="*/ 0 w 309"/>
                <a:gd name="T13" fmla="*/ 155 h 310"/>
                <a:gd name="T14" fmla="*/ 94 w 309"/>
                <a:gd name="T15" fmla="*/ 214 h 310"/>
                <a:gd name="T16" fmla="*/ 155 w 309"/>
                <a:gd name="T17" fmla="*/ 31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9" h="310">
                  <a:moveTo>
                    <a:pt x="155" y="310"/>
                  </a:moveTo>
                  <a:lnTo>
                    <a:pt x="215" y="217"/>
                  </a:lnTo>
                  <a:lnTo>
                    <a:pt x="309" y="155"/>
                  </a:lnTo>
                  <a:lnTo>
                    <a:pt x="217" y="94"/>
                  </a:lnTo>
                  <a:lnTo>
                    <a:pt x="155" y="0"/>
                  </a:lnTo>
                  <a:lnTo>
                    <a:pt x="93" y="94"/>
                  </a:lnTo>
                  <a:lnTo>
                    <a:pt x="0" y="155"/>
                  </a:lnTo>
                  <a:lnTo>
                    <a:pt x="94" y="214"/>
                  </a:lnTo>
                  <a:lnTo>
                    <a:pt x="155" y="31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auto">
            <a:xfrm>
              <a:off x="3663" y="742"/>
              <a:ext cx="86" cy="15"/>
            </a:xfrm>
            <a:prstGeom prst="rect">
              <a:avLst/>
            </a:pr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Freeform 18"/>
          <p:cNvSpPr>
            <a:spLocks noEditPoints="1"/>
          </p:cNvSpPr>
          <p:nvPr/>
        </p:nvSpPr>
        <p:spPr bwMode="auto">
          <a:xfrm>
            <a:off x="1557727" y="2486565"/>
            <a:ext cx="1120292" cy="1115032"/>
          </a:xfrm>
          <a:custGeom>
            <a:avLst/>
            <a:gdLst>
              <a:gd name="T0" fmla="*/ 326 w 424"/>
              <a:gd name="T1" fmla="*/ 263 h 424"/>
              <a:gd name="T2" fmla="*/ 396 w 424"/>
              <a:gd name="T3" fmla="*/ 225 h 424"/>
              <a:gd name="T4" fmla="*/ 376 w 424"/>
              <a:gd name="T5" fmla="*/ 298 h 424"/>
              <a:gd name="T6" fmla="*/ 275 w 424"/>
              <a:gd name="T7" fmla="*/ 376 h 424"/>
              <a:gd name="T8" fmla="*/ 359 w 424"/>
              <a:gd name="T9" fmla="*/ 325 h 424"/>
              <a:gd name="T10" fmla="*/ 328 w 424"/>
              <a:gd name="T11" fmla="*/ 356 h 424"/>
              <a:gd name="T12" fmla="*/ 277 w 424"/>
              <a:gd name="T13" fmla="*/ 386 h 424"/>
              <a:gd name="T14" fmla="*/ 117 w 424"/>
              <a:gd name="T15" fmla="*/ 325 h 424"/>
              <a:gd name="T16" fmla="*/ 161 w 424"/>
              <a:gd name="T17" fmla="*/ 390 h 424"/>
              <a:gd name="T18" fmla="*/ 120 w 424"/>
              <a:gd name="T19" fmla="*/ 372 h 424"/>
              <a:gd name="T20" fmla="*/ 75 w 424"/>
              <a:gd name="T21" fmla="*/ 335 h 424"/>
              <a:gd name="T22" fmla="*/ 41 w 424"/>
              <a:gd name="T23" fmla="*/ 281 h 424"/>
              <a:gd name="T24" fmla="*/ 93 w 424"/>
              <a:gd name="T25" fmla="*/ 225 h 424"/>
              <a:gd name="T26" fmla="*/ 102 w 424"/>
              <a:gd name="T27" fmla="*/ 281 h 424"/>
              <a:gd name="T28" fmla="*/ 106 w 424"/>
              <a:gd name="T29" fmla="*/ 127 h 424"/>
              <a:gd name="T30" fmla="*/ 94 w 424"/>
              <a:gd name="T31" fmla="*/ 180 h 424"/>
              <a:gd name="T32" fmla="*/ 30 w 424"/>
              <a:gd name="T33" fmla="*/ 180 h 424"/>
              <a:gd name="T34" fmla="*/ 161 w 424"/>
              <a:gd name="T35" fmla="*/ 34 h 424"/>
              <a:gd name="T36" fmla="*/ 125 w 424"/>
              <a:gd name="T37" fmla="*/ 82 h 424"/>
              <a:gd name="T38" fmla="*/ 75 w 424"/>
              <a:gd name="T39" fmla="*/ 88 h 424"/>
              <a:gd name="T40" fmla="*/ 120 w 424"/>
              <a:gd name="T41" fmla="*/ 52 h 424"/>
              <a:gd name="T42" fmla="*/ 359 w 424"/>
              <a:gd name="T43" fmla="*/ 100 h 424"/>
              <a:gd name="T44" fmla="*/ 287 w 424"/>
              <a:gd name="T45" fmla="*/ 64 h 424"/>
              <a:gd name="T46" fmla="*/ 276 w 424"/>
              <a:gd name="T47" fmla="*/ 39 h 424"/>
              <a:gd name="T48" fmla="*/ 328 w 424"/>
              <a:gd name="T49" fmla="*/ 69 h 424"/>
              <a:gd name="T50" fmla="*/ 225 w 424"/>
              <a:gd name="T51" fmla="*/ 199 h 424"/>
              <a:gd name="T52" fmla="*/ 295 w 424"/>
              <a:gd name="T53" fmla="*/ 144 h 424"/>
              <a:gd name="T54" fmla="*/ 225 w 424"/>
              <a:gd name="T55" fmla="*/ 199 h 424"/>
              <a:gd name="T56" fmla="*/ 304 w 424"/>
              <a:gd name="T57" fmla="*/ 225 h 424"/>
              <a:gd name="T58" fmla="*/ 289 w 424"/>
              <a:gd name="T59" fmla="*/ 298 h 424"/>
              <a:gd name="T60" fmla="*/ 277 w 424"/>
              <a:gd name="T61" fmla="*/ 325 h 424"/>
              <a:gd name="T62" fmla="*/ 241 w 424"/>
              <a:gd name="T63" fmla="*/ 375 h 424"/>
              <a:gd name="T64" fmla="*/ 199 w 424"/>
              <a:gd name="T65" fmla="*/ 388 h 424"/>
              <a:gd name="T66" fmla="*/ 157 w 424"/>
              <a:gd name="T67" fmla="*/ 343 h 424"/>
              <a:gd name="T68" fmla="*/ 199 w 424"/>
              <a:gd name="T69" fmla="*/ 298 h 424"/>
              <a:gd name="T70" fmla="*/ 124 w 424"/>
              <a:gd name="T71" fmla="*/ 263 h 424"/>
              <a:gd name="T72" fmla="*/ 199 w 424"/>
              <a:gd name="T73" fmla="*/ 127 h 424"/>
              <a:gd name="T74" fmla="*/ 121 w 424"/>
              <a:gd name="T75" fmla="*/ 180 h 424"/>
              <a:gd name="T76" fmla="*/ 199 w 424"/>
              <a:gd name="T77" fmla="*/ 127 h 424"/>
              <a:gd name="T78" fmla="*/ 146 w 424"/>
              <a:gd name="T79" fmla="*/ 100 h 424"/>
              <a:gd name="T80" fmla="*/ 199 w 424"/>
              <a:gd name="T81" fmla="*/ 37 h 424"/>
              <a:gd name="T82" fmla="*/ 225 w 424"/>
              <a:gd name="T83" fmla="*/ 38 h 424"/>
              <a:gd name="T84" fmla="*/ 277 w 424"/>
              <a:gd name="T85" fmla="*/ 100 h 424"/>
              <a:gd name="T86" fmla="*/ 390 w 424"/>
              <a:gd name="T87" fmla="*/ 161 h 424"/>
              <a:gd name="T88" fmla="*/ 330 w 424"/>
              <a:gd name="T89" fmla="*/ 199 h 424"/>
              <a:gd name="T90" fmla="*/ 317 w 424"/>
              <a:gd name="T91" fmla="*/ 127 h 424"/>
              <a:gd name="T92" fmla="*/ 191 w 424"/>
              <a:gd name="T93" fmla="*/ 2 h 424"/>
              <a:gd name="T94" fmla="*/ 111 w 424"/>
              <a:gd name="T95" fmla="*/ 26 h 424"/>
              <a:gd name="T96" fmla="*/ 49 w 424"/>
              <a:gd name="T97" fmla="*/ 77 h 424"/>
              <a:gd name="T98" fmla="*/ 9 w 424"/>
              <a:gd name="T99" fmla="*/ 149 h 424"/>
              <a:gd name="T100" fmla="*/ 0 w 424"/>
              <a:gd name="T101" fmla="*/ 212 h 424"/>
              <a:gd name="T102" fmla="*/ 17 w 424"/>
              <a:gd name="T103" fmla="*/ 295 h 424"/>
              <a:gd name="T104" fmla="*/ 62 w 424"/>
              <a:gd name="T105" fmla="*/ 362 h 424"/>
              <a:gd name="T106" fmla="*/ 129 w 424"/>
              <a:gd name="T107" fmla="*/ 407 h 424"/>
              <a:gd name="T108" fmla="*/ 212 w 424"/>
              <a:gd name="T109" fmla="*/ 424 h 424"/>
              <a:gd name="T110" fmla="*/ 275 w 424"/>
              <a:gd name="T111" fmla="*/ 415 h 424"/>
              <a:gd name="T112" fmla="*/ 347 w 424"/>
              <a:gd name="T113" fmla="*/ 375 h 424"/>
              <a:gd name="T114" fmla="*/ 399 w 424"/>
              <a:gd name="T115" fmla="*/ 313 h 424"/>
              <a:gd name="T116" fmla="*/ 422 w 424"/>
              <a:gd name="T117" fmla="*/ 234 h 424"/>
              <a:gd name="T118" fmla="*/ 419 w 424"/>
              <a:gd name="T119" fmla="*/ 169 h 424"/>
              <a:gd name="T120" fmla="*/ 388 w 424"/>
              <a:gd name="T121" fmla="*/ 94 h 424"/>
              <a:gd name="T122" fmla="*/ 330 w 424"/>
              <a:gd name="T123" fmla="*/ 37 h 424"/>
              <a:gd name="T124" fmla="*/ 255 w 424"/>
              <a:gd name="T125" fmla="*/ 5 h 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24" h="424">
                <a:moveTo>
                  <a:pt x="317" y="298"/>
                </a:moveTo>
                <a:lnTo>
                  <a:pt x="317" y="298"/>
                </a:lnTo>
                <a:lnTo>
                  <a:pt x="322" y="281"/>
                </a:lnTo>
                <a:lnTo>
                  <a:pt x="326" y="263"/>
                </a:lnTo>
                <a:lnTo>
                  <a:pt x="329" y="244"/>
                </a:lnTo>
                <a:lnTo>
                  <a:pt x="330" y="225"/>
                </a:lnTo>
                <a:lnTo>
                  <a:pt x="396" y="225"/>
                </a:lnTo>
                <a:lnTo>
                  <a:pt x="396" y="225"/>
                </a:lnTo>
                <a:lnTo>
                  <a:pt x="394" y="244"/>
                </a:lnTo>
                <a:lnTo>
                  <a:pt x="390" y="264"/>
                </a:lnTo>
                <a:lnTo>
                  <a:pt x="384" y="281"/>
                </a:lnTo>
                <a:lnTo>
                  <a:pt x="376" y="298"/>
                </a:lnTo>
                <a:lnTo>
                  <a:pt x="317" y="298"/>
                </a:lnTo>
                <a:close/>
                <a:moveTo>
                  <a:pt x="262" y="390"/>
                </a:moveTo>
                <a:lnTo>
                  <a:pt x="262" y="390"/>
                </a:lnTo>
                <a:lnTo>
                  <a:pt x="275" y="376"/>
                </a:lnTo>
                <a:lnTo>
                  <a:pt x="287" y="360"/>
                </a:lnTo>
                <a:lnTo>
                  <a:pt x="298" y="343"/>
                </a:lnTo>
                <a:lnTo>
                  <a:pt x="307" y="325"/>
                </a:lnTo>
                <a:lnTo>
                  <a:pt x="359" y="325"/>
                </a:lnTo>
                <a:lnTo>
                  <a:pt x="359" y="325"/>
                </a:lnTo>
                <a:lnTo>
                  <a:pt x="349" y="335"/>
                </a:lnTo>
                <a:lnTo>
                  <a:pt x="340" y="346"/>
                </a:lnTo>
                <a:lnTo>
                  <a:pt x="328" y="356"/>
                </a:lnTo>
                <a:lnTo>
                  <a:pt x="316" y="364"/>
                </a:lnTo>
                <a:lnTo>
                  <a:pt x="304" y="373"/>
                </a:lnTo>
                <a:lnTo>
                  <a:pt x="290" y="379"/>
                </a:lnTo>
                <a:lnTo>
                  <a:pt x="277" y="386"/>
                </a:lnTo>
                <a:lnTo>
                  <a:pt x="262" y="390"/>
                </a:lnTo>
                <a:close/>
                <a:moveTo>
                  <a:pt x="65" y="325"/>
                </a:moveTo>
                <a:lnTo>
                  <a:pt x="117" y="325"/>
                </a:lnTo>
                <a:lnTo>
                  <a:pt x="117" y="325"/>
                </a:lnTo>
                <a:lnTo>
                  <a:pt x="125" y="343"/>
                </a:lnTo>
                <a:lnTo>
                  <a:pt x="136" y="360"/>
                </a:lnTo>
                <a:lnTo>
                  <a:pt x="148" y="375"/>
                </a:lnTo>
                <a:lnTo>
                  <a:pt x="161" y="390"/>
                </a:lnTo>
                <a:lnTo>
                  <a:pt x="161" y="390"/>
                </a:lnTo>
                <a:lnTo>
                  <a:pt x="147" y="385"/>
                </a:lnTo>
                <a:lnTo>
                  <a:pt x="133" y="379"/>
                </a:lnTo>
                <a:lnTo>
                  <a:pt x="120" y="372"/>
                </a:lnTo>
                <a:lnTo>
                  <a:pt x="107" y="364"/>
                </a:lnTo>
                <a:lnTo>
                  <a:pt x="95" y="356"/>
                </a:lnTo>
                <a:lnTo>
                  <a:pt x="84" y="346"/>
                </a:lnTo>
                <a:lnTo>
                  <a:pt x="75" y="335"/>
                </a:lnTo>
                <a:lnTo>
                  <a:pt x="65" y="325"/>
                </a:lnTo>
                <a:close/>
                <a:moveTo>
                  <a:pt x="48" y="298"/>
                </a:moveTo>
                <a:lnTo>
                  <a:pt x="48" y="298"/>
                </a:lnTo>
                <a:lnTo>
                  <a:pt x="41" y="281"/>
                </a:lnTo>
                <a:lnTo>
                  <a:pt x="34" y="264"/>
                </a:lnTo>
                <a:lnTo>
                  <a:pt x="30" y="244"/>
                </a:lnTo>
                <a:lnTo>
                  <a:pt x="28" y="225"/>
                </a:lnTo>
                <a:lnTo>
                  <a:pt x="93" y="225"/>
                </a:lnTo>
                <a:lnTo>
                  <a:pt x="93" y="225"/>
                </a:lnTo>
                <a:lnTo>
                  <a:pt x="94" y="244"/>
                </a:lnTo>
                <a:lnTo>
                  <a:pt x="97" y="263"/>
                </a:lnTo>
                <a:lnTo>
                  <a:pt x="102" y="281"/>
                </a:lnTo>
                <a:lnTo>
                  <a:pt x="106" y="298"/>
                </a:lnTo>
                <a:lnTo>
                  <a:pt x="48" y="298"/>
                </a:lnTo>
                <a:close/>
                <a:moveTo>
                  <a:pt x="48" y="127"/>
                </a:moveTo>
                <a:lnTo>
                  <a:pt x="106" y="127"/>
                </a:lnTo>
                <a:lnTo>
                  <a:pt x="106" y="127"/>
                </a:lnTo>
                <a:lnTo>
                  <a:pt x="102" y="144"/>
                </a:lnTo>
                <a:lnTo>
                  <a:pt x="97" y="162"/>
                </a:lnTo>
                <a:lnTo>
                  <a:pt x="94" y="180"/>
                </a:lnTo>
                <a:lnTo>
                  <a:pt x="93" y="199"/>
                </a:lnTo>
                <a:lnTo>
                  <a:pt x="28" y="199"/>
                </a:lnTo>
                <a:lnTo>
                  <a:pt x="28" y="199"/>
                </a:lnTo>
                <a:lnTo>
                  <a:pt x="30" y="180"/>
                </a:lnTo>
                <a:lnTo>
                  <a:pt x="34" y="161"/>
                </a:lnTo>
                <a:lnTo>
                  <a:pt x="41" y="143"/>
                </a:lnTo>
                <a:lnTo>
                  <a:pt x="48" y="127"/>
                </a:lnTo>
                <a:close/>
                <a:moveTo>
                  <a:pt x="161" y="34"/>
                </a:moveTo>
                <a:lnTo>
                  <a:pt x="161" y="34"/>
                </a:lnTo>
                <a:lnTo>
                  <a:pt x="148" y="49"/>
                </a:lnTo>
                <a:lnTo>
                  <a:pt x="136" y="64"/>
                </a:lnTo>
                <a:lnTo>
                  <a:pt x="125" y="82"/>
                </a:lnTo>
                <a:lnTo>
                  <a:pt x="117" y="100"/>
                </a:lnTo>
                <a:lnTo>
                  <a:pt x="65" y="100"/>
                </a:lnTo>
                <a:lnTo>
                  <a:pt x="65" y="100"/>
                </a:lnTo>
                <a:lnTo>
                  <a:pt x="75" y="88"/>
                </a:lnTo>
                <a:lnTo>
                  <a:pt x="84" y="78"/>
                </a:lnTo>
                <a:lnTo>
                  <a:pt x="96" y="69"/>
                </a:lnTo>
                <a:lnTo>
                  <a:pt x="107" y="60"/>
                </a:lnTo>
                <a:lnTo>
                  <a:pt x="120" y="52"/>
                </a:lnTo>
                <a:lnTo>
                  <a:pt x="133" y="45"/>
                </a:lnTo>
                <a:lnTo>
                  <a:pt x="147" y="40"/>
                </a:lnTo>
                <a:lnTo>
                  <a:pt x="161" y="34"/>
                </a:lnTo>
                <a:close/>
                <a:moveTo>
                  <a:pt x="359" y="100"/>
                </a:moveTo>
                <a:lnTo>
                  <a:pt x="307" y="100"/>
                </a:lnTo>
                <a:lnTo>
                  <a:pt x="307" y="100"/>
                </a:lnTo>
                <a:lnTo>
                  <a:pt x="298" y="82"/>
                </a:lnTo>
                <a:lnTo>
                  <a:pt x="287" y="64"/>
                </a:lnTo>
                <a:lnTo>
                  <a:pt x="275" y="48"/>
                </a:lnTo>
                <a:lnTo>
                  <a:pt x="262" y="34"/>
                </a:lnTo>
                <a:lnTo>
                  <a:pt x="262" y="34"/>
                </a:lnTo>
                <a:lnTo>
                  <a:pt x="276" y="39"/>
                </a:lnTo>
                <a:lnTo>
                  <a:pt x="290" y="45"/>
                </a:lnTo>
                <a:lnTo>
                  <a:pt x="303" y="52"/>
                </a:lnTo>
                <a:lnTo>
                  <a:pt x="316" y="59"/>
                </a:lnTo>
                <a:lnTo>
                  <a:pt x="328" y="69"/>
                </a:lnTo>
                <a:lnTo>
                  <a:pt x="338" y="78"/>
                </a:lnTo>
                <a:lnTo>
                  <a:pt x="349" y="88"/>
                </a:lnTo>
                <a:lnTo>
                  <a:pt x="359" y="100"/>
                </a:lnTo>
                <a:close/>
                <a:moveTo>
                  <a:pt x="225" y="199"/>
                </a:moveTo>
                <a:lnTo>
                  <a:pt x="225" y="127"/>
                </a:lnTo>
                <a:lnTo>
                  <a:pt x="289" y="127"/>
                </a:lnTo>
                <a:lnTo>
                  <a:pt x="289" y="127"/>
                </a:lnTo>
                <a:lnTo>
                  <a:pt x="295" y="144"/>
                </a:lnTo>
                <a:lnTo>
                  <a:pt x="299" y="161"/>
                </a:lnTo>
                <a:lnTo>
                  <a:pt x="302" y="180"/>
                </a:lnTo>
                <a:lnTo>
                  <a:pt x="304" y="199"/>
                </a:lnTo>
                <a:lnTo>
                  <a:pt x="225" y="199"/>
                </a:lnTo>
                <a:close/>
                <a:moveTo>
                  <a:pt x="225" y="298"/>
                </a:moveTo>
                <a:lnTo>
                  <a:pt x="225" y="225"/>
                </a:lnTo>
                <a:lnTo>
                  <a:pt x="304" y="225"/>
                </a:lnTo>
                <a:lnTo>
                  <a:pt x="304" y="225"/>
                </a:lnTo>
                <a:lnTo>
                  <a:pt x="302" y="244"/>
                </a:lnTo>
                <a:lnTo>
                  <a:pt x="299" y="263"/>
                </a:lnTo>
                <a:lnTo>
                  <a:pt x="295" y="281"/>
                </a:lnTo>
                <a:lnTo>
                  <a:pt x="289" y="298"/>
                </a:lnTo>
                <a:lnTo>
                  <a:pt x="225" y="298"/>
                </a:lnTo>
                <a:close/>
                <a:moveTo>
                  <a:pt x="225" y="387"/>
                </a:moveTo>
                <a:lnTo>
                  <a:pt x="225" y="325"/>
                </a:lnTo>
                <a:lnTo>
                  <a:pt x="277" y="325"/>
                </a:lnTo>
                <a:lnTo>
                  <a:pt x="277" y="325"/>
                </a:lnTo>
                <a:lnTo>
                  <a:pt x="267" y="343"/>
                </a:lnTo>
                <a:lnTo>
                  <a:pt x="254" y="360"/>
                </a:lnTo>
                <a:lnTo>
                  <a:pt x="241" y="375"/>
                </a:lnTo>
                <a:lnTo>
                  <a:pt x="225" y="387"/>
                </a:lnTo>
                <a:close/>
                <a:moveTo>
                  <a:pt x="199" y="325"/>
                </a:moveTo>
                <a:lnTo>
                  <a:pt x="199" y="388"/>
                </a:lnTo>
                <a:lnTo>
                  <a:pt x="199" y="388"/>
                </a:lnTo>
                <a:lnTo>
                  <a:pt x="191" y="381"/>
                </a:lnTo>
                <a:lnTo>
                  <a:pt x="183" y="375"/>
                </a:lnTo>
                <a:lnTo>
                  <a:pt x="169" y="360"/>
                </a:lnTo>
                <a:lnTo>
                  <a:pt x="157" y="343"/>
                </a:lnTo>
                <a:lnTo>
                  <a:pt x="146" y="325"/>
                </a:lnTo>
                <a:lnTo>
                  <a:pt x="199" y="325"/>
                </a:lnTo>
                <a:close/>
                <a:moveTo>
                  <a:pt x="199" y="225"/>
                </a:moveTo>
                <a:lnTo>
                  <a:pt x="199" y="298"/>
                </a:lnTo>
                <a:lnTo>
                  <a:pt x="134" y="298"/>
                </a:lnTo>
                <a:lnTo>
                  <a:pt x="134" y="298"/>
                </a:lnTo>
                <a:lnTo>
                  <a:pt x="128" y="281"/>
                </a:lnTo>
                <a:lnTo>
                  <a:pt x="124" y="263"/>
                </a:lnTo>
                <a:lnTo>
                  <a:pt x="121" y="244"/>
                </a:lnTo>
                <a:lnTo>
                  <a:pt x="120" y="225"/>
                </a:lnTo>
                <a:lnTo>
                  <a:pt x="199" y="225"/>
                </a:lnTo>
                <a:close/>
                <a:moveTo>
                  <a:pt x="199" y="127"/>
                </a:moveTo>
                <a:lnTo>
                  <a:pt x="199" y="199"/>
                </a:lnTo>
                <a:lnTo>
                  <a:pt x="120" y="199"/>
                </a:lnTo>
                <a:lnTo>
                  <a:pt x="120" y="199"/>
                </a:lnTo>
                <a:lnTo>
                  <a:pt x="121" y="180"/>
                </a:lnTo>
                <a:lnTo>
                  <a:pt x="124" y="162"/>
                </a:lnTo>
                <a:lnTo>
                  <a:pt x="128" y="144"/>
                </a:lnTo>
                <a:lnTo>
                  <a:pt x="135" y="127"/>
                </a:lnTo>
                <a:lnTo>
                  <a:pt x="199" y="127"/>
                </a:lnTo>
                <a:close/>
                <a:moveTo>
                  <a:pt x="199" y="37"/>
                </a:moveTo>
                <a:lnTo>
                  <a:pt x="199" y="100"/>
                </a:lnTo>
                <a:lnTo>
                  <a:pt x="146" y="100"/>
                </a:lnTo>
                <a:lnTo>
                  <a:pt x="146" y="100"/>
                </a:lnTo>
                <a:lnTo>
                  <a:pt x="157" y="82"/>
                </a:lnTo>
                <a:lnTo>
                  <a:pt x="169" y="64"/>
                </a:lnTo>
                <a:lnTo>
                  <a:pt x="183" y="49"/>
                </a:lnTo>
                <a:lnTo>
                  <a:pt x="199" y="37"/>
                </a:lnTo>
                <a:close/>
                <a:moveTo>
                  <a:pt x="277" y="100"/>
                </a:moveTo>
                <a:lnTo>
                  <a:pt x="225" y="100"/>
                </a:lnTo>
                <a:lnTo>
                  <a:pt x="225" y="38"/>
                </a:lnTo>
                <a:lnTo>
                  <a:pt x="225" y="38"/>
                </a:lnTo>
                <a:lnTo>
                  <a:pt x="240" y="50"/>
                </a:lnTo>
                <a:lnTo>
                  <a:pt x="254" y="64"/>
                </a:lnTo>
                <a:lnTo>
                  <a:pt x="267" y="82"/>
                </a:lnTo>
                <a:lnTo>
                  <a:pt x="277" y="100"/>
                </a:lnTo>
                <a:close/>
                <a:moveTo>
                  <a:pt x="376" y="127"/>
                </a:moveTo>
                <a:lnTo>
                  <a:pt x="376" y="127"/>
                </a:lnTo>
                <a:lnTo>
                  <a:pt x="384" y="143"/>
                </a:lnTo>
                <a:lnTo>
                  <a:pt x="390" y="161"/>
                </a:lnTo>
                <a:lnTo>
                  <a:pt x="394" y="180"/>
                </a:lnTo>
                <a:lnTo>
                  <a:pt x="396" y="199"/>
                </a:lnTo>
                <a:lnTo>
                  <a:pt x="330" y="199"/>
                </a:lnTo>
                <a:lnTo>
                  <a:pt x="330" y="199"/>
                </a:lnTo>
                <a:lnTo>
                  <a:pt x="329" y="180"/>
                </a:lnTo>
                <a:lnTo>
                  <a:pt x="326" y="162"/>
                </a:lnTo>
                <a:lnTo>
                  <a:pt x="322" y="144"/>
                </a:lnTo>
                <a:lnTo>
                  <a:pt x="317" y="127"/>
                </a:lnTo>
                <a:lnTo>
                  <a:pt x="376" y="127"/>
                </a:lnTo>
                <a:close/>
                <a:moveTo>
                  <a:pt x="212" y="0"/>
                </a:moveTo>
                <a:lnTo>
                  <a:pt x="212" y="0"/>
                </a:lnTo>
                <a:lnTo>
                  <a:pt x="191" y="2"/>
                </a:lnTo>
                <a:lnTo>
                  <a:pt x="169" y="5"/>
                </a:lnTo>
                <a:lnTo>
                  <a:pt x="149" y="10"/>
                </a:lnTo>
                <a:lnTo>
                  <a:pt x="129" y="17"/>
                </a:lnTo>
                <a:lnTo>
                  <a:pt x="111" y="26"/>
                </a:lnTo>
                <a:lnTo>
                  <a:pt x="94" y="37"/>
                </a:lnTo>
                <a:lnTo>
                  <a:pt x="77" y="49"/>
                </a:lnTo>
                <a:lnTo>
                  <a:pt x="62" y="62"/>
                </a:lnTo>
                <a:lnTo>
                  <a:pt x="49" y="77"/>
                </a:lnTo>
                <a:lnTo>
                  <a:pt x="36" y="94"/>
                </a:lnTo>
                <a:lnTo>
                  <a:pt x="25" y="112"/>
                </a:lnTo>
                <a:lnTo>
                  <a:pt x="17" y="130"/>
                </a:lnTo>
                <a:lnTo>
                  <a:pt x="9" y="149"/>
                </a:lnTo>
                <a:lnTo>
                  <a:pt x="5" y="169"/>
                </a:lnTo>
                <a:lnTo>
                  <a:pt x="2" y="191"/>
                </a:lnTo>
                <a:lnTo>
                  <a:pt x="0" y="212"/>
                </a:lnTo>
                <a:lnTo>
                  <a:pt x="0" y="212"/>
                </a:lnTo>
                <a:lnTo>
                  <a:pt x="2" y="234"/>
                </a:lnTo>
                <a:lnTo>
                  <a:pt x="5" y="255"/>
                </a:lnTo>
                <a:lnTo>
                  <a:pt x="9" y="275"/>
                </a:lnTo>
                <a:lnTo>
                  <a:pt x="17" y="295"/>
                </a:lnTo>
                <a:lnTo>
                  <a:pt x="25" y="313"/>
                </a:lnTo>
                <a:lnTo>
                  <a:pt x="36" y="330"/>
                </a:lnTo>
                <a:lnTo>
                  <a:pt x="49" y="347"/>
                </a:lnTo>
                <a:lnTo>
                  <a:pt x="62" y="362"/>
                </a:lnTo>
                <a:lnTo>
                  <a:pt x="77" y="375"/>
                </a:lnTo>
                <a:lnTo>
                  <a:pt x="94" y="388"/>
                </a:lnTo>
                <a:lnTo>
                  <a:pt x="111" y="399"/>
                </a:lnTo>
                <a:lnTo>
                  <a:pt x="129" y="407"/>
                </a:lnTo>
                <a:lnTo>
                  <a:pt x="149" y="415"/>
                </a:lnTo>
                <a:lnTo>
                  <a:pt x="169" y="419"/>
                </a:lnTo>
                <a:lnTo>
                  <a:pt x="191" y="422"/>
                </a:lnTo>
                <a:lnTo>
                  <a:pt x="212" y="424"/>
                </a:lnTo>
                <a:lnTo>
                  <a:pt x="212" y="424"/>
                </a:lnTo>
                <a:lnTo>
                  <a:pt x="233" y="422"/>
                </a:lnTo>
                <a:lnTo>
                  <a:pt x="255" y="419"/>
                </a:lnTo>
                <a:lnTo>
                  <a:pt x="275" y="415"/>
                </a:lnTo>
                <a:lnTo>
                  <a:pt x="295" y="407"/>
                </a:lnTo>
                <a:lnTo>
                  <a:pt x="313" y="399"/>
                </a:lnTo>
                <a:lnTo>
                  <a:pt x="330" y="388"/>
                </a:lnTo>
                <a:lnTo>
                  <a:pt x="347" y="375"/>
                </a:lnTo>
                <a:lnTo>
                  <a:pt x="362" y="362"/>
                </a:lnTo>
                <a:lnTo>
                  <a:pt x="375" y="347"/>
                </a:lnTo>
                <a:lnTo>
                  <a:pt x="388" y="330"/>
                </a:lnTo>
                <a:lnTo>
                  <a:pt x="399" y="313"/>
                </a:lnTo>
                <a:lnTo>
                  <a:pt x="407" y="295"/>
                </a:lnTo>
                <a:lnTo>
                  <a:pt x="415" y="275"/>
                </a:lnTo>
                <a:lnTo>
                  <a:pt x="419" y="255"/>
                </a:lnTo>
                <a:lnTo>
                  <a:pt x="422" y="234"/>
                </a:lnTo>
                <a:lnTo>
                  <a:pt x="424" y="212"/>
                </a:lnTo>
                <a:lnTo>
                  <a:pt x="424" y="212"/>
                </a:lnTo>
                <a:lnTo>
                  <a:pt x="422" y="191"/>
                </a:lnTo>
                <a:lnTo>
                  <a:pt x="419" y="169"/>
                </a:lnTo>
                <a:lnTo>
                  <a:pt x="415" y="149"/>
                </a:lnTo>
                <a:lnTo>
                  <a:pt x="407" y="130"/>
                </a:lnTo>
                <a:lnTo>
                  <a:pt x="399" y="112"/>
                </a:lnTo>
                <a:lnTo>
                  <a:pt x="388" y="94"/>
                </a:lnTo>
                <a:lnTo>
                  <a:pt x="375" y="77"/>
                </a:lnTo>
                <a:lnTo>
                  <a:pt x="362" y="62"/>
                </a:lnTo>
                <a:lnTo>
                  <a:pt x="347" y="49"/>
                </a:lnTo>
                <a:lnTo>
                  <a:pt x="330" y="37"/>
                </a:lnTo>
                <a:lnTo>
                  <a:pt x="313" y="26"/>
                </a:lnTo>
                <a:lnTo>
                  <a:pt x="295" y="17"/>
                </a:lnTo>
                <a:lnTo>
                  <a:pt x="275" y="10"/>
                </a:lnTo>
                <a:lnTo>
                  <a:pt x="255" y="5"/>
                </a:lnTo>
                <a:lnTo>
                  <a:pt x="233" y="2"/>
                </a:lnTo>
                <a:lnTo>
                  <a:pt x="21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1393973" y="3933796"/>
            <a:ext cx="1591823" cy="2799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>
                <a:solidFill>
                  <a:prstClr val="white"/>
                </a:solidFill>
              </a:rPr>
              <a:t>Ubiquitous</a:t>
            </a:r>
          </a:p>
        </p:txBody>
      </p:sp>
    </p:spTree>
    <p:extLst>
      <p:ext uri="{BB962C8B-B14F-4D97-AF65-F5344CB8AC3E}">
        <p14:creationId xmlns:p14="http://schemas.microsoft.com/office/powerpoint/2010/main" val="3890804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 txBox="1">
            <a:spLocks/>
          </p:cNvSpPr>
          <p:nvPr/>
        </p:nvSpPr>
        <p:spPr>
          <a:xfrm rot="10800000">
            <a:off x="865308" y="2443096"/>
            <a:ext cx="2539311" cy="2181224"/>
          </a:xfrm>
          <a:prstGeom prst="round1Rect">
            <a:avLst/>
          </a:prstGeom>
          <a:solidFill>
            <a:schemeClr val="bg2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1600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 flipH="1">
            <a:off x="3514072" y="2447926"/>
            <a:ext cx="2526084" cy="2181224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2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>
                <a:solidFill>
                  <a:schemeClr val="accent1"/>
                </a:solidFill>
              </a:rPr>
              <a:t>Run time</a:t>
            </a:r>
            <a:br>
              <a:rPr lang="en-US" b="1" dirty="0">
                <a:solidFill>
                  <a:schemeClr val="accent1"/>
                </a:solidFill>
              </a:rPr>
            </a:br>
            <a:r>
              <a:rPr lang="en-US" b="1" dirty="0">
                <a:solidFill>
                  <a:schemeClr val="accent1"/>
                </a:solidFill>
              </a:rPr>
              <a:t>monitoring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 flipH="1">
            <a:off x="6151844" y="2447926"/>
            <a:ext cx="2526084" cy="2181224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2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>
                <a:solidFill>
                  <a:schemeClr val="accent1"/>
                </a:solidFill>
              </a:rPr>
              <a:t>Access</a:t>
            </a:r>
            <a:br>
              <a:rPr lang="en-US" b="1" dirty="0">
                <a:solidFill>
                  <a:schemeClr val="accent1"/>
                </a:solidFill>
              </a:rPr>
            </a:br>
            <a:r>
              <a:rPr lang="en-US" b="1" dirty="0">
                <a:solidFill>
                  <a:schemeClr val="accent1"/>
                </a:solidFill>
              </a:rPr>
              <a:t>control</a:t>
            </a: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8789561" y="2437164"/>
            <a:ext cx="2537801" cy="2181224"/>
          </a:xfrm>
          <a:prstGeom prst="round1Rect">
            <a:avLst/>
          </a:prstGeom>
          <a:solidFill>
            <a:schemeClr val="bg2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>
                <a:solidFill>
                  <a:schemeClr val="accent1"/>
                </a:solidFill>
              </a:rPr>
              <a:t>Data protection:</a:t>
            </a:r>
            <a:br>
              <a:rPr lang="en-US" b="1" dirty="0">
                <a:solidFill>
                  <a:schemeClr val="accent1"/>
                </a:solidFill>
              </a:rPr>
            </a:br>
            <a:r>
              <a:rPr lang="en-US" sz="1600" dirty="0" smtClean="0"/>
              <a:t>low </a:t>
            </a:r>
            <a:r>
              <a:rPr lang="en-US" sz="1600" dirty="0"/>
              <a:t>energy encry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Protec</a:t>
            </a:r>
            <a:r>
              <a:rPr lang="en-US" dirty="0">
                <a:solidFill>
                  <a:schemeClr val="accent1"/>
                </a:solidFill>
              </a:rPr>
              <a:t>t:</a:t>
            </a:r>
            <a:r>
              <a:rPr lang="en-US" dirty="0" smtClean="0"/>
              <a:t> Prevent malicious actions</a:t>
            </a:r>
            <a:endParaRPr lang="hi-IN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Some examples are:</a:t>
            </a:r>
          </a:p>
        </p:txBody>
      </p:sp>
      <p:sp>
        <p:nvSpPr>
          <p:cNvPr id="11" name="Freeform 34"/>
          <p:cNvSpPr>
            <a:spLocks noEditPoints="1"/>
          </p:cNvSpPr>
          <p:nvPr/>
        </p:nvSpPr>
        <p:spPr bwMode="auto">
          <a:xfrm>
            <a:off x="11217286" y="685800"/>
            <a:ext cx="362098" cy="428800"/>
          </a:xfrm>
          <a:custGeom>
            <a:avLst/>
            <a:gdLst>
              <a:gd name="T0" fmla="*/ 257 w 303"/>
              <a:gd name="T1" fmla="*/ 165 h 359"/>
              <a:gd name="T2" fmla="*/ 257 w 303"/>
              <a:gd name="T3" fmla="*/ 108 h 359"/>
              <a:gd name="T4" fmla="*/ 255 w 303"/>
              <a:gd name="T5" fmla="*/ 86 h 359"/>
              <a:gd name="T6" fmla="*/ 248 w 303"/>
              <a:gd name="T7" fmla="*/ 66 h 359"/>
              <a:gd name="T8" fmla="*/ 238 w 303"/>
              <a:gd name="T9" fmla="*/ 48 h 359"/>
              <a:gd name="T10" fmla="*/ 225 w 303"/>
              <a:gd name="T11" fmla="*/ 33 h 359"/>
              <a:gd name="T12" fmla="*/ 209 w 303"/>
              <a:gd name="T13" fmla="*/ 19 h 359"/>
              <a:gd name="T14" fmla="*/ 191 w 303"/>
              <a:gd name="T15" fmla="*/ 9 h 359"/>
              <a:gd name="T16" fmla="*/ 171 w 303"/>
              <a:gd name="T17" fmla="*/ 3 h 359"/>
              <a:gd name="T18" fmla="*/ 150 w 303"/>
              <a:gd name="T19" fmla="*/ 0 h 359"/>
              <a:gd name="T20" fmla="*/ 139 w 303"/>
              <a:gd name="T21" fmla="*/ 2 h 359"/>
              <a:gd name="T22" fmla="*/ 118 w 303"/>
              <a:gd name="T23" fmla="*/ 6 h 359"/>
              <a:gd name="T24" fmla="*/ 98 w 303"/>
              <a:gd name="T25" fmla="*/ 13 h 359"/>
              <a:gd name="T26" fmla="*/ 82 w 303"/>
              <a:gd name="T27" fmla="*/ 25 h 359"/>
              <a:gd name="T28" fmla="*/ 67 w 303"/>
              <a:gd name="T29" fmla="*/ 40 h 359"/>
              <a:gd name="T30" fmla="*/ 55 w 303"/>
              <a:gd name="T31" fmla="*/ 56 h 359"/>
              <a:gd name="T32" fmla="*/ 48 w 303"/>
              <a:gd name="T33" fmla="*/ 76 h 359"/>
              <a:gd name="T34" fmla="*/ 43 w 303"/>
              <a:gd name="T35" fmla="*/ 97 h 359"/>
              <a:gd name="T36" fmla="*/ 42 w 303"/>
              <a:gd name="T37" fmla="*/ 165 h 359"/>
              <a:gd name="T38" fmla="*/ 0 w 303"/>
              <a:gd name="T39" fmla="*/ 337 h 359"/>
              <a:gd name="T40" fmla="*/ 1 w 303"/>
              <a:gd name="T41" fmla="*/ 341 h 359"/>
              <a:gd name="T42" fmla="*/ 4 w 303"/>
              <a:gd name="T43" fmla="*/ 350 h 359"/>
              <a:gd name="T44" fmla="*/ 11 w 303"/>
              <a:gd name="T45" fmla="*/ 355 h 359"/>
              <a:gd name="T46" fmla="*/ 18 w 303"/>
              <a:gd name="T47" fmla="*/ 359 h 359"/>
              <a:gd name="T48" fmla="*/ 303 w 303"/>
              <a:gd name="T49" fmla="*/ 359 h 359"/>
              <a:gd name="T50" fmla="*/ 303 w 303"/>
              <a:gd name="T51" fmla="*/ 187 h 359"/>
              <a:gd name="T52" fmla="*/ 301 w 303"/>
              <a:gd name="T53" fmla="*/ 179 h 359"/>
              <a:gd name="T54" fmla="*/ 297 w 303"/>
              <a:gd name="T55" fmla="*/ 171 h 359"/>
              <a:gd name="T56" fmla="*/ 289 w 303"/>
              <a:gd name="T57" fmla="*/ 167 h 359"/>
              <a:gd name="T58" fmla="*/ 280 w 303"/>
              <a:gd name="T59" fmla="*/ 165 h 359"/>
              <a:gd name="T60" fmla="*/ 88 w 303"/>
              <a:gd name="T61" fmla="*/ 108 h 359"/>
              <a:gd name="T62" fmla="*/ 90 w 303"/>
              <a:gd name="T63" fmla="*/ 95 h 359"/>
              <a:gd name="T64" fmla="*/ 99 w 303"/>
              <a:gd name="T65" fmla="*/ 74 h 359"/>
              <a:gd name="T66" fmla="*/ 115 w 303"/>
              <a:gd name="T67" fmla="*/ 57 h 359"/>
              <a:gd name="T68" fmla="*/ 137 w 303"/>
              <a:gd name="T69" fmla="*/ 48 h 359"/>
              <a:gd name="T70" fmla="*/ 150 w 303"/>
              <a:gd name="T71" fmla="*/ 47 h 359"/>
              <a:gd name="T72" fmla="*/ 174 w 303"/>
              <a:gd name="T73" fmla="*/ 51 h 359"/>
              <a:gd name="T74" fmla="*/ 193 w 303"/>
              <a:gd name="T75" fmla="*/ 65 h 359"/>
              <a:gd name="T76" fmla="*/ 206 w 303"/>
              <a:gd name="T77" fmla="*/ 84 h 359"/>
              <a:gd name="T78" fmla="*/ 211 w 303"/>
              <a:gd name="T79" fmla="*/ 108 h 359"/>
              <a:gd name="T80" fmla="*/ 88 w 303"/>
              <a:gd name="T81" fmla="*/ 165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03" h="359">
                <a:moveTo>
                  <a:pt x="280" y="165"/>
                </a:moveTo>
                <a:lnTo>
                  <a:pt x="257" y="165"/>
                </a:lnTo>
                <a:lnTo>
                  <a:pt x="257" y="108"/>
                </a:lnTo>
                <a:lnTo>
                  <a:pt x="257" y="108"/>
                </a:lnTo>
                <a:lnTo>
                  <a:pt x="257" y="97"/>
                </a:lnTo>
                <a:lnTo>
                  <a:pt x="255" y="86"/>
                </a:lnTo>
                <a:lnTo>
                  <a:pt x="252" y="76"/>
                </a:lnTo>
                <a:lnTo>
                  <a:pt x="248" y="66"/>
                </a:lnTo>
                <a:lnTo>
                  <a:pt x="244" y="56"/>
                </a:lnTo>
                <a:lnTo>
                  <a:pt x="238" y="48"/>
                </a:lnTo>
                <a:lnTo>
                  <a:pt x="233" y="40"/>
                </a:lnTo>
                <a:lnTo>
                  <a:pt x="225" y="33"/>
                </a:lnTo>
                <a:lnTo>
                  <a:pt x="218" y="25"/>
                </a:lnTo>
                <a:lnTo>
                  <a:pt x="209" y="19"/>
                </a:lnTo>
                <a:lnTo>
                  <a:pt x="201" y="13"/>
                </a:lnTo>
                <a:lnTo>
                  <a:pt x="191" y="9"/>
                </a:lnTo>
                <a:lnTo>
                  <a:pt x="181" y="6"/>
                </a:lnTo>
                <a:lnTo>
                  <a:pt x="171" y="3"/>
                </a:lnTo>
                <a:lnTo>
                  <a:pt x="161" y="2"/>
                </a:lnTo>
                <a:lnTo>
                  <a:pt x="150" y="0"/>
                </a:lnTo>
                <a:lnTo>
                  <a:pt x="150" y="0"/>
                </a:lnTo>
                <a:lnTo>
                  <a:pt x="139" y="2"/>
                </a:lnTo>
                <a:lnTo>
                  <a:pt x="128" y="3"/>
                </a:lnTo>
                <a:lnTo>
                  <a:pt x="118" y="6"/>
                </a:lnTo>
                <a:lnTo>
                  <a:pt x="108" y="9"/>
                </a:lnTo>
                <a:lnTo>
                  <a:pt x="98" y="13"/>
                </a:lnTo>
                <a:lnTo>
                  <a:pt x="90" y="19"/>
                </a:lnTo>
                <a:lnTo>
                  <a:pt x="82" y="25"/>
                </a:lnTo>
                <a:lnTo>
                  <a:pt x="74" y="33"/>
                </a:lnTo>
                <a:lnTo>
                  <a:pt x="67" y="40"/>
                </a:lnTo>
                <a:lnTo>
                  <a:pt x="60" y="48"/>
                </a:lnTo>
                <a:lnTo>
                  <a:pt x="55" y="56"/>
                </a:lnTo>
                <a:lnTo>
                  <a:pt x="51" y="66"/>
                </a:lnTo>
                <a:lnTo>
                  <a:pt x="48" y="76"/>
                </a:lnTo>
                <a:lnTo>
                  <a:pt x="44" y="86"/>
                </a:lnTo>
                <a:lnTo>
                  <a:pt x="43" y="97"/>
                </a:lnTo>
                <a:lnTo>
                  <a:pt x="42" y="108"/>
                </a:lnTo>
                <a:lnTo>
                  <a:pt x="42" y="165"/>
                </a:lnTo>
                <a:lnTo>
                  <a:pt x="0" y="165"/>
                </a:lnTo>
                <a:lnTo>
                  <a:pt x="0" y="337"/>
                </a:lnTo>
                <a:lnTo>
                  <a:pt x="0" y="337"/>
                </a:lnTo>
                <a:lnTo>
                  <a:pt x="1" y="341"/>
                </a:lnTo>
                <a:lnTo>
                  <a:pt x="2" y="345"/>
                </a:lnTo>
                <a:lnTo>
                  <a:pt x="4" y="350"/>
                </a:lnTo>
                <a:lnTo>
                  <a:pt x="8" y="353"/>
                </a:lnTo>
                <a:lnTo>
                  <a:pt x="11" y="355"/>
                </a:lnTo>
                <a:lnTo>
                  <a:pt x="14" y="357"/>
                </a:lnTo>
                <a:lnTo>
                  <a:pt x="18" y="359"/>
                </a:lnTo>
                <a:lnTo>
                  <a:pt x="24" y="359"/>
                </a:lnTo>
                <a:lnTo>
                  <a:pt x="303" y="359"/>
                </a:lnTo>
                <a:lnTo>
                  <a:pt x="303" y="187"/>
                </a:lnTo>
                <a:lnTo>
                  <a:pt x="303" y="187"/>
                </a:lnTo>
                <a:lnTo>
                  <a:pt x="302" y="183"/>
                </a:lnTo>
                <a:lnTo>
                  <a:pt x="301" y="179"/>
                </a:lnTo>
                <a:lnTo>
                  <a:pt x="299" y="175"/>
                </a:lnTo>
                <a:lnTo>
                  <a:pt x="297" y="171"/>
                </a:lnTo>
                <a:lnTo>
                  <a:pt x="292" y="169"/>
                </a:lnTo>
                <a:lnTo>
                  <a:pt x="289" y="167"/>
                </a:lnTo>
                <a:lnTo>
                  <a:pt x="285" y="165"/>
                </a:lnTo>
                <a:lnTo>
                  <a:pt x="280" y="165"/>
                </a:lnTo>
                <a:lnTo>
                  <a:pt x="280" y="165"/>
                </a:lnTo>
                <a:close/>
                <a:moveTo>
                  <a:pt x="88" y="108"/>
                </a:moveTo>
                <a:lnTo>
                  <a:pt x="88" y="108"/>
                </a:lnTo>
                <a:lnTo>
                  <a:pt x="90" y="95"/>
                </a:lnTo>
                <a:lnTo>
                  <a:pt x="93" y="84"/>
                </a:lnTo>
                <a:lnTo>
                  <a:pt x="99" y="74"/>
                </a:lnTo>
                <a:lnTo>
                  <a:pt x="107" y="65"/>
                </a:lnTo>
                <a:lnTo>
                  <a:pt x="115" y="57"/>
                </a:lnTo>
                <a:lnTo>
                  <a:pt x="126" y="51"/>
                </a:lnTo>
                <a:lnTo>
                  <a:pt x="137" y="48"/>
                </a:lnTo>
                <a:lnTo>
                  <a:pt x="150" y="47"/>
                </a:lnTo>
                <a:lnTo>
                  <a:pt x="150" y="47"/>
                </a:lnTo>
                <a:lnTo>
                  <a:pt x="162" y="48"/>
                </a:lnTo>
                <a:lnTo>
                  <a:pt x="174" y="51"/>
                </a:lnTo>
                <a:lnTo>
                  <a:pt x="184" y="57"/>
                </a:lnTo>
                <a:lnTo>
                  <a:pt x="193" y="65"/>
                </a:lnTo>
                <a:lnTo>
                  <a:pt x="201" y="74"/>
                </a:lnTo>
                <a:lnTo>
                  <a:pt x="206" y="84"/>
                </a:lnTo>
                <a:lnTo>
                  <a:pt x="209" y="95"/>
                </a:lnTo>
                <a:lnTo>
                  <a:pt x="211" y="108"/>
                </a:lnTo>
                <a:lnTo>
                  <a:pt x="211" y="165"/>
                </a:lnTo>
                <a:lnTo>
                  <a:pt x="88" y="165"/>
                </a:lnTo>
                <a:lnTo>
                  <a:pt x="88" y="108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2" name="Group 4"/>
          <p:cNvGrpSpPr>
            <a:grpSpLocks noChangeAspect="1"/>
          </p:cNvGrpSpPr>
          <p:nvPr/>
        </p:nvGrpSpPr>
        <p:grpSpPr bwMode="auto">
          <a:xfrm>
            <a:off x="9665915" y="2763875"/>
            <a:ext cx="773486" cy="952326"/>
            <a:chOff x="3699" y="622"/>
            <a:chExt cx="173" cy="213"/>
          </a:xfrm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3699" y="622"/>
              <a:ext cx="127" cy="213"/>
            </a:xfrm>
            <a:custGeom>
              <a:avLst/>
              <a:gdLst>
                <a:gd name="T0" fmla="*/ 149 w 254"/>
                <a:gd name="T1" fmla="*/ 412 h 426"/>
                <a:gd name="T2" fmla="*/ 149 w 254"/>
                <a:gd name="T3" fmla="*/ 283 h 426"/>
                <a:gd name="T4" fmla="*/ 174 w 254"/>
                <a:gd name="T5" fmla="*/ 283 h 426"/>
                <a:gd name="T6" fmla="*/ 174 w 254"/>
                <a:gd name="T7" fmla="*/ 277 h 426"/>
                <a:gd name="T8" fmla="*/ 174 w 254"/>
                <a:gd name="T9" fmla="*/ 277 h 426"/>
                <a:gd name="T10" fmla="*/ 174 w 254"/>
                <a:gd name="T11" fmla="*/ 270 h 426"/>
                <a:gd name="T12" fmla="*/ 175 w 254"/>
                <a:gd name="T13" fmla="*/ 261 h 426"/>
                <a:gd name="T14" fmla="*/ 177 w 254"/>
                <a:gd name="T15" fmla="*/ 254 h 426"/>
                <a:gd name="T16" fmla="*/ 181 w 254"/>
                <a:gd name="T17" fmla="*/ 246 h 426"/>
                <a:gd name="T18" fmla="*/ 184 w 254"/>
                <a:gd name="T19" fmla="*/ 240 h 426"/>
                <a:gd name="T20" fmla="*/ 188 w 254"/>
                <a:gd name="T21" fmla="*/ 233 h 426"/>
                <a:gd name="T22" fmla="*/ 192 w 254"/>
                <a:gd name="T23" fmla="*/ 227 h 426"/>
                <a:gd name="T24" fmla="*/ 198 w 254"/>
                <a:gd name="T25" fmla="*/ 222 h 426"/>
                <a:gd name="T26" fmla="*/ 203 w 254"/>
                <a:gd name="T27" fmla="*/ 216 h 426"/>
                <a:gd name="T28" fmla="*/ 209 w 254"/>
                <a:gd name="T29" fmla="*/ 212 h 426"/>
                <a:gd name="T30" fmla="*/ 216 w 254"/>
                <a:gd name="T31" fmla="*/ 208 h 426"/>
                <a:gd name="T32" fmla="*/ 223 w 254"/>
                <a:gd name="T33" fmla="*/ 204 h 426"/>
                <a:gd name="T34" fmla="*/ 230 w 254"/>
                <a:gd name="T35" fmla="*/ 201 h 426"/>
                <a:gd name="T36" fmla="*/ 238 w 254"/>
                <a:gd name="T37" fmla="*/ 199 h 426"/>
                <a:gd name="T38" fmla="*/ 245 w 254"/>
                <a:gd name="T39" fmla="*/ 198 h 426"/>
                <a:gd name="T40" fmla="*/ 254 w 254"/>
                <a:gd name="T41" fmla="*/ 198 h 426"/>
                <a:gd name="T42" fmla="*/ 254 w 254"/>
                <a:gd name="T43" fmla="*/ 31 h 426"/>
                <a:gd name="T44" fmla="*/ 254 w 254"/>
                <a:gd name="T45" fmla="*/ 31 h 426"/>
                <a:gd name="T46" fmla="*/ 253 w 254"/>
                <a:gd name="T47" fmla="*/ 25 h 426"/>
                <a:gd name="T48" fmla="*/ 251 w 254"/>
                <a:gd name="T49" fmla="*/ 20 h 426"/>
                <a:gd name="T50" fmla="*/ 249 w 254"/>
                <a:gd name="T51" fmla="*/ 14 h 426"/>
                <a:gd name="T52" fmla="*/ 244 w 254"/>
                <a:gd name="T53" fmla="*/ 10 h 426"/>
                <a:gd name="T54" fmla="*/ 240 w 254"/>
                <a:gd name="T55" fmla="*/ 6 h 426"/>
                <a:gd name="T56" fmla="*/ 235 w 254"/>
                <a:gd name="T57" fmla="*/ 3 h 426"/>
                <a:gd name="T58" fmla="*/ 229 w 254"/>
                <a:gd name="T59" fmla="*/ 1 h 426"/>
                <a:gd name="T60" fmla="*/ 223 w 254"/>
                <a:gd name="T61" fmla="*/ 0 h 426"/>
                <a:gd name="T62" fmla="*/ 0 w 254"/>
                <a:gd name="T63" fmla="*/ 0 h 426"/>
                <a:gd name="T64" fmla="*/ 0 w 254"/>
                <a:gd name="T65" fmla="*/ 50 h 426"/>
                <a:gd name="T66" fmla="*/ 198 w 254"/>
                <a:gd name="T67" fmla="*/ 50 h 426"/>
                <a:gd name="T68" fmla="*/ 198 w 254"/>
                <a:gd name="T69" fmla="*/ 70 h 426"/>
                <a:gd name="T70" fmla="*/ 0 w 254"/>
                <a:gd name="T71" fmla="*/ 70 h 426"/>
                <a:gd name="T72" fmla="*/ 0 w 254"/>
                <a:gd name="T73" fmla="*/ 100 h 426"/>
                <a:gd name="T74" fmla="*/ 198 w 254"/>
                <a:gd name="T75" fmla="*/ 100 h 426"/>
                <a:gd name="T76" fmla="*/ 198 w 254"/>
                <a:gd name="T77" fmla="*/ 122 h 426"/>
                <a:gd name="T78" fmla="*/ 0 w 254"/>
                <a:gd name="T79" fmla="*/ 122 h 426"/>
                <a:gd name="T80" fmla="*/ 0 w 254"/>
                <a:gd name="T81" fmla="*/ 395 h 426"/>
                <a:gd name="T82" fmla="*/ 0 w 254"/>
                <a:gd name="T83" fmla="*/ 395 h 426"/>
                <a:gd name="T84" fmla="*/ 1 w 254"/>
                <a:gd name="T85" fmla="*/ 401 h 426"/>
                <a:gd name="T86" fmla="*/ 3 w 254"/>
                <a:gd name="T87" fmla="*/ 406 h 426"/>
                <a:gd name="T88" fmla="*/ 5 w 254"/>
                <a:gd name="T89" fmla="*/ 412 h 426"/>
                <a:gd name="T90" fmla="*/ 9 w 254"/>
                <a:gd name="T91" fmla="*/ 416 h 426"/>
                <a:gd name="T92" fmla="*/ 14 w 254"/>
                <a:gd name="T93" fmla="*/ 420 h 426"/>
                <a:gd name="T94" fmla="*/ 19 w 254"/>
                <a:gd name="T95" fmla="*/ 423 h 426"/>
                <a:gd name="T96" fmla="*/ 24 w 254"/>
                <a:gd name="T97" fmla="*/ 425 h 426"/>
                <a:gd name="T98" fmla="*/ 31 w 254"/>
                <a:gd name="T99" fmla="*/ 426 h 426"/>
                <a:gd name="T100" fmla="*/ 153 w 254"/>
                <a:gd name="T101" fmla="*/ 426 h 426"/>
                <a:gd name="T102" fmla="*/ 153 w 254"/>
                <a:gd name="T103" fmla="*/ 426 h 426"/>
                <a:gd name="T104" fmla="*/ 150 w 254"/>
                <a:gd name="T105" fmla="*/ 419 h 426"/>
                <a:gd name="T106" fmla="*/ 149 w 254"/>
                <a:gd name="T107" fmla="*/ 412 h 426"/>
                <a:gd name="T108" fmla="*/ 149 w 254"/>
                <a:gd name="T109" fmla="*/ 412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4" h="426">
                  <a:moveTo>
                    <a:pt x="149" y="412"/>
                  </a:moveTo>
                  <a:lnTo>
                    <a:pt x="149" y="283"/>
                  </a:lnTo>
                  <a:lnTo>
                    <a:pt x="174" y="283"/>
                  </a:lnTo>
                  <a:lnTo>
                    <a:pt x="174" y="277"/>
                  </a:lnTo>
                  <a:lnTo>
                    <a:pt x="174" y="277"/>
                  </a:lnTo>
                  <a:lnTo>
                    <a:pt x="174" y="270"/>
                  </a:lnTo>
                  <a:lnTo>
                    <a:pt x="175" y="261"/>
                  </a:lnTo>
                  <a:lnTo>
                    <a:pt x="177" y="254"/>
                  </a:lnTo>
                  <a:lnTo>
                    <a:pt x="181" y="246"/>
                  </a:lnTo>
                  <a:lnTo>
                    <a:pt x="184" y="240"/>
                  </a:lnTo>
                  <a:lnTo>
                    <a:pt x="188" y="233"/>
                  </a:lnTo>
                  <a:lnTo>
                    <a:pt x="192" y="227"/>
                  </a:lnTo>
                  <a:lnTo>
                    <a:pt x="198" y="222"/>
                  </a:lnTo>
                  <a:lnTo>
                    <a:pt x="203" y="216"/>
                  </a:lnTo>
                  <a:lnTo>
                    <a:pt x="209" y="212"/>
                  </a:lnTo>
                  <a:lnTo>
                    <a:pt x="216" y="208"/>
                  </a:lnTo>
                  <a:lnTo>
                    <a:pt x="223" y="204"/>
                  </a:lnTo>
                  <a:lnTo>
                    <a:pt x="230" y="201"/>
                  </a:lnTo>
                  <a:lnTo>
                    <a:pt x="238" y="199"/>
                  </a:lnTo>
                  <a:lnTo>
                    <a:pt x="245" y="198"/>
                  </a:lnTo>
                  <a:lnTo>
                    <a:pt x="254" y="198"/>
                  </a:lnTo>
                  <a:lnTo>
                    <a:pt x="254" y="31"/>
                  </a:lnTo>
                  <a:lnTo>
                    <a:pt x="254" y="31"/>
                  </a:lnTo>
                  <a:lnTo>
                    <a:pt x="253" y="25"/>
                  </a:lnTo>
                  <a:lnTo>
                    <a:pt x="251" y="20"/>
                  </a:lnTo>
                  <a:lnTo>
                    <a:pt x="249" y="14"/>
                  </a:lnTo>
                  <a:lnTo>
                    <a:pt x="244" y="10"/>
                  </a:lnTo>
                  <a:lnTo>
                    <a:pt x="240" y="6"/>
                  </a:lnTo>
                  <a:lnTo>
                    <a:pt x="235" y="3"/>
                  </a:lnTo>
                  <a:lnTo>
                    <a:pt x="229" y="1"/>
                  </a:lnTo>
                  <a:lnTo>
                    <a:pt x="223" y="0"/>
                  </a:lnTo>
                  <a:lnTo>
                    <a:pt x="0" y="0"/>
                  </a:lnTo>
                  <a:lnTo>
                    <a:pt x="0" y="50"/>
                  </a:lnTo>
                  <a:lnTo>
                    <a:pt x="198" y="50"/>
                  </a:lnTo>
                  <a:lnTo>
                    <a:pt x="198" y="70"/>
                  </a:lnTo>
                  <a:lnTo>
                    <a:pt x="0" y="70"/>
                  </a:lnTo>
                  <a:lnTo>
                    <a:pt x="0" y="100"/>
                  </a:lnTo>
                  <a:lnTo>
                    <a:pt x="198" y="100"/>
                  </a:lnTo>
                  <a:lnTo>
                    <a:pt x="198" y="122"/>
                  </a:lnTo>
                  <a:lnTo>
                    <a:pt x="0" y="122"/>
                  </a:lnTo>
                  <a:lnTo>
                    <a:pt x="0" y="395"/>
                  </a:lnTo>
                  <a:lnTo>
                    <a:pt x="0" y="395"/>
                  </a:lnTo>
                  <a:lnTo>
                    <a:pt x="1" y="401"/>
                  </a:lnTo>
                  <a:lnTo>
                    <a:pt x="3" y="406"/>
                  </a:lnTo>
                  <a:lnTo>
                    <a:pt x="5" y="412"/>
                  </a:lnTo>
                  <a:lnTo>
                    <a:pt x="9" y="416"/>
                  </a:lnTo>
                  <a:lnTo>
                    <a:pt x="14" y="420"/>
                  </a:lnTo>
                  <a:lnTo>
                    <a:pt x="19" y="423"/>
                  </a:lnTo>
                  <a:lnTo>
                    <a:pt x="24" y="425"/>
                  </a:lnTo>
                  <a:lnTo>
                    <a:pt x="31" y="426"/>
                  </a:lnTo>
                  <a:lnTo>
                    <a:pt x="153" y="426"/>
                  </a:lnTo>
                  <a:lnTo>
                    <a:pt x="153" y="426"/>
                  </a:lnTo>
                  <a:lnTo>
                    <a:pt x="150" y="419"/>
                  </a:lnTo>
                  <a:lnTo>
                    <a:pt x="149" y="412"/>
                  </a:lnTo>
                  <a:lnTo>
                    <a:pt x="149" y="412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783" y="730"/>
              <a:ext cx="89" cy="105"/>
            </a:xfrm>
            <a:custGeom>
              <a:avLst/>
              <a:gdLst>
                <a:gd name="T0" fmla="*/ 151 w 178"/>
                <a:gd name="T1" fmla="*/ 85 h 211"/>
                <a:gd name="T2" fmla="*/ 151 w 178"/>
                <a:gd name="T3" fmla="*/ 62 h 211"/>
                <a:gd name="T4" fmla="*/ 148 w 178"/>
                <a:gd name="T5" fmla="*/ 50 h 211"/>
                <a:gd name="T6" fmla="*/ 140 w 178"/>
                <a:gd name="T7" fmla="*/ 28 h 211"/>
                <a:gd name="T8" fmla="*/ 123 w 178"/>
                <a:gd name="T9" fmla="*/ 11 h 211"/>
                <a:gd name="T10" fmla="*/ 100 w 178"/>
                <a:gd name="T11" fmla="*/ 1 h 211"/>
                <a:gd name="T12" fmla="*/ 87 w 178"/>
                <a:gd name="T13" fmla="*/ 0 h 211"/>
                <a:gd name="T14" fmla="*/ 80 w 178"/>
                <a:gd name="T15" fmla="*/ 0 h 211"/>
                <a:gd name="T16" fmla="*/ 63 w 178"/>
                <a:gd name="T17" fmla="*/ 4 h 211"/>
                <a:gd name="T18" fmla="*/ 43 w 178"/>
                <a:gd name="T19" fmla="*/ 18 h 211"/>
                <a:gd name="T20" fmla="*/ 30 w 178"/>
                <a:gd name="T21" fmla="*/ 38 h 211"/>
                <a:gd name="T22" fmla="*/ 24 w 178"/>
                <a:gd name="T23" fmla="*/ 56 h 211"/>
                <a:gd name="T24" fmla="*/ 24 w 178"/>
                <a:gd name="T25" fmla="*/ 85 h 211"/>
                <a:gd name="T26" fmla="*/ 0 w 178"/>
                <a:gd name="T27" fmla="*/ 197 h 211"/>
                <a:gd name="T28" fmla="*/ 1 w 178"/>
                <a:gd name="T29" fmla="*/ 202 h 211"/>
                <a:gd name="T30" fmla="*/ 8 w 178"/>
                <a:gd name="T31" fmla="*/ 210 h 211"/>
                <a:gd name="T32" fmla="*/ 178 w 178"/>
                <a:gd name="T33" fmla="*/ 211 h 211"/>
                <a:gd name="T34" fmla="*/ 178 w 178"/>
                <a:gd name="T35" fmla="*/ 99 h 211"/>
                <a:gd name="T36" fmla="*/ 173 w 178"/>
                <a:gd name="T37" fmla="*/ 89 h 211"/>
                <a:gd name="T38" fmla="*/ 163 w 178"/>
                <a:gd name="T39" fmla="*/ 85 h 211"/>
                <a:gd name="T40" fmla="*/ 51 w 178"/>
                <a:gd name="T41" fmla="*/ 62 h 211"/>
                <a:gd name="T42" fmla="*/ 52 w 178"/>
                <a:gd name="T43" fmla="*/ 55 h 211"/>
                <a:gd name="T44" fmla="*/ 58 w 178"/>
                <a:gd name="T45" fmla="*/ 43 h 211"/>
                <a:gd name="T46" fmla="*/ 68 w 178"/>
                <a:gd name="T47" fmla="*/ 32 h 211"/>
                <a:gd name="T48" fmla="*/ 80 w 178"/>
                <a:gd name="T49" fmla="*/ 27 h 211"/>
                <a:gd name="T50" fmla="*/ 87 w 178"/>
                <a:gd name="T51" fmla="*/ 27 h 211"/>
                <a:gd name="T52" fmla="*/ 101 w 178"/>
                <a:gd name="T53" fmla="*/ 29 h 211"/>
                <a:gd name="T54" fmla="*/ 113 w 178"/>
                <a:gd name="T55" fmla="*/ 38 h 211"/>
                <a:gd name="T56" fmla="*/ 120 w 178"/>
                <a:gd name="T57" fmla="*/ 49 h 211"/>
                <a:gd name="T58" fmla="*/ 124 w 178"/>
                <a:gd name="T59" fmla="*/ 62 h 211"/>
                <a:gd name="T60" fmla="*/ 51 w 178"/>
                <a:gd name="T61" fmla="*/ 85 h 211"/>
                <a:gd name="T62" fmla="*/ 88 w 178"/>
                <a:gd name="T63" fmla="*/ 99 h 211"/>
                <a:gd name="T64" fmla="*/ 64 w 178"/>
                <a:gd name="T65" fmla="*/ 123 h 211"/>
                <a:gd name="T66" fmla="*/ 88 w 178"/>
                <a:gd name="T67" fmla="*/ 99 h 211"/>
                <a:gd name="T68" fmla="*/ 88 w 178"/>
                <a:gd name="T69" fmla="*/ 195 h 211"/>
                <a:gd name="T70" fmla="*/ 64 w 178"/>
                <a:gd name="T71" fmla="*/ 171 h 211"/>
                <a:gd name="T72" fmla="*/ 88 w 178"/>
                <a:gd name="T73" fmla="*/ 147 h 211"/>
                <a:gd name="T74" fmla="*/ 113 w 178"/>
                <a:gd name="T75" fmla="*/ 124 h 211"/>
                <a:gd name="T76" fmla="*/ 88 w 178"/>
                <a:gd name="T77" fmla="*/ 147 h 211"/>
                <a:gd name="T78" fmla="*/ 113 w 178"/>
                <a:gd name="T79" fmla="*/ 171 h 211"/>
                <a:gd name="T80" fmla="*/ 137 w 178"/>
                <a:gd name="T81" fmla="*/ 147 h 211"/>
                <a:gd name="T82" fmla="*/ 160 w 178"/>
                <a:gd name="T83" fmla="*/ 123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8" h="211">
                  <a:moveTo>
                    <a:pt x="163" y="85"/>
                  </a:moveTo>
                  <a:lnTo>
                    <a:pt x="151" y="85"/>
                  </a:lnTo>
                  <a:lnTo>
                    <a:pt x="151" y="62"/>
                  </a:lnTo>
                  <a:lnTo>
                    <a:pt x="151" y="62"/>
                  </a:lnTo>
                  <a:lnTo>
                    <a:pt x="149" y="56"/>
                  </a:lnTo>
                  <a:lnTo>
                    <a:pt x="148" y="50"/>
                  </a:lnTo>
                  <a:lnTo>
                    <a:pt x="145" y="38"/>
                  </a:lnTo>
                  <a:lnTo>
                    <a:pt x="140" y="28"/>
                  </a:lnTo>
                  <a:lnTo>
                    <a:pt x="131" y="18"/>
                  </a:lnTo>
                  <a:lnTo>
                    <a:pt x="123" y="11"/>
                  </a:lnTo>
                  <a:lnTo>
                    <a:pt x="112" y="4"/>
                  </a:lnTo>
                  <a:lnTo>
                    <a:pt x="100" y="1"/>
                  </a:lnTo>
                  <a:lnTo>
                    <a:pt x="93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0" y="0"/>
                  </a:lnTo>
                  <a:lnTo>
                    <a:pt x="75" y="1"/>
                  </a:lnTo>
                  <a:lnTo>
                    <a:pt x="63" y="4"/>
                  </a:lnTo>
                  <a:lnTo>
                    <a:pt x="52" y="11"/>
                  </a:lnTo>
                  <a:lnTo>
                    <a:pt x="43" y="18"/>
                  </a:lnTo>
                  <a:lnTo>
                    <a:pt x="35" y="28"/>
                  </a:lnTo>
                  <a:lnTo>
                    <a:pt x="30" y="38"/>
                  </a:lnTo>
                  <a:lnTo>
                    <a:pt x="25" y="50"/>
                  </a:lnTo>
                  <a:lnTo>
                    <a:pt x="24" y="56"/>
                  </a:lnTo>
                  <a:lnTo>
                    <a:pt x="24" y="62"/>
                  </a:lnTo>
                  <a:lnTo>
                    <a:pt x="24" y="85"/>
                  </a:lnTo>
                  <a:lnTo>
                    <a:pt x="0" y="85"/>
                  </a:lnTo>
                  <a:lnTo>
                    <a:pt x="0" y="197"/>
                  </a:lnTo>
                  <a:lnTo>
                    <a:pt x="0" y="197"/>
                  </a:lnTo>
                  <a:lnTo>
                    <a:pt x="1" y="202"/>
                  </a:lnTo>
                  <a:lnTo>
                    <a:pt x="4" y="207"/>
                  </a:lnTo>
                  <a:lnTo>
                    <a:pt x="8" y="210"/>
                  </a:lnTo>
                  <a:lnTo>
                    <a:pt x="14" y="211"/>
                  </a:lnTo>
                  <a:lnTo>
                    <a:pt x="178" y="211"/>
                  </a:lnTo>
                  <a:lnTo>
                    <a:pt x="178" y="99"/>
                  </a:lnTo>
                  <a:lnTo>
                    <a:pt x="178" y="99"/>
                  </a:lnTo>
                  <a:lnTo>
                    <a:pt x="176" y="94"/>
                  </a:lnTo>
                  <a:lnTo>
                    <a:pt x="173" y="89"/>
                  </a:lnTo>
                  <a:lnTo>
                    <a:pt x="169" y="86"/>
                  </a:lnTo>
                  <a:lnTo>
                    <a:pt x="163" y="85"/>
                  </a:lnTo>
                  <a:lnTo>
                    <a:pt x="163" y="85"/>
                  </a:lnTo>
                  <a:close/>
                  <a:moveTo>
                    <a:pt x="51" y="62"/>
                  </a:moveTo>
                  <a:lnTo>
                    <a:pt x="51" y="62"/>
                  </a:lnTo>
                  <a:lnTo>
                    <a:pt x="52" y="55"/>
                  </a:lnTo>
                  <a:lnTo>
                    <a:pt x="55" y="49"/>
                  </a:lnTo>
                  <a:lnTo>
                    <a:pt x="58" y="43"/>
                  </a:lnTo>
                  <a:lnTo>
                    <a:pt x="62" y="38"/>
                  </a:lnTo>
                  <a:lnTo>
                    <a:pt x="68" y="32"/>
                  </a:lnTo>
                  <a:lnTo>
                    <a:pt x="73" y="29"/>
                  </a:lnTo>
                  <a:lnTo>
                    <a:pt x="80" y="27"/>
                  </a:lnTo>
                  <a:lnTo>
                    <a:pt x="87" y="27"/>
                  </a:lnTo>
                  <a:lnTo>
                    <a:pt x="87" y="27"/>
                  </a:lnTo>
                  <a:lnTo>
                    <a:pt x="94" y="27"/>
                  </a:lnTo>
                  <a:lnTo>
                    <a:pt x="101" y="29"/>
                  </a:lnTo>
                  <a:lnTo>
                    <a:pt x="107" y="32"/>
                  </a:lnTo>
                  <a:lnTo>
                    <a:pt x="113" y="38"/>
                  </a:lnTo>
                  <a:lnTo>
                    <a:pt x="117" y="43"/>
                  </a:lnTo>
                  <a:lnTo>
                    <a:pt x="120" y="49"/>
                  </a:lnTo>
                  <a:lnTo>
                    <a:pt x="123" y="55"/>
                  </a:lnTo>
                  <a:lnTo>
                    <a:pt x="124" y="62"/>
                  </a:lnTo>
                  <a:lnTo>
                    <a:pt x="124" y="85"/>
                  </a:lnTo>
                  <a:lnTo>
                    <a:pt x="51" y="85"/>
                  </a:lnTo>
                  <a:lnTo>
                    <a:pt x="51" y="62"/>
                  </a:lnTo>
                  <a:close/>
                  <a:moveTo>
                    <a:pt x="88" y="99"/>
                  </a:moveTo>
                  <a:lnTo>
                    <a:pt x="88" y="123"/>
                  </a:lnTo>
                  <a:lnTo>
                    <a:pt x="64" y="123"/>
                  </a:lnTo>
                  <a:lnTo>
                    <a:pt x="64" y="99"/>
                  </a:lnTo>
                  <a:lnTo>
                    <a:pt x="88" y="99"/>
                  </a:lnTo>
                  <a:close/>
                  <a:moveTo>
                    <a:pt x="160" y="195"/>
                  </a:moveTo>
                  <a:lnTo>
                    <a:pt x="88" y="195"/>
                  </a:lnTo>
                  <a:lnTo>
                    <a:pt x="88" y="171"/>
                  </a:lnTo>
                  <a:lnTo>
                    <a:pt x="64" y="171"/>
                  </a:lnTo>
                  <a:lnTo>
                    <a:pt x="64" y="147"/>
                  </a:lnTo>
                  <a:lnTo>
                    <a:pt x="88" y="147"/>
                  </a:lnTo>
                  <a:lnTo>
                    <a:pt x="88" y="124"/>
                  </a:lnTo>
                  <a:lnTo>
                    <a:pt x="113" y="124"/>
                  </a:lnTo>
                  <a:lnTo>
                    <a:pt x="113" y="147"/>
                  </a:lnTo>
                  <a:lnTo>
                    <a:pt x="88" y="147"/>
                  </a:lnTo>
                  <a:lnTo>
                    <a:pt x="88" y="171"/>
                  </a:lnTo>
                  <a:lnTo>
                    <a:pt x="113" y="171"/>
                  </a:lnTo>
                  <a:lnTo>
                    <a:pt x="113" y="147"/>
                  </a:lnTo>
                  <a:lnTo>
                    <a:pt x="137" y="147"/>
                  </a:lnTo>
                  <a:lnTo>
                    <a:pt x="137" y="123"/>
                  </a:lnTo>
                  <a:lnTo>
                    <a:pt x="160" y="123"/>
                  </a:lnTo>
                  <a:lnTo>
                    <a:pt x="160" y="195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" name="Freeform 222"/>
          <p:cNvSpPr>
            <a:spLocks/>
          </p:cNvSpPr>
          <p:nvPr/>
        </p:nvSpPr>
        <p:spPr bwMode="auto">
          <a:xfrm>
            <a:off x="6916455" y="2829702"/>
            <a:ext cx="996862" cy="820672"/>
          </a:xfrm>
          <a:custGeom>
            <a:avLst/>
            <a:gdLst>
              <a:gd name="T0" fmla="*/ 198 w 430"/>
              <a:gd name="T1" fmla="*/ 352 h 354"/>
              <a:gd name="T2" fmla="*/ 6 w 430"/>
              <a:gd name="T3" fmla="*/ 204 h 354"/>
              <a:gd name="T4" fmla="*/ 6 w 430"/>
              <a:gd name="T5" fmla="*/ 204 h 354"/>
              <a:gd name="T6" fmla="*/ 3 w 430"/>
              <a:gd name="T7" fmla="*/ 201 h 354"/>
              <a:gd name="T8" fmla="*/ 0 w 430"/>
              <a:gd name="T9" fmla="*/ 196 h 354"/>
              <a:gd name="T10" fmla="*/ 2 w 430"/>
              <a:gd name="T11" fmla="*/ 191 h 354"/>
              <a:gd name="T12" fmla="*/ 4 w 430"/>
              <a:gd name="T13" fmla="*/ 187 h 354"/>
              <a:gd name="T14" fmla="*/ 57 w 430"/>
              <a:gd name="T15" fmla="*/ 117 h 354"/>
              <a:gd name="T16" fmla="*/ 57 w 430"/>
              <a:gd name="T17" fmla="*/ 117 h 354"/>
              <a:gd name="T18" fmla="*/ 60 w 430"/>
              <a:gd name="T19" fmla="*/ 114 h 354"/>
              <a:gd name="T20" fmla="*/ 64 w 430"/>
              <a:gd name="T21" fmla="*/ 113 h 354"/>
              <a:gd name="T22" fmla="*/ 69 w 430"/>
              <a:gd name="T23" fmla="*/ 113 h 354"/>
              <a:gd name="T24" fmla="*/ 74 w 430"/>
              <a:gd name="T25" fmla="*/ 115 h 354"/>
              <a:gd name="T26" fmla="*/ 187 w 430"/>
              <a:gd name="T27" fmla="*/ 202 h 354"/>
              <a:gd name="T28" fmla="*/ 338 w 430"/>
              <a:gd name="T29" fmla="*/ 4 h 354"/>
              <a:gd name="T30" fmla="*/ 338 w 430"/>
              <a:gd name="T31" fmla="*/ 4 h 354"/>
              <a:gd name="T32" fmla="*/ 341 w 430"/>
              <a:gd name="T33" fmla="*/ 1 h 354"/>
              <a:gd name="T34" fmla="*/ 345 w 430"/>
              <a:gd name="T35" fmla="*/ 0 h 354"/>
              <a:gd name="T36" fmla="*/ 351 w 430"/>
              <a:gd name="T37" fmla="*/ 0 h 354"/>
              <a:gd name="T38" fmla="*/ 355 w 430"/>
              <a:gd name="T39" fmla="*/ 2 h 354"/>
              <a:gd name="T40" fmla="*/ 424 w 430"/>
              <a:gd name="T41" fmla="*/ 55 h 354"/>
              <a:gd name="T42" fmla="*/ 424 w 430"/>
              <a:gd name="T43" fmla="*/ 55 h 354"/>
              <a:gd name="T44" fmla="*/ 427 w 430"/>
              <a:gd name="T45" fmla="*/ 59 h 354"/>
              <a:gd name="T46" fmla="*/ 430 w 430"/>
              <a:gd name="T47" fmla="*/ 63 h 354"/>
              <a:gd name="T48" fmla="*/ 428 w 430"/>
              <a:gd name="T49" fmla="*/ 68 h 354"/>
              <a:gd name="T50" fmla="*/ 426 w 430"/>
              <a:gd name="T51" fmla="*/ 72 h 354"/>
              <a:gd name="T52" fmla="*/ 215 w 430"/>
              <a:gd name="T53" fmla="*/ 350 h 354"/>
              <a:gd name="T54" fmla="*/ 215 w 430"/>
              <a:gd name="T55" fmla="*/ 350 h 354"/>
              <a:gd name="T56" fmla="*/ 212 w 430"/>
              <a:gd name="T57" fmla="*/ 353 h 354"/>
              <a:gd name="T58" fmla="*/ 207 w 430"/>
              <a:gd name="T59" fmla="*/ 354 h 354"/>
              <a:gd name="T60" fmla="*/ 202 w 430"/>
              <a:gd name="T61" fmla="*/ 354 h 354"/>
              <a:gd name="T62" fmla="*/ 198 w 430"/>
              <a:gd name="T63" fmla="*/ 352 h 354"/>
              <a:gd name="T64" fmla="*/ 198 w 430"/>
              <a:gd name="T65" fmla="*/ 352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30" h="354">
                <a:moveTo>
                  <a:pt x="198" y="352"/>
                </a:moveTo>
                <a:lnTo>
                  <a:pt x="6" y="204"/>
                </a:lnTo>
                <a:lnTo>
                  <a:pt x="6" y="204"/>
                </a:lnTo>
                <a:lnTo>
                  <a:pt x="3" y="201"/>
                </a:lnTo>
                <a:lnTo>
                  <a:pt x="0" y="196"/>
                </a:lnTo>
                <a:lnTo>
                  <a:pt x="2" y="191"/>
                </a:lnTo>
                <a:lnTo>
                  <a:pt x="4" y="187"/>
                </a:lnTo>
                <a:lnTo>
                  <a:pt x="57" y="117"/>
                </a:lnTo>
                <a:lnTo>
                  <a:pt x="57" y="117"/>
                </a:lnTo>
                <a:lnTo>
                  <a:pt x="60" y="114"/>
                </a:lnTo>
                <a:lnTo>
                  <a:pt x="64" y="113"/>
                </a:lnTo>
                <a:lnTo>
                  <a:pt x="69" y="113"/>
                </a:lnTo>
                <a:lnTo>
                  <a:pt x="74" y="115"/>
                </a:lnTo>
                <a:lnTo>
                  <a:pt x="187" y="202"/>
                </a:lnTo>
                <a:lnTo>
                  <a:pt x="338" y="4"/>
                </a:lnTo>
                <a:lnTo>
                  <a:pt x="338" y="4"/>
                </a:lnTo>
                <a:lnTo>
                  <a:pt x="341" y="1"/>
                </a:lnTo>
                <a:lnTo>
                  <a:pt x="345" y="0"/>
                </a:lnTo>
                <a:lnTo>
                  <a:pt x="351" y="0"/>
                </a:lnTo>
                <a:lnTo>
                  <a:pt x="355" y="2"/>
                </a:lnTo>
                <a:lnTo>
                  <a:pt x="424" y="55"/>
                </a:lnTo>
                <a:lnTo>
                  <a:pt x="424" y="55"/>
                </a:lnTo>
                <a:lnTo>
                  <a:pt x="427" y="59"/>
                </a:lnTo>
                <a:lnTo>
                  <a:pt x="430" y="63"/>
                </a:lnTo>
                <a:lnTo>
                  <a:pt x="428" y="68"/>
                </a:lnTo>
                <a:lnTo>
                  <a:pt x="426" y="72"/>
                </a:lnTo>
                <a:lnTo>
                  <a:pt x="215" y="350"/>
                </a:lnTo>
                <a:lnTo>
                  <a:pt x="215" y="350"/>
                </a:lnTo>
                <a:lnTo>
                  <a:pt x="212" y="353"/>
                </a:lnTo>
                <a:lnTo>
                  <a:pt x="207" y="354"/>
                </a:lnTo>
                <a:lnTo>
                  <a:pt x="202" y="354"/>
                </a:lnTo>
                <a:lnTo>
                  <a:pt x="198" y="352"/>
                </a:lnTo>
                <a:lnTo>
                  <a:pt x="198" y="352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" name="Group 4"/>
          <p:cNvGrpSpPr>
            <a:grpSpLocks noChangeAspect="1"/>
          </p:cNvGrpSpPr>
          <p:nvPr/>
        </p:nvGrpSpPr>
        <p:grpSpPr bwMode="auto">
          <a:xfrm>
            <a:off x="4278683" y="2709276"/>
            <a:ext cx="996862" cy="1061524"/>
            <a:chOff x="214" y="1214"/>
            <a:chExt cx="185" cy="197"/>
          </a:xfrm>
        </p:grpSpPr>
        <p:sp>
          <p:nvSpPr>
            <p:cNvPr id="17" name="Line 5"/>
            <p:cNvSpPr>
              <a:spLocks noChangeShapeType="1"/>
            </p:cNvSpPr>
            <p:nvPr/>
          </p:nvSpPr>
          <p:spPr bwMode="auto">
            <a:xfrm>
              <a:off x="257" y="139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Line 6"/>
            <p:cNvSpPr>
              <a:spLocks noChangeShapeType="1"/>
            </p:cNvSpPr>
            <p:nvPr/>
          </p:nvSpPr>
          <p:spPr bwMode="auto">
            <a:xfrm>
              <a:off x="257" y="139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271" y="1367"/>
              <a:ext cx="3" cy="6"/>
            </a:xfrm>
            <a:custGeom>
              <a:avLst/>
              <a:gdLst>
                <a:gd name="T0" fmla="*/ 8 w 8"/>
                <a:gd name="T1" fmla="*/ 0 h 12"/>
                <a:gd name="T2" fmla="*/ 0 w 8"/>
                <a:gd name="T3" fmla="*/ 12 h 12"/>
                <a:gd name="T4" fmla="*/ 8 w 8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2">
                  <a:moveTo>
                    <a:pt x="8" y="0"/>
                  </a:moveTo>
                  <a:lnTo>
                    <a:pt x="0" y="1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 flipH="1">
              <a:off x="271" y="1367"/>
              <a:ext cx="3" cy="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214" y="1221"/>
              <a:ext cx="90" cy="190"/>
            </a:xfrm>
            <a:custGeom>
              <a:avLst/>
              <a:gdLst>
                <a:gd name="T0" fmla="*/ 139 w 181"/>
                <a:gd name="T1" fmla="*/ 292 h 380"/>
                <a:gd name="T2" fmla="*/ 138 w 181"/>
                <a:gd name="T3" fmla="*/ 289 h 380"/>
                <a:gd name="T4" fmla="*/ 133 w 181"/>
                <a:gd name="T5" fmla="*/ 285 h 380"/>
                <a:gd name="T6" fmla="*/ 128 w 181"/>
                <a:gd name="T7" fmla="*/ 285 h 380"/>
                <a:gd name="T8" fmla="*/ 123 w 181"/>
                <a:gd name="T9" fmla="*/ 290 h 380"/>
                <a:gd name="T10" fmla="*/ 110 w 181"/>
                <a:gd name="T11" fmla="*/ 309 h 380"/>
                <a:gd name="T12" fmla="*/ 95 w 181"/>
                <a:gd name="T13" fmla="*/ 298 h 380"/>
                <a:gd name="T14" fmla="*/ 69 w 181"/>
                <a:gd name="T15" fmla="*/ 271 h 380"/>
                <a:gd name="T16" fmla="*/ 50 w 181"/>
                <a:gd name="T17" fmla="*/ 240 h 380"/>
                <a:gd name="T18" fmla="*/ 40 w 181"/>
                <a:gd name="T19" fmla="*/ 202 h 380"/>
                <a:gd name="T20" fmla="*/ 39 w 181"/>
                <a:gd name="T21" fmla="*/ 183 h 380"/>
                <a:gd name="T22" fmla="*/ 40 w 181"/>
                <a:gd name="T23" fmla="*/ 169 h 380"/>
                <a:gd name="T24" fmla="*/ 45 w 181"/>
                <a:gd name="T25" fmla="*/ 141 h 380"/>
                <a:gd name="T26" fmla="*/ 55 w 181"/>
                <a:gd name="T27" fmla="*/ 116 h 380"/>
                <a:gd name="T28" fmla="*/ 70 w 181"/>
                <a:gd name="T29" fmla="*/ 92 h 380"/>
                <a:gd name="T30" fmla="*/ 88 w 181"/>
                <a:gd name="T31" fmla="*/ 73 h 380"/>
                <a:gd name="T32" fmla="*/ 110 w 181"/>
                <a:gd name="T33" fmla="*/ 57 h 380"/>
                <a:gd name="T34" fmla="*/ 135 w 181"/>
                <a:gd name="T35" fmla="*/ 45 h 380"/>
                <a:gd name="T36" fmla="*/ 162 w 181"/>
                <a:gd name="T37" fmla="*/ 38 h 380"/>
                <a:gd name="T38" fmla="*/ 157 w 181"/>
                <a:gd name="T39" fmla="*/ 0 h 380"/>
                <a:gd name="T40" fmla="*/ 140 w 181"/>
                <a:gd name="T41" fmla="*/ 3 h 380"/>
                <a:gd name="T42" fmla="*/ 109 w 181"/>
                <a:gd name="T43" fmla="*/ 14 h 380"/>
                <a:gd name="T44" fmla="*/ 81 w 181"/>
                <a:gd name="T45" fmla="*/ 30 h 380"/>
                <a:gd name="T46" fmla="*/ 56 w 181"/>
                <a:gd name="T47" fmla="*/ 50 h 380"/>
                <a:gd name="T48" fmla="*/ 35 w 181"/>
                <a:gd name="T49" fmla="*/ 74 h 380"/>
                <a:gd name="T50" fmla="*/ 19 w 181"/>
                <a:gd name="T51" fmla="*/ 102 h 380"/>
                <a:gd name="T52" fmla="*/ 7 w 181"/>
                <a:gd name="T53" fmla="*/ 133 h 380"/>
                <a:gd name="T54" fmla="*/ 1 w 181"/>
                <a:gd name="T55" fmla="*/ 166 h 380"/>
                <a:gd name="T56" fmla="*/ 0 w 181"/>
                <a:gd name="T57" fmla="*/ 183 h 380"/>
                <a:gd name="T58" fmla="*/ 1 w 181"/>
                <a:gd name="T59" fmla="*/ 208 h 380"/>
                <a:gd name="T60" fmla="*/ 7 w 181"/>
                <a:gd name="T61" fmla="*/ 231 h 380"/>
                <a:gd name="T62" fmla="*/ 14 w 181"/>
                <a:gd name="T63" fmla="*/ 254 h 380"/>
                <a:gd name="T64" fmla="*/ 25 w 181"/>
                <a:gd name="T65" fmla="*/ 276 h 380"/>
                <a:gd name="T66" fmla="*/ 37 w 181"/>
                <a:gd name="T67" fmla="*/ 295 h 380"/>
                <a:gd name="T68" fmla="*/ 53 w 181"/>
                <a:gd name="T69" fmla="*/ 312 h 380"/>
                <a:gd name="T70" fmla="*/ 70 w 181"/>
                <a:gd name="T71" fmla="*/ 328 h 380"/>
                <a:gd name="T72" fmla="*/ 88 w 181"/>
                <a:gd name="T73" fmla="*/ 341 h 380"/>
                <a:gd name="T74" fmla="*/ 79 w 181"/>
                <a:gd name="T75" fmla="*/ 358 h 380"/>
                <a:gd name="T76" fmla="*/ 77 w 181"/>
                <a:gd name="T77" fmla="*/ 361 h 380"/>
                <a:gd name="T78" fmla="*/ 76 w 181"/>
                <a:gd name="T79" fmla="*/ 367 h 380"/>
                <a:gd name="T80" fmla="*/ 78 w 181"/>
                <a:gd name="T81" fmla="*/ 372 h 380"/>
                <a:gd name="T82" fmla="*/ 83 w 181"/>
                <a:gd name="T83" fmla="*/ 375 h 380"/>
                <a:gd name="T84" fmla="*/ 169 w 181"/>
                <a:gd name="T85" fmla="*/ 380 h 380"/>
                <a:gd name="T86" fmla="*/ 172 w 181"/>
                <a:gd name="T87" fmla="*/ 380 h 380"/>
                <a:gd name="T88" fmla="*/ 178 w 181"/>
                <a:gd name="T89" fmla="*/ 378 h 380"/>
                <a:gd name="T90" fmla="*/ 180 w 181"/>
                <a:gd name="T91" fmla="*/ 374 h 380"/>
                <a:gd name="T92" fmla="*/ 180 w 181"/>
                <a:gd name="T93" fmla="*/ 368 h 380"/>
                <a:gd name="T94" fmla="*/ 179 w 181"/>
                <a:gd name="T95" fmla="*/ 365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1" h="380">
                  <a:moveTo>
                    <a:pt x="179" y="365"/>
                  </a:moveTo>
                  <a:lnTo>
                    <a:pt x="139" y="292"/>
                  </a:lnTo>
                  <a:lnTo>
                    <a:pt x="139" y="292"/>
                  </a:lnTo>
                  <a:lnTo>
                    <a:pt x="138" y="289"/>
                  </a:lnTo>
                  <a:lnTo>
                    <a:pt x="135" y="286"/>
                  </a:lnTo>
                  <a:lnTo>
                    <a:pt x="133" y="285"/>
                  </a:lnTo>
                  <a:lnTo>
                    <a:pt x="130" y="285"/>
                  </a:lnTo>
                  <a:lnTo>
                    <a:pt x="128" y="285"/>
                  </a:lnTo>
                  <a:lnTo>
                    <a:pt x="125" y="287"/>
                  </a:lnTo>
                  <a:lnTo>
                    <a:pt x="123" y="290"/>
                  </a:lnTo>
                  <a:lnTo>
                    <a:pt x="121" y="292"/>
                  </a:lnTo>
                  <a:lnTo>
                    <a:pt x="110" y="309"/>
                  </a:lnTo>
                  <a:lnTo>
                    <a:pt x="110" y="309"/>
                  </a:lnTo>
                  <a:lnTo>
                    <a:pt x="95" y="298"/>
                  </a:lnTo>
                  <a:lnTo>
                    <a:pt x="81" y="285"/>
                  </a:lnTo>
                  <a:lnTo>
                    <a:pt x="69" y="271"/>
                  </a:lnTo>
                  <a:lnTo>
                    <a:pt x="58" y="256"/>
                  </a:lnTo>
                  <a:lnTo>
                    <a:pt x="50" y="240"/>
                  </a:lnTo>
                  <a:lnTo>
                    <a:pt x="44" y="222"/>
                  </a:lnTo>
                  <a:lnTo>
                    <a:pt x="40" y="202"/>
                  </a:lnTo>
                  <a:lnTo>
                    <a:pt x="39" y="193"/>
                  </a:lnTo>
                  <a:lnTo>
                    <a:pt x="39" y="183"/>
                  </a:lnTo>
                  <a:lnTo>
                    <a:pt x="39" y="183"/>
                  </a:lnTo>
                  <a:lnTo>
                    <a:pt x="40" y="169"/>
                  </a:lnTo>
                  <a:lnTo>
                    <a:pt x="42" y="155"/>
                  </a:lnTo>
                  <a:lnTo>
                    <a:pt x="45" y="141"/>
                  </a:lnTo>
                  <a:lnTo>
                    <a:pt x="50" y="128"/>
                  </a:lnTo>
                  <a:lnTo>
                    <a:pt x="55" y="116"/>
                  </a:lnTo>
                  <a:lnTo>
                    <a:pt x="63" y="104"/>
                  </a:lnTo>
                  <a:lnTo>
                    <a:pt x="70" y="92"/>
                  </a:lnTo>
                  <a:lnTo>
                    <a:pt x="79" y="83"/>
                  </a:lnTo>
                  <a:lnTo>
                    <a:pt x="88" y="73"/>
                  </a:lnTo>
                  <a:lnTo>
                    <a:pt x="99" y="64"/>
                  </a:lnTo>
                  <a:lnTo>
                    <a:pt x="110" y="57"/>
                  </a:lnTo>
                  <a:lnTo>
                    <a:pt x="123" y="50"/>
                  </a:lnTo>
                  <a:lnTo>
                    <a:pt x="135" y="45"/>
                  </a:lnTo>
                  <a:lnTo>
                    <a:pt x="149" y="42"/>
                  </a:lnTo>
                  <a:lnTo>
                    <a:pt x="162" y="38"/>
                  </a:lnTo>
                  <a:lnTo>
                    <a:pt x="177" y="36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40" y="3"/>
                  </a:lnTo>
                  <a:lnTo>
                    <a:pt x="125" y="7"/>
                  </a:lnTo>
                  <a:lnTo>
                    <a:pt x="109" y="14"/>
                  </a:lnTo>
                  <a:lnTo>
                    <a:pt x="95" y="21"/>
                  </a:lnTo>
                  <a:lnTo>
                    <a:pt x="81" y="30"/>
                  </a:lnTo>
                  <a:lnTo>
                    <a:pt x="68" y="40"/>
                  </a:lnTo>
                  <a:lnTo>
                    <a:pt x="56" y="50"/>
                  </a:lnTo>
                  <a:lnTo>
                    <a:pt x="45" y="62"/>
                  </a:lnTo>
                  <a:lnTo>
                    <a:pt x="35" y="74"/>
                  </a:lnTo>
                  <a:lnTo>
                    <a:pt x="26" y="88"/>
                  </a:lnTo>
                  <a:lnTo>
                    <a:pt x="19" y="102"/>
                  </a:lnTo>
                  <a:lnTo>
                    <a:pt x="12" y="117"/>
                  </a:lnTo>
                  <a:lnTo>
                    <a:pt x="7" y="133"/>
                  </a:lnTo>
                  <a:lnTo>
                    <a:pt x="4" y="150"/>
                  </a:lnTo>
                  <a:lnTo>
                    <a:pt x="1" y="166"/>
                  </a:lnTo>
                  <a:lnTo>
                    <a:pt x="0" y="183"/>
                  </a:lnTo>
                  <a:lnTo>
                    <a:pt x="0" y="183"/>
                  </a:lnTo>
                  <a:lnTo>
                    <a:pt x="0" y="196"/>
                  </a:lnTo>
                  <a:lnTo>
                    <a:pt x="1" y="208"/>
                  </a:lnTo>
                  <a:lnTo>
                    <a:pt x="4" y="220"/>
                  </a:lnTo>
                  <a:lnTo>
                    <a:pt x="7" y="231"/>
                  </a:lnTo>
                  <a:lnTo>
                    <a:pt x="10" y="243"/>
                  </a:lnTo>
                  <a:lnTo>
                    <a:pt x="14" y="254"/>
                  </a:lnTo>
                  <a:lnTo>
                    <a:pt x="19" y="265"/>
                  </a:lnTo>
                  <a:lnTo>
                    <a:pt x="25" y="276"/>
                  </a:lnTo>
                  <a:lnTo>
                    <a:pt x="30" y="285"/>
                  </a:lnTo>
                  <a:lnTo>
                    <a:pt x="37" y="295"/>
                  </a:lnTo>
                  <a:lnTo>
                    <a:pt x="44" y="304"/>
                  </a:lnTo>
                  <a:lnTo>
                    <a:pt x="53" y="312"/>
                  </a:lnTo>
                  <a:lnTo>
                    <a:pt x="61" y="321"/>
                  </a:lnTo>
                  <a:lnTo>
                    <a:pt x="70" y="328"/>
                  </a:lnTo>
                  <a:lnTo>
                    <a:pt x="79" y="335"/>
                  </a:lnTo>
                  <a:lnTo>
                    <a:pt x="88" y="341"/>
                  </a:lnTo>
                  <a:lnTo>
                    <a:pt x="86" y="346"/>
                  </a:lnTo>
                  <a:lnTo>
                    <a:pt x="79" y="358"/>
                  </a:lnTo>
                  <a:lnTo>
                    <a:pt x="79" y="358"/>
                  </a:lnTo>
                  <a:lnTo>
                    <a:pt x="77" y="361"/>
                  </a:lnTo>
                  <a:lnTo>
                    <a:pt x="76" y="364"/>
                  </a:lnTo>
                  <a:lnTo>
                    <a:pt x="76" y="367"/>
                  </a:lnTo>
                  <a:lnTo>
                    <a:pt x="77" y="369"/>
                  </a:lnTo>
                  <a:lnTo>
                    <a:pt x="78" y="372"/>
                  </a:lnTo>
                  <a:lnTo>
                    <a:pt x="80" y="373"/>
                  </a:lnTo>
                  <a:lnTo>
                    <a:pt x="83" y="375"/>
                  </a:lnTo>
                  <a:lnTo>
                    <a:pt x="86" y="375"/>
                  </a:lnTo>
                  <a:lnTo>
                    <a:pt x="169" y="380"/>
                  </a:lnTo>
                  <a:lnTo>
                    <a:pt x="169" y="380"/>
                  </a:lnTo>
                  <a:lnTo>
                    <a:pt x="172" y="380"/>
                  </a:lnTo>
                  <a:lnTo>
                    <a:pt x="176" y="379"/>
                  </a:lnTo>
                  <a:lnTo>
                    <a:pt x="178" y="378"/>
                  </a:lnTo>
                  <a:lnTo>
                    <a:pt x="180" y="376"/>
                  </a:lnTo>
                  <a:lnTo>
                    <a:pt x="180" y="374"/>
                  </a:lnTo>
                  <a:lnTo>
                    <a:pt x="181" y="372"/>
                  </a:lnTo>
                  <a:lnTo>
                    <a:pt x="180" y="368"/>
                  </a:lnTo>
                  <a:lnTo>
                    <a:pt x="179" y="365"/>
                  </a:lnTo>
                  <a:lnTo>
                    <a:pt x="179" y="365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308" y="1214"/>
              <a:ext cx="91" cy="191"/>
            </a:xfrm>
            <a:custGeom>
              <a:avLst/>
              <a:gdLst>
                <a:gd name="T0" fmla="*/ 95 w 182"/>
                <a:gd name="T1" fmla="*/ 33 h 381"/>
                <a:gd name="T2" fmla="*/ 102 w 182"/>
                <a:gd name="T3" fmla="*/ 22 h 381"/>
                <a:gd name="T4" fmla="*/ 105 w 182"/>
                <a:gd name="T5" fmla="*/ 16 h 381"/>
                <a:gd name="T6" fmla="*/ 104 w 182"/>
                <a:gd name="T7" fmla="*/ 10 h 381"/>
                <a:gd name="T8" fmla="*/ 100 w 182"/>
                <a:gd name="T9" fmla="*/ 6 h 381"/>
                <a:gd name="T10" fmla="*/ 95 w 182"/>
                <a:gd name="T11" fmla="*/ 5 h 381"/>
                <a:gd name="T12" fmla="*/ 11 w 182"/>
                <a:gd name="T13" fmla="*/ 0 h 381"/>
                <a:gd name="T14" fmla="*/ 5 w 182"/>
                <a:gd name="T15" fmla="*/ 1 h 381"/>
                <a:gd name="T16" fmla="*/ 2 w 182"/>
                <a:gd name="T17" fmla="*/ 3 h 381"/>
                <a:gd name="T18" fmla="*/ 0 w 182"/>
                <a:gd name="T19" fmla="*/ 8 h 381"/>
                <a:gd name="T20" fmla="*/ 2 w 182"/>
                <a:gd name="T21" fmla="*/ 14 h 381"/>
                <a:gd name="T22" fmla="*/ 41 w 182"/>
                <a:gd name="T23" fmla="*/ 88 h 381"/>
                <a:gd name="T24" fmla="*/ 46 w 182"/>
                <a:gd name="T25" fmla="*/ 92 h 381"/>
                <a:gd name="T26" fmla="*/ 50 w 182"/>
                <a:gd name="T27" fmla="*/ 95 h 381"/>
                <a:gd name="T28" fmla="*/ 55 w 182"/>
                <a:gd name="T29" fmla="*/ 92 h 381"/>
                <a:gd name="T30" fmla="*/ 60 w 182"/>
                <a:gd name="T31" fmla="*/ 87 h 381"/>
                <a:gd name="T32" fmla="*/ 70 w 182"/>
                <a:gd name="T33" fmla="*/ 71 h 381"/>
                <a:gd name="T34" fmla="*/ 86 w 182"/>
                <a:gd name="T35" fmla="*/ 82 h 381"/>
                <a:gd name="T36" fmla="*/ 113 w 182"/>
                <a:gd name="T37" fmla="*/ 107 h 381"/>
                <a:gd name="T38" fmla="*/ 132 w 182"/>
                <a:gd name="T39" fmla="*/ 140 h 381"/>
                <a:gd name="T40" fmla="*/ 140 w 182"/>
                <a:gd name="T41" fmla="*/ 168 h 381"/>
                <a:gd name="T42" fmla="*/ 143 w 182"/>
                <a:gd name="T43" fmla="*/ 187 h 381"/>
                <a:gd name="T44" fmla="*/ 143 w 182"/>
                <a:gd name="T45" fmla="*/ 197 h 381"/>
                <a:gd name="T46" fmla="*/ 141 w 182"/>
                <a:gd name="T47" fmla="*/ 226 h 381"/>
                <a:gd name="T48" fmla="*/ 133 w 182"/>
                <a:gd name="T49" fmla="*/ 253 h 381"/>
                <a:gd name="T50" fmla="*/ 120 w 182"/>
                <a:gd name="T51" fmla="*/ 277 h 381"/>
                <a:gd name="T52" fmla="*/ 104 w 182"/>
                <a:gd name="T53" fmla="*/ 298 h 381"/>
                <a:gd name="T54" fmla="*/ 82 w 182"/>
                <a:gd name="T55" fmla="*/ 317 h 381"/>
                <a:gd name="T56" fmla="*/ 60 w 182"/>
                <a:gd name="T57" fmla="*/ 331 h 381"/>
                <a:gd name="T58" fmla="*/ 33 w 182"/>
                <a:gd name="T59" fmla="*/ 339 h 381"/>
                <a:gd name="T60" fmla="*/ 5 w 182"/>
                <a:gd name="T61" fmla="*/ 344 h 381"/>
                <a:gd name="T62" fmla="*/ 24 w 182"/>
                <a:gd name="T63" fmla="*/ 381 h 381"/>
                <a:gd name="T64" fmla="*/ 56 w 182"/>
                <a:gd name="T65" fmla="*/ 373 h 381"/>
                <a:gd name="T66" fmla="*/ 86 w 182"/>
                <a:gd name="T67" fmla="*/ 360 h 381"/>
                <a:gd name="T68" fmla="*/ 113 w 182"/>
                <a:gd name="T69" fmla="*/ 341 h 381"/>
                <a:gd name="T70" fmla="*/ 137 w 182"/>
                <a:gd name="T71" fmla="*/ 319 h 381"/>
                <a:gd name="T72" fmla="*/ 156 w 182"/>
                <a:gd name="T73" fmla="*/ 293 h 381"/>
                <a:gd name="T74" fmla="*/ 170 w 182"/>
                <a:gd name="T75" fmla="*/ 264 h 381"/>
                <a:gd name="T76" fmla="*/ 179 w 182"/>
                <a:gd name="T77" fmla="*/ 231 h 381"/>
                <a:gd name="T78" fmla="*/ 182 w 182"/>
                <a:gd name="T79" fmla="*/ 197 h 381"/>
                <a:gd name="T80" fmla="*/ 182 w 182"/>
                <a:gd name="T81" fmla="*/ 185 h 381"/>
                <a:gd name="T82" fmla="*/ 179 w 182"/>
                <a:gd name="T83" fmla="*/ 160 h 381"/>
                <a:gd name="T84" fmla="*/ 172 w 182"/>
                <a:gd name="T85" fmla="*/ 137 h 381"/>
                <a:gd name="T86" fmla="*/ 163 w 182"/>
                <a:gd name="T87" fmla="*/ 115 h 381"/>
                <a:gd name="T88" fmla="*/ 151 w 182"/>
                <a:gd name="T89" fmla="*/ 95 h 381"/>
                <a:gd name="T90" fmla="*/ 137 w 182"/>
                <a:gd name="T91" fmla="*/ 75 h 381"/>
                <a:gd name="T92" fmla="*/ 121 w 182"/>
                <a:gd name="T93" fmla="*/ 59 h 381"/>
                <a:gd name="T94" fmla="*/ 102 w 182"/>
                <a:gd name="T95" fmla="*/ 44 h 381"/>
                <a:gd name="T96" fmla="*/ 92 w 182"/>
                <a:gd name="T97" fmla="*/ 3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2" h="381">
                  <a:moveTo>
                    <a:pt x="92" y="37"/>
                  </a:moveTo>
                  <a:lnTo>
                    <a:pt x="95" y="33"/>
                  </a:lnTo>
                  <a:lnTo>
                    <a:pt x="102" y="22"/>
                  </a:lnTo>
                  <a:lnTo>
                    <a:pt x="102" y="22"/>
                  </a:lnTo>
                  <a:lnTo>
                    <a:pt x="104" y="19"/>
                  </a:lnTo>
                  <a:lnTo>
                    <a:pt x="105" y="16"/>
                  </a:lnTo>
                  <a:lnTo>
                    <a:pt x="105" y="13"/>
                  </a:lnTo>
                  <a:lnTo>
                    <a:pt x="104" y="10"/>
                  </a:lnTo>
                  <a:lnTo>
                    <a:pt x="103" y="8"/>
                  </a:lnTo>
                  <a:lnTo>
                    <a:pt x="100" y="6"/>
                  </a:lnTo>
                  <a:lnTo>
                    <a:pt x="98" y="5"/>
                  </a:lnTo>
                  <a:lnTo>
                    <a:pt x="95" y="5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5" y="1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3" y="90"/>
                  </a:lnTo>
                  <a:lnTo>
                    <a:pt x="46" y="92"/>
                  </a:lnTo>
                  <a:lnTo>
                    <a:pt x="48" y="93"/>
                  </a:lnTo>
                  <a:lnTo>
                    <a:pt x="50" y="95"/>
                  </a:lnTo>
                  <a:lnTo>
                    <a:pt x="53" y="93"/>
                  </a:lnTo>
                  <a:lnTo>
                    <a:pt x="55" y="92"/>
                  </a:lnTo>
                  <a:lnTo>
                    <a:pt x="57" y="90"/>
                  </a:lnTo>
                  <a:lnTo>
                    <a:pt x="60" y="87"/>
                  </a:lnTo>
                  <a:lnTo>
                    <a:pt x="68" y="75"/>
                  </a:lnTo>
                  <a:lnTo>
                    <a:pt x="70" y="71"/>
                  </a:lnTo>
                  <a:lnTo>
                    <a:pt x="70" y="71"/>
                  </a:lnTo>
                  <a:lnTo>
                    <a:pt x="86" y="82"/>
                  </a:lnTo>
                  <a:lnTo>
                    <a:pt x="100" y="93"/>
                  </a:lnTo>
                  <a:lnTo>
                    <a:pt x="113" y="107"/>
                  </a:lnTo>
                  <a:lnTo>
                    <a:pt x="123" y="124"/>
                  </a:lnTo>
                  <a:lnTo>
                    <a:pt x="132" y="140"/>
                  </a:lnTo>
                  <a:lnTo>
                    <a:pt x="138" y="158"/>
                  </a:lnTo>
                  <a:lnTo>
                    <a:pt x="140" y="168"/>
                  </a:lnTo>
                  <a:lnTo>
                    <a:pt x="142" y="178"/>
                  </a:lnTo>
                  <a:lnTo>
                    <a:pt x="143" y="187"/>
                  </a:lnTo>
                  <a:lnTo>
                    <a:pt x="143" y="197"/>
                  </a:lnTo>
                  <a:lnTo>
                    <a:pt x="143" y="197"/>
                  </a:lnTo>
                  <a:lnTo>
                    <a:pt x="142" y="212"/>
                  </a:lnTo>
                  <a:lnTo>
                    <a:pt x="141" y="226"/>
                  </a:lnTo>
                  <a:lnTo>
                    <a:pt x="137" y="239"/>
                  </a:lnTo>
                  <a:lnTo>
                    <a:pt x="133" y="253"/>
                  </a:lnTo>
                  <a:lnTo>
                    <a:pt x="127" y="265"/>
                  </a:lnTo>
                  <a:lnTo>
                    <a:pt x="120" y="277"/>
                  </a:lnTo>
                  <a:lnTo>
                    <a:pt x="112" y="289"/>
                  </a:lnTo>
                  <a:lnTo>
                    <a:pt x="104" y="298"/>
                  </a:lnTo>
                  <a:lnTo>
                    <a:pt x="93" y="308"/>
                  </a:lnTo>
                  <a:lnTo>
                    <a:pt x="82" y="317"/>
                  </a:lnTo>
                  <a:lnTo>
                    <a:pt x="71" y="324"/>
                  </a:lnTo>
                  <a:lnTo>
                    <a:pt x="60" y="331"/>
                  </a:lnTo>
                  <a:lnTo>
                    <a:pt x="47" y="335"/>
                  </a:lnTo>
                  <a:lnTo>
                    <a:pt x="33" y="339"/>
                  </a:lnTo>
                  <a:lnTo>
                    <a:pt x="19" y="342"/>
                  </a:lnTo>
                  <a:lnTo>
                    <a:pt x="5" y="344"/>
                  </a:lnTo>
                  <a:lnTo>
                    <a:pt x="24" y="381"/>
                  </a:lnTo>
                  <a:lnTo>
                    <a:pt x="24" y="381"/>
                  </a:lnTo>
                  <a:lnTo>
                    <a:pt x="40" y="378"/>
                  </a:lnTo>
                  <a:lnTo>
                    <a:pt x="56" y="373"/>
                  </a:lnTo>
                  <a:lnTo>
                    <a:pt x="71" y="367"/>
                  </a:lnTo>
                  <a:lnTo>
                    <a:pt x="86" y="360"/>
                  </a:lnTo>
                  <a:lnTo>
                    <a:pt x="100" y="351"/>
                  </a:lnTo>
                  <a:lnTo>
                    <a:pt x="113" y="341"/>
                  </a:lnTo>
                  <a:lnTo>
                    <a:pt x="125" y="331"/>
                  </a:lnTo>
                  <a:lnTo>
                    <a:pt x="137" y="319"/>
                  </a:lnTo>
                  <a:lnTo>
                    <a:pt x="147" y="307"/>
                  </a:lnTo>
                  <a:lnTo>
                    <a:pt x="156" y="293"/>
                  </a:lnTo>
                  <a:lnTo>
                    <a:pt x="164" y="279"/>
                  </a:lnTo>
                  <a:lnTo>
                    <a:pt x="170" y="264"/>
                  </a:lnTo>
                  <a:lnTo>
                    <a:pt x="176" y="248"/>
                  </a:lnTo>
                  <a:lnTo>
                    <a:pt x="179" y="231"/>
                  </a:lnTo>
                  <a:lnTo>
                    <a:pt x="182" y="214"/>
                  </a:lnTo>
                  <a:lnTo>
                    <a:pt x="182" y="197"/>
                  </a:lnTo>
                  <a:lnTo>
                    <a:pt x="182" y="197"/>
                  </a:lnTo>
                  <a:lnTo>
                    <a:pt x="182" y="185"/>
                  </a:lnTo>
                  <a:lnTo>
                    <a:pt x="181" y="172"/>
                  </a:lnTo>
                  <a:lnTo>
                    <a:pt x="179" y="160"/>
                  </a:lnTo>
                  <a:lnTo>
                    <a:pt x="176" y="148"/>
                  </a:lnTo>
                  <a:lnTo>
                    <a:pt x="172" y="137"/>
                  </a:lnTo>
                  <a:lnTo>
                    <a:pt x="168" y="126"/>
                  </a:lnTo>
                  <a:lnTo>
                    <a:pt x="163" y="115"/>
                  </a:lnTo>
                  <a:lnTo>
                    <a:pt x="157" y="104"/>
                  </a:lnTo>
                  <a:lnTo>
                    <a:pt x="151" y="95"/>
                  </a:lnTo>
                  <a:lnTo>
                    <a:pt x="145" y="85"/>
                  </a:lnTo>
                  <a:lnTo>
                    <a:pt x="137" y="75"/>
                  </a:lnTo>
                  <a:lnTo>
                    <a:pt x="129" y="66"/>
                  </a:lnTo>
                  <a:lnTo>
                    <a:pt x="121" y="59"/>
                  </a:lnTo>
                  <a:lnTo>
                    <a:pt x="111" y="51"/>
                  </a:lnTo>
                  <a:lnTo>
                    <a:pt x="102" y="44"/>
                  </a:lnTo>
                  <a:lnTo>
                    <a:pt x="92" y="37"/>
                  </a:lnTo>
                  <a:lnTo>
                    <a:pt x="92" y="37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1"/>
            <p:cNvSpPr>
              <a:spLocks noEditPoints="1"/>
            </p:cNvSpPr>
            <p:nvPr/>
          </p:nvSpPr>
          <p:spPr bwMode="auto">
            <a:xfrm>
              <a:off x="252" y="1258"/>
              <a:ext cx="108" cy="109"/>
            </a:xfrm>
            <a:custGeom>
              <a:avLst/>
              <a:gdLst>
                <a:gd name="T0" fmla="*/ 216 w 216"/>
                <a:gd name="T1" fmla="*/ 126 h 218"/>
                <a:gd name="T2" fmla="*/ 193 w 216"/>
                <a:gd name="T3" fmla="*/ 86 h 218"/>
                <a:gd name="T4" fmla="*/ 190 w 216"/>
                <a:gd name="T5" fmla="*/ 74 h 218"/>
                <a:gd name="T6" fmla="*/ 196 w 216"/>
                <a:gd name="T7" fmla="*/ 44 h 218"/>
                <a:gd name="T8" fmla="*/ 152 w 216"/>
                <a:gd name="T9" fmla="*/ 31 h 218"/>
                <a:gd name="T10" fmla="*/ 142 w 216"/>
                <a:gd name="T11" fmla="*/ 26 h 218"/>
                <a:gd name="T12" fmla="*/ 124 w 216"/>
                <a:gd name="T13" fmla="*/ 0 h 218"/>
                <a:gd name="T14" fmla="*/ 85 w 216"/>
                <a:gd name="T15" fmla="*/ 23 h 218"/>
                <a:gd name="T16" fmla="*/ 74 w 216"/>
                <a:gd name="T17" fmla="*/ 26 h 218"/>
                <a:gd name="T18" fmla="*/ 43 w 216"/>
                <a:gd name="T19" fmla="*/ 19 h 218"/>
                <a:gd name="T20" fmla="*/ 31 w 216"/>
                <a:gd name="T21" fmla="*/ 64 h 218"/>
                <a:gd name="T22" fmla="*/ 25 w 216"/>
                <a:gd name="T23" fmla="*/ 74 h 218"/>
                <a:gd name="T24" fmla="*/ 0 w 216"/>
                <a:gd name="T25" fmla="*/ 92 h 218"/>
                <a:gd name="T26" fmla="*/ 22 w 216"/>
                <a:gd name="T27" fmla="*/ 132 h 218"/>
                <a:gd name="T28" fmla="*/ 25 w 216"/>
                <a:gd name="T29" fmla="*/ 143 h 218"/>
                <a:gd name="T30" fmla="*/ 19 w 216"/>
                <a:gd name="T31" fmla="*/ 174 h 218"/>
                <a:gd name="T32" fmla="*/ 63 w 216"/>
                <a:gd name="T33" fmla="*/ 185 h 218"/>
                <a:gd name="T34" fmla="*/ 74 w 216"/>
                <a:gd name="T35" fmla="*/ 191 h 218"/>
                <a:gd name="T36" fmla="*/ 91 w 216"/>
                <a:gd name="T37" fmla="*/ 218 h 218"/>
                <a:gd name="T38" fmla="*/ 131 w 216"/>
                <a:gd name="T39" fmla="*/ 195 h 218"/>
                <a:gd name="T40" fmla="*/ 142 w 216"/>
                <a:gd name="T41" fmla="*/ 191 h 218"/>
                <a:gd name="T42" fmla="*/ 173 w 216"/>
                <a:gd name="T43" fmla="*/ 197 h 218"/>
                <a:gd name="T44" fmla="*/ 185 w 216"/>
                <a:gd name="T45" fmla="*/ 153 h 218"/>
                <a:gd name="T46" fmla="*/ 190 w 216"/>
                <a:gd name="T47" fmla="*/ 142 h 218"/>
                <a:gd name="T48" fmla="*/ 193 w 216"/>
                <a:gd name="T49" fmla="*/ 132 h 218"/>
                <a:gd name="T50" fmla="*/ 108 w 216"/>
                <a:gd name="T51" fmla="*/ 169 h 218"/>
                <a:gd name="T52" fmla="*/ 85 w 216"/>
                <a:gd name="T53" fmla="*/ 165 h 218"/>
                <a:gd name="T54" fmla="*/ 65 w 216"/>
                <a:gd name="T55" fmla="*/ 152 h 218"/>
                <a:gd name="T56" fmla="*/ 51 w 216"/>
                <a:gd name="T57" fmla="*/ 133 h 218"/>
                <a:gd name="T58" fmla="*/ 47 w 216"/>
                <a:gd name="T59" fmla="*/ 109 h 218"/>
                <a:gd name="T60" fmla="*/ 48 w 216"/>
                <a:gd name="T61" fmla="*/ 97 h 218"/>
                <a:gd name="T62" fmla="*/ 58 w 216"/>
                <a:gd name="T63" fmla="*/ 74 h 218"/>
                <a:gd name="T64" fmla="*/ 74 w 216"/>
                <a:gd name="T65" fmla="*/ 58 h 218"/>
                <a:gd name="T66" fmla="*/ 95 w 216"/>
                <a:gd name="T67" fmla="*/ 50 h 218"/>
                <a:gd name="T68" fmla="*/ 107 w 216"/>
                <a:gd name="T69" fmla="*/ 47 h 218"/>
                <a:gd name="T70" fmla="*/ 131 w 216"/>
                <a:gd name="T71" fmla="*/ 53 h 218"/>
                <a:gd name="T72" fmla="*/ 150 w 216"/>
                <a:gd name="T73" fmla="*/ 66 h 218"/>
                <a:gd name="T74" fmla="*/ 163 w 216"/>
                <a:gd name="T75" fmla="*/ 85 h 218"/>
                <a:gd name="T76" fmla="*/ 168 w 216"/>
                <a:gd name="T77" fmla="*/ 109 h 218"/>
                <a:gd name="T78" fmla="*/ 167 w 216"/>
                <a:gd name="T79" fmla="*/ 121 h 218"/>
                <a:gd name="T80" fmla="*/ 158 w 216"/>
                <a:gd name="T81" fmla="*/ 142 h 218"/>
                <a:gd name="T82" fmla="*/ 142 w 216"/>
                <a:gd name="T83" fmla="*/ 160 h 218"/>
                <a:gd name="T84" fmla="*/ 120 w 216"/>
                <a:gd name="T85" fmla="*/ 168 h 218"/>
                <a:gd name="T86" fmla="*/ 108 w 216"/>
                <a:gd name="T87" fmla="*/ 169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6" h="218">
                  <a:moveTo>
                    <a:pt x="193" y="132"/>
                  </a:moveTo>
                  <a:lnTo>
                    <a:pt x="216" y="126"/>
                  </a:lnTo>
                  <a:lnTo>
                    <a:pt x="216" y="92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0" y="74"/>
                  </a:lnTo>
                  <a:lnTo>
                    <a:pt x="185" y="64"/>
                  </a:lnTo>
                  <a:lnTo>
                    <a:pt x="196" y="44"/>
                  </a:lnTo>
                  <a:lnTo>
                    <a:pt x="172" y="19"/>
                  </a:lnTo>
                  <a:lnTo>
                    <a:pt x="152" y="31"/>
                  </a:lnTo>
                  <a:lnTo>
                    <a:pt x="152" y="31"/>
                  </a:lnTo>
                  <a:lnTo>
                    <a:pt x="142" y="26"/>
                  </a:lnTo>
                  <a:lnTo>
                    <a:pt x="131" y="23"/>
                  </a:lnTo>
                  <a:lnTo>
                    <a:pt x="124" y="0"/>
                  </a:lnTo>
                  <a:lnTo>
                    <a:pt x="90" y="0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74" y="26"/>
                  </a:lnTo>
                  <a:lnTo>
                    <a:pt x="63" y="31"/>
                  </a:lnTo>
                  <a:lnTo>
                    <a:pt x="43" y="19"/>
                  </a:lnTo>
                  <a:lnTo>
                    <a:pt x="19" y="4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25" y="74"/>
                  </a:lnTo>
                  <a:lnTo>
                    <a:pt x="21" y="86"/>
                  </a:lnTo>
                  <a:lnTo>
                    <a:pt x="0" y="92"/>
                  </a:lnTo>
                  <a:lnTo>
                    <a:pt x="0" y="126"/>
                  </a:lnTo>
                  <a:lnTo>
                    <a:pt x="22" y="132"/>
                  </a:lnTo>
                  <a:lnTo>
                    <a:pt x="22" y="132"/>
                  </a:lnTo>
                  <a:lnTo>
                    <a:pt x="25" y="143"/>
                  </a:lnTo>
                  <a:lnTo>
                    <a:pt x="31" y="153"/>
                  </a:lnTo>
                  <a:lnTo>
                    <a:pt x="19" y="174"/>
                  </a:lnTo>
                  <a:lnTo>
                    <a:pt x="43" y="198"/>
                  </a:lnTo>
                  <a:lnTo>
                    <a:pt x="63" y="185"/>
                  </a:lnTo>
                  <a:lnTo>
                    <a:pt x="63" y="185"/>
                  </a:lnTo>
                  <a:lnTo>
                    <a:pt x="74" y="191"/>
                  </a:lnTo>
                  <a:lnTo>
                    <a:pt x="85" y="195"/>
                  </a:lnTo>
                  <a:lnTo>
                    <a:pt x="91" y="218"/>
                  </a:lnTo>
                  <a:lnTo>
                    <a:pt x="125" y="218"/>
                  </a:lnTo>
                  <a:lnTo>
                    <a:pt x="131" y="195"/>
                  </a:lnTo>
                  <a:lnTo>
                    <a:pt x="131" y="195"/>
                  </a:lnTo>
                  <a:lnTo>
                    <a:pt x="142" y="191"/>
                  </a:lnTo>
                  <a:lnTo>
                    <a:pt x="152" y="185"/>
                  </a:lnTo>
                  <a:lnTo>
                    <a:pt x="173" y="197"/>
                  </a:lnTo>
                  <a:lnTo>
                    <a:pt x="196" y="174"/>
                  </a:lnTo>
                  <a:lnTo>
                    <a:pt x="185" y="153"/>
                  </a:lnTo>
                  <a:lnTo>
                    <a:pt x="185" y="153"/>
                  </a:lnTo>
                  <a:lnTo>
                    <a:pt x="190" y="142"/>
                  </a:lnTo>
                  <a:lnTo>
                    <a:pt x="193" y="132"/>
                  </a:lnTo>
                  <a:lnTo>
                    <a:pt x="193" y="132"/>
                  </a:lnTo>
                  <a:close/>
                  <a:moveTo>
                    <a:pt x="108" y="169"/>
                  </a:moveTo>
                  <a:lnTo>
                    <a:pt x="108" y="169"/>
                  </a:lnTo>
                  <a:lnTo>
                    <a:pt x="95" y="168"/>
                  </a:lnTo>
                  <a:lnTo>
                    <a:pt x="85" y="165"/>
                  </a:lnTo>
                  <a:lnTo>
                    <a:pt x="74" y="160"/>
                  </a:lnTo>
                  <a:lnTo>
                    <a:pt x="65" y="152"/>
                  </a:lnTo>
                  <a:lnTo>
                    <a:pt x="58" y="142"/>
                  </a:lnTo>
                  <a:lnTo>
                    <a:pt x="51" y="133"/>
                  </a:lnTo>
                  <a:lnTo>
                    <a:pt x="48" y="121"/>
                  </a:lnTo>
                  <a:lnTo>
                    <a:pt x="47" y="109"/>
                  </a:lnTo>
                  <a:lnTo>
                    <a:pt x="47" y="109"/>
                  </a:lnTo>
                  <a:lnTo>
                    <a:pt x="48" y="97"/>
                  </a:lnTo>
                  <a:lnTo>
                    <a:pt x="51" y="85"/>
                  </a:lnTo>
                  <a:lnTo>
                    <a:pt x="58" y="74"/>
                  </a:lnTo>
                  <a:lnTo>
                    <a:pt x="64" y="66"/>
                  </a:lnTo>
                  <a:lnTo>
                    <a:pt x="74" y="58"/>
                  </a:lnTo>
                  <a:lnTo>
                    <a:pt x="84" y="53"/>
                  </a:lnTo>
                  <a:lnTo>
                    <a:pt x="95" y="50"/>
                  </a:lnTo>
                  <a:lnTo>
                    <a:pt x="107" y="47"/>
                  </a:lnTo>
                  <a:lnTo>
                    <a:pt x="107" y="47"/>
                  </a:lnTo>
                  <a:lnTo>
                    <a:pt x="120" y="49"/>
                  </a:lnTo>
                  <a:lnTo>
                    <a:pt x="131" y="53"/>
                  </a:lnTo>
                  <a:lnTo>
                    <a:pt x="142" y="58"/>
                  </a:lnTo>
                  <a:lnTo>
                    <a:pt x="150" y="66"/>
                  </a:lnTo>
                  <a:lnTo>
                    <a:pt x="158" y="74"/>
                  </a:lnTo>
                  <a:lnTo>
                    <a:pt x="163" y="85"/>
                  </a:lnTo>
                  <a:lnTo>
                    <a:pt x="167" y="96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67" y="121"/>
                  </a:lnTo>
                  <a:lnTo>
                    <a:pt x="164" y="133"/>
                  </a:lnTo>
                  <a:lnTo>
                    <a:pt x="158" y="142"/>
                  </a:lnTo>
                  <a:lnTo>
                    <a:pt x="150" y="152"/>
                  </a:lnTo>
                  <a:lnTo>
                    <a:pt x="142" y="160"/>
                  </a:lnTo>
                  <a:lnTo>
                    <a:pt x="132" y="165"/>
                  </a:lnTo>
                  <a:lnTo>
                    <a:pt x="120" y="168"/>
                  </a:lnTo>
                  <a:lnTo>
                    <a:pt x="108" y="169"/>
                  </a:lnTo>
                  <a:lnTo>
                    <a:pt x="108" y="169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721163" y="2725833"/>
            <a:ext cx="1028298" cy="1012636"/>
            <a:chOff x="7618688" y="1363920"/>
            <a:chExt cx="768346" cy="756644"/>
          </a:xfrm>
        </p:grpSpPr>
        <p:sp>
          <p:nvSpPr>
            <p:cNvPr id="25" name="Freeform 5"/>
            <p:cNvSpPr>
              <a:spLocks/>
            </p:cNvSpPr>
            <p:nvPr/>
          </p:nvSpPr>
          <p:spPr bwMode="auto">
            <a:xfrm>
              <a:off x="7618688" y="1709337"/>
              <a:ext cx="768346" cy="411227"/>
            </a:xfrm>
            <a:custGeom>
              <a:avLst/>
              <a:gdLst>
                <a:gd name="T0" fmla="*/ 418 w 424"/>
                <a:gd name="T1" fmla="*/ 6 h 228"/>
                <a:gd name="T2" fmla="*/ 410 w 424"/>
                <a:gd name="T3" fmla="*/ 1 h 228"/>
                <a:gd name="T4" fmla="*/ 403 w 424"/>
                <a:gd name="T5" fmla="*/ 0 h 228"/>
                <a:gd name="T6" fmla="*/ 399 w 424"/>
                <a:gd name="T7" fmla="*/ 0 h 228"/>
                <a:gd name="T8" fmla="*/ 391 w 424"/>
                <a:gd name="T9" fmla="*/ 3 h 228"/>
                <a:gd name="T10" fmla="*/ 309 w 424"/>
                <a:gd name="T11" fmla="*/ 85 h 228"/>
                <a:gd name="T12" fmla="*/ 181 w 424"/>
                <a:gd name="T13" fmla="*/ 51 h 228"/>
                <a:gd name="T14" fmla="*/ 261 w 424"/>
                <a:gd name="T15" fmla="*/ 51 h 228"/>
                <a:gd name="T16" fmla="*/ 268 w 424"/>
                <a:gd name="T17" fmla="*/ 50 h 228"/>
                <a:gd name="T18" fmla="*/ 276 w 424"/>
                <a:gd name="T19" fmla="*/ 45 h 228"/>
                <a:gd name="T20" fmla="*/ 280 w 424"/>
                <a:gd name="T21" fmla="*/ 38 h 228"/>
                <a:gd name="T22" fmla="*/ 282 w 424"/>
                <a:gd name="T23" fmla="*/ 30 h 228"/>
                <a:gd name="T24" fmla="*/ 281 w 424"/>
                <a:gd name="T25" fmla="*/ 25 h 228"/>
                <a:gd name="T26" fmla="*/ 278 w 424"/>
                <a:gd name="T27" fmla="*/ 18 h 228"/>
                <a:gd name="T28" fmla="*/ 272 w 424"/>
                <a:gd name="T29" fmla="*/ 11 h 228"/>
                <a:gd name="T30" fmla="*/ 265 w 424"/>
                <a:gd name="T31" fmla="*/ 8 h 228"/>
                <a:gd name="T32" fmla="*/ 134 w 424"/>
                <a:gd name="T33" fmla="*/ 8 h 228"/>
                <a:gd name="T34" fmla="*/ 130 w 424"/>
                <a:gd name="T35" fmla="*/ 8 h 228"/>
                <a:gd name="T36" fmla="*/ 121 w 424"/>
                <a:gd name="T37" fmla="*/ 12 h 228"/>
                <a:gd name="T38" fmla="*/ 118 w 424"/>
                <a:gd name="T39" fmla="*/ 16 h 228"/>
                <a:gd name="T40" fmla="*/ 8 w 424"/>
                <a:gd name="T41" fmla="*/ 132 h 228"/>
                <a:gd name="T42" fmla="*/ 5 w 424"/>
                <a:gd name="T43" fmla="*/ 136 h 228"/>
                <a:gd name="T44" fmla="*/ 1 w 424"/>
                <a:gd name="T45" fmla="*/ 149 h 228"/>
                <a:gd name="T46" fmla="*/ 0 w 424"/>
                <a:gd name="T47" fmla="*/ 214 h 228"/>
                <a:gd name="T48" fmla="*/ 0 w 424"/>
                <a:gd name="T49" fmla="*/ 220 h 228"/>
                <a:gd name="T50" fmla="*/ 4 w 424"/>
                <a:gd name="T51" fmla="*/ 227 h 228"/>
                <a:gd name="T52" fmla="*/ 7 w 424"/>
                <a:gd name="T53" fmla="*/ 228 h 228"/>
                <a:gd name="T54" fmla="*/ 13 w 424"/>
                <a:gd name="T55" fmla="*/ 226 h 228"/>
                <a:gd name="T56" fmla="*/ 75 w 424"/>
                <a:gd name="T57" fmla="*/ 163 h 228"/>
                <a:gd name="T58" fmla="*/ 79 w 424"/>
                <a:gd name="T59" fmla="*/ 160 h 228"/>
                <a:gd name="T60" fmla="*/ 91 w 424"/>
                <a:gd name="T61" fmla="*/ 155 h 228"/>
                <a:gd name="T62" fmla="*/ 286 w 424"/>
                <a:gd name="T63" fmla="*/ 154 h 228"/>
                <a:gd name="T64" fmla="*/ 294 w 424"/>
                <a:gd name="T65" fmla="*/ 154 h 228"/>
                <a:gd name="T66" fmla="*/ 307 w 424"/>
                <a:gd name="T67" fmla="*/ 147 h 228"/>
                <a:gd name="T68" fmla="*/ 418 w 424"/>
                <a:gd name="T69" fmla="*/ 36 h 228"/>
                <a:gd name="T70" fmla="*/ 421 w 424"/>
                <a:gd name="T71" fmla="*/ 33 h 228"/>
                <a:gd name="T72" fmla="*/ 424 w 424"/>
                <a:gd name="T73" fmla="*/ 25 h 228"/>
                <a:gd name="T74" fmla="*/ 424 w 424"/>
                <a:gd name="T75" fmla="*/ 17 h 228"/>
                <a:gd name="T76" fmla="*/ 421 w 424"/>
                <a:gd name="T77" fmla="*/ 9 h 228"/>
                <a:gd name="T78" fmla="*/ 418 w 424"/>
                <a:gd name="T79" fmla="*/ 6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4" h="228">
                  <a:moveTo>
                    <a:pt x="418" y="6"/>
                  </a:moveTo>
                  <a:lnTo>
                    <a:pt x="418" y="6"/>
                  </a:lnTo>
                  <a:lnTo>
                    <a:pt x="415" y="3"/>
                  </a:lnTo>
                  <a:lnTo>
                    <a:pt x="410" y="1"/>
                  </a:lnTo>
                  <a:lnTo>
                    <a:pt x="407" y="0"/>
                  </a:lnTo>
                  <a:lnTo>
                    <a:pt x="403" y="0"/>
                  </a:lnTo>
                  <a:lnTo>
                    <a:pt x="403" y="0"/>
                  </a:lnTo>
                  <a:lnTo>
                    <a:pt x="399" y="0"/>
                  </a:lnTo>
                  <a:lnTo>
                    <a:pt x="394" y="1"/>
                  </a:lnTo>
                  <a:lnTo>
                    <a:pt x="391" y="3"/>
                  </a:lnTo>
                  <a:lnTo>
                    <a:pt x="388" y="6"/>
                  </a:lnTo>
                  <a:lnTo>
                    <a:pt x="309" y="85"/>
                  </a:lnTo>
                  <a:lnTo>
                    <a:pt x="149" y="85"/>
                  </a:lnTo>
                  <a:lnTo>
                    <a:pt x="181" y="51"/>
                  </a:lnTo>
                  <a:lnTo>
                    <a:pt x="261" y="51"/>
                  </a:lnTo>
                  <a:lnTo>
                    <a:pt x="261" y="51"/>
                  </a:lnTo>
                  <a:lnTo>
                    <a:pt x="265" y="51"/>
                  </a:lnTo>
                  <a:lnTo>
                    <a:pt x="268" y="50"/>
                  </a:lnTo>
                  <a:lnTo>
                    <a:pt x="272" y="48"/>
                  </a:lnTo>
                  <a:lnTo>
                    <a:pt x="276" y="45"/>
                  </a:lnTo>
                  <a:lnTo>
                    <a:pt x="278" y="42"/>
                  </a:lnTo>
                  <a:lnTo>
                    <a:pt x="280" y="38"/>
                  </a:lnTo>
                  <a:lnTo>
                    <a:pt x="281" y="34"/>
                  </a:lnTo>
                  <a:lnTo>
                    <a:pt x="282" y="30"/>
                  </a:lnTo>
                  <a:lnTo>
                    <a:pt x="282" y="30"/>
                  </a:lnTo>
                  <a:lnTo>
                    <a:pt x="281" y="25"/>
                  </a:lnTo>
                  <a:lnTo>
                    <a:pt x="280" y="21"/>
                  </a:lnTo>
                  <a:lnTo>
                    <a:pt x="278" y="18"/>
                  </a:lnTo>
                  <a:lnTo>
                    <a:pt x="276" y="15"/>
                  </a:lnTo>
                  <a:lnTo>
                    <a:pt x="272" y="11"/>
                  </a:lnTo>
                  <a:lnTo>
                    <a:pt x="268" y="9"/>
                  </a:lnTo>
                  <a:lnTo>
                    <a:pt x="265" y="8"/>
                  </a:lnTo>
                  <a:lnTo>
                    <a:pt x="261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0" y="8"/>
                  </a:lnTo>
                  <a:lnTo>
                    <a:pt x="126" y="10"/>
                  </a:lnTo>
                  <a:lnTo>
                    <a:pt x="121" y="12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45" y="94"/>
                  </a:lnTo>
                  <a:lnTo>
                    <a:pt x="8" y="132"/>
                  </a:lnTo>
                  <a:lnTo>
                    <a:pt x="8" y="132"/>
                  </a:lnTo>
                  <a:lnTo>
                    <a:pt x="5" y="136"/>
                  </a:lnTo>
                  <a:lnTo>
                    <a:pt x="2" y="143"/>
                  </a:lnTo>
                  <a:lnTo>
                    <a:pt x="1" y="149"/>
                  </a:lnTo>
                  <a:lnTo>
                    <a:pt x="0" y="155"/>
                  </a:lnTo>
                  <a:lnTo>
                    <a:pt x="0" y="214"/>
                  </a:lnTo>
                  <a:lnTo>
                    <a:pt x="0" y="214"/>
                  </a:lnTo>
                  <a:lnTo>
                    <a:pt x="0" y="220"/>
                  </a:lnTo>
                  <a:lnTo>
                    <a:pt x="2" y="224"/>
                  </a:lnTo>
                  <a:lnTo>
                    <a:pt x="4" y="227"/>
                  </a:lnTo>
                  <a:lnTo>
                    <a:pt x="7" y="228"/>
                  </a:lnTo>
                  <a:lnTo>
                    <a:pt x="7" y="228"/>
                  </a:lnTo>
                  <a:lnTo>
                    <a:pt x="9" y="227"/>
                  </a:lnTo>
                  <a:lnTo>
                    <a:pt x="13" y="226"/>
                  </a:lnTo>
                  <a:lnTo>
                    <a:pt x="18" y="222"/>
                  </a:lnTo>
                  <a:lnTo>
                    <a:pt x="75" y="163"/>
                  </a:lnTo>
                  <a:lnTo>
                    <a:pt x="75" y="163"/>
                  </a:lnTo>
                  <a:lnTo>
                    <a:pt x="79" y="160"/>
                  </a:lnTo>
                  <a:lnTo>
                    <a:pt x="85" y="157"/>
                  </a:lnTo>
                  <a:lnTo>
                    <a:pt x="91" y="155"/>
                  </a:lnTo>
                  <a:lnTo>
                    <a:pt x="97" y="154"/>
                  </a:lnTo>
                  <a:lnTo>
                    <a:pt x="286" y="154"/>
                  </a:lnTo>
                  <a:lnTo>
                    <a:pt x="286" y="154"/>
                  </a:lnTo>
                  <a:lnTo>
                    <a:pt x="294" y="154"/>
                  </a:lnTo>
                  <a:lnTo>
                    <a:pt x="300" y="151"/>
                  </a:lnTo>
                  <a:lnTo>
                    <a:pt x="307" y="147"/>
                  </a:lnTo>
                  <a:lnTo>
                    <a:pt x="312" y="143"/>
                  </a:lnTo>
                  <a:lnTo>
                    <a:pt x="418" y="36"/>
                  </a:lnTo>
                  <a:lnTo>
                    <a:pt x="418" y="36"/>
                  </a:lnTo>
                  <a:lnTo>
                    <a:pt x="421" y="33"/>
                  </a:lnTo>
                  <a:lnTo>
                    <a:pt x="423" y="30"/>
                  </a:lnTo>
                  <a:lnTo>
                    <a:pt x="424" y="25"/>
                  </a:lnTo>
                  <a:lnTo>
                    <a:pt x="424" y="21"/>
                  </a:lnTo>
                  <a:lnTo>
                    <a:pt x="424" y="17"/>
                  </a:lnTo>
                  <a:lnTo>
                    <a:pt x="423" y="14"/>
                  </a:lnTo>
                  <a:lnTo>
                    <a:pt x="421" y="9"/>
                  </a:lnTo>
                  <a:lnTo>
                    <a:pt x="418" y="6"/>
                  </a:lnTo>
                  <a:lnTo>
                    <a:pt x="418" y="6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34"/>
            <p:cNvSpPr>
              <a:spLocks noEditPoints="1"/>
            </p:cNvSpPr>
            <p:nvPr/>
          </p:nvSpPr>
          <p:spPr bwMode="auto">
            <a:xfrm>
              <a:off x="7958015" y="1363920"/>
              <a:ext cx="259133" cy="306868"/>
            </a:xfrm>
            <a:custGeom>
              <a:avLst/>
              <a:gdLst>
                <a:gd name="T0" fmla="*/ 257 w 303"/>
                <a:gd name="T1" fmla="*/ 165 h 359"/>
                <a:gd name="T2" fmla="*/ 257 w 303"/>
                <a:gd name="T3" fmla="*/ 108 h 359"/>
                <a:gd name="T4" fmla="*/ 255 w 303"/>
                <a:gd name="T5" fmla="*/ 86 h 359"/>
                <a:gd name="T6" fmla="*/ 248 w 303"/>
                <a:gd name="T7" fmla="*/ 66 h 359"/>
                <a:gd name="T8" fmla="*/ 238 w 303"/>
                <a:gd name="T9" fmla="*/ 48 h 359"/>
                <a:gd name="T10" fmla="*/ 225 w 303"/>
                <a:gd name="T11" fmla="*/ 33 h 359"/>
                <a:gd name="T12" fmla="*/ 209 w 303"/>
                <a:gd name="T13" fmla="*/ 19 h 359"/>
                <a:gd name="T14" fmla="*/ 191 w 303"/>
                <a:gd name="T15" fmla="*/ 9 h 359"/>
                <a:gd name="T16" fmla="*/ 171 w 303"/>
                <a:gd name="T17" fmla="*/ 3 h 359"/>
                <a:gd name="T18" fmla="*/ 150 w 303"/>
                <a:gd name="T19" fmla="*/ 0 h 359"/>
                <a:gd name="T20" fmla="*/ 139 w 303"/>
                <a:gd name="T21" fmla="*/ 2 h 359"/>
                <a:gd name="T22" fmla="*/ 118 w 303"/>
                <a:gd name="T23" fmla="*/ 6 h 359"/>
                <a:gd name="T24" fmla="*/ 98 w 303"/>
                <a:gd name="T25" fmla="*/ 13 h 359"/>
                <a:gd name="T26" fmla="*/ 82 w 303"/>
                <a:gd name="T27" fmla="*/ 25 h 359"/>
                <a:gd name="T28" fmla="*/ 67 w 303"/>
                <a:gd name="T29" fmla="*/ 40 h 359"/>
                <a:gd name="T30" fmla="*/ 55 w 303"/>
                <a:gd name="T31" fmla="*/ 56 h 359"/>
                <a:gd name="T32" fmla="*/ 48 w 303"/>
                <a:gd name="T33" fmla="*/ 76 h 359"/>
                <a:gd name="T34" fmla="*/ 43 w 303"/>
                <a:gd name="T35" fmla="*/ 97 h 359"/>
                <a:gd name="T36" fmla="*/ 42 w 303"/>
                <a:gd name="T37" fmla="*/ 165 h 359"/>
                <a:gd name="T38" fmla="*/ 0 w 303"/>
                <a:gd name="T39" fmla="*/ 337 h 359"/>
                <a:gd name="T40" fmla="*/ 1 w 303"/>
                <a:gd name="T41" fmla="*/ 341 h 359"/>
                <a:gd name="T42" fmla="*/ 4 w 303"/>
                <a:gd name="T43" fmla="*/ 350 h 359"/>
                <a:gd name="T44" fmla="*/ 11 w 303"/>
                <a:gd name="T45" fmla="*/ 355 h 359"/>
                <a:gd name="T46" fmla="*/ 18 w 303"/>
                <a:gd name="T47" fmla="*/ 359 h 359"/>
                <a:gd name="T48" fmla="*/ 303 w 303"/>
                <a:gd name="T49" fmla="*/ 359 h 359"/>
                <a:gd name="T50" fmla="*/ 303 w 303"/>
                <a:gd name="T51" fmla="*/ 187 h 359"/>
                <a:gd name="T52" fmla="*/ 301 w 303"/>
                <a:gd name="T53" fmla="*/ 179 h 359"/>
                <a:gd name="T54" fmla="*/ 297 w 303"/>
                <a:gd name="T55" fmla="*/ 171 h 359"/>
                <a:gd name="T56" fmla="*/ 289 w 303"/>
                <a:gd name="T57" fmla="*/ 167 h 359"/>
                <a:gd name="T58" fmla="*/ 280 w 303"/>
                <a:gd name="T59" fmla="*/ 165 h 359"/>
                <a:gd name="T60" fmla="*/ 88 w 303"/>
                <a:gd name="T61" fmla="*/ 108 h 359"/>
                <a:gd name="T62" fmla="*/ 90 w 303"/>
                <a:gd name="T63" fmla="*/ 95 h 359"/>
                <a:gd name="T64" fmla="*/ 99 w 303"/>
                <a:gd name="T65" fmla="*/ 74 h 359"/>
                <a:gd name="T66" fmla="*/ 115 w 303"/>
                <a:gd name="T67" fmla="*/ 57 h 359"/>
                <a:gd name="T68" fmla="*/ 137 w 303"/>
                <a:gd name="T69" fmla="*/ 48 h 359"/>
                <a:gd name="T70" fmla="*/ 150 w 303"/>
                <a:gd name="T71" fmla="*/ 47 h 359"/>
                <a:gd name="T72" fmla="*/ 174 w 303"/>
                <a:gd name="T73" fmla="*/ 51 h 359"/>
                <a:gd name="T74" fmla="*/ 193 w 303"/>
                <a:gd name="T75" fmla="*/ 65 h 359"/>
                <a:gd name="T76" fmla="*/ 206 w 303"/>
                <a:gd name="T77" fmla="*/ 84 h 359"/>
                <a:gd name="T78" fmla="*/ 211 w 303"/>
                <a:gd name="T79" fmla="*/ 108 h 359"/>
                <a:gd name="T80" fmla="*/ 88 w 303"/>
                <a:gd name="T81" fmla="*/ 165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03" h="359">
                  <a:moveTo>
                    <a:pt x="280" y="165"/>
                  </a:moveTo>
                  <a:lnTo>
                    <a:pt x="257" y="165"/>
                  </a:lnTo>
                  <a:lnTo>
                    <a:pt x="257" y="108"/>
                  </a:lnTo>
                  <a:lnTo>
                    <a:pt x="257" y="108"/>
                  </a:lnTo>
                  <a:lnTo>
                    <a:pt x="257" y="97"/>
                  </a:lnTo>
                  <a:lnTo>
                    <a:pt x="255" y="86"/>
                  </a:lnTo>
                  <a:lnTo>
                    <a:pt x="252" y="76"/>
                  </a:lnTo>
                  <a:lnTo>
                    <a:pt x="248" y="66"/>
                  </a:lnTo>
                  <a:lnTo>
                    <a:pt x="244" y="56"/>
                  </a:lnTo>
                  <a:lnTo>
                    <a:pt x="238" y="48"/>
                  </a:lnTo>
                  <a:lnTo>
                    <a:pt x="233" y="40"/>
                  </a:lnTo>
                  <a:lnTo>
                    <a:pt x="225" y="33"/>
                  </a:lnTo>
                  <a:lnTo>
                    <a:pt x="218" y="25"/>
                  </a:lnTo>
                  <a:lnTo>
                    <a:pt x="209" y="19"/>
                  </a:lnTo>
                  <a:lnTo>
                    <a:pt x="201" y="13"/>
                  </a:lnTo>
                  <a:lnTo>
                    <a:pt x="191" y="9"/>
                  </a:lnTo>
                  <a:lnTo>
                    <a:pt x="181" y="6"/>
                  </a:lnTo>
                  <a:lnTo>
                    <a:pt x="171" y="3"/>
                  </a:lnTo>
                  <a:lnTo>
                    <a:pt x="161" y="2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39" y="2"/>
                  </a:lnTo>
                  <a:lnTo>
                    <a:pt x="128" y="3"/>
                  </a:lnTo>
                  <a:lnTo>
                    <a:pt x="118" y="6"/>
                  </a:lnTo>
                  <a:lnTo>
                    <a:pt x="108" y="9"/>
                  </a:lnTo>
                  <a:lnTo>
                    <a:pt x="98" y="13"/>
                  </a:lnTo>
                  <a:lnTo>
                    <a:pt x="90" y="19"/>
                  </a:lnTo>
                  <a:lnTo>
                    <a:pt x="82" y="25"/>
                  </a:lnTo>
                  <a:lnTo>
                    <a:pt x="74" y="33"/>
                  </a:lnTo>
                  <a:lnTo>
                    <a:pt x="67" y="40"/>
                  </a:lnTo>
                  <a:lnTo>
                    <a:pt x="60" y="48"/>
                  </a:lnTo>
                  <a:lnTo>
                    <a:pt x="55" y="56"/>
                  </a:lnTo>
                  <a:lnTo>
                    <a:pt x="51" y="66"/>
                  </a:lnTo>
                  <a:lnTo>
                    <a:pt x="48" y="76"/>
                  </a:lnTo>
                  <a:lnTo>
                    <a:pt x="44" y="86"/>
                  </a:lnTo>
                  <a:lnTo>
                    <a:pt x="43" y="97"/>
                  </a:lnTo>
                  <a:lnTo>
                    <a:pt x="42" y="108"/>
                  </a:lnTo>
                  <a:lnTo>
                    <a:pt x="42" y="165"/>
                  </a:lnTo>
                  <a:lnTo>
                    <a:pt x="0" y="165"/>
                  </a:lnTo>
                  <a:lnTo>
                    <a:pt x="0" y="337"/>
                  </a:lnTo>
                  <a:lnTo>
                    <a:pt x="0" y="337"/>
                  </a:lnTo>
                  <a:lnTo>
                    <a:pt x="1" y="341"/>
                  </a:lnTo>
                  <a:lnTo>
                    <a:pt x="2" y="345"/>
                  </a:lnTo>
                  <a:lnTo>
                    <a:pt x="4" y="350"/>
                  </a:lnTo>
                  <a:lnTo>
                    <a:pt x="8" y="353"/>
                  </a:lnTo>
                  <a:lnTo>
                    <a:pt x="11" y="355"/>
                  </a:lnTo>
                  <a:lnTo>
                    <a:pt x="14" y="357"/>
                  </a:lnTo>
                  <a:lnTo>
                    <a:pt x="18" y="359"/>
                  </a:lnTo>
                  <a:lnTo>
                    <a:pt x="24" y="359"/>
                  </a:lnTo>
                  <a:lnTo>
                    <a:pt x="303" y="359"/>
                  </a:lnTo>
                  <a:lnTo>
                    <a:pt x="303" y="187"/>
                  </a:lnTo>
                  <a:lnTo>
                    <a:pt x="303" y="187"/>
                  </a:lnTo>
                  <a:lnTo>
                    <a:pt x="302" y="183"/>
                  </a:lnTo>
                  <a:lnTo>
                    <a:pt x="301" y="179"/>
                  </a:lnTo>
                  <a:lnTo>
                    <a:pt x="299" y="175"/>
                  </a:lnTo>
                  <a:lnTo>
                    <a:pt x="297" y="171"/>
                  </a:lnTo>
                  <a:lnTo>
                    <a:pt x="292" y="169"/>
                  </a:lnTo>
                  <a:lnTo>
                    <a:pt x="289" y="167"/>
                  </a:lnTo>
                  <a:lnTo>
                    <a:pt x="285" y="165"/>
                  </a:lnTo>
                  <a:lnTo>
                    <a:pt x="280" y="165"/>
                  </a:lnTo>
                  <a:lnTo>
                    <a:pt x="280" y="165"/>
                  </a:lnTo>
                  <a:close/>
                  <a:moveTo>
                    <a:pt x="88" y="108"/>
                  </a:moveTo>
                  <a:lnTo>
                    <a:pt x="88" y="108"/>
                  </a:lnTo>
                  <a:lnTo>
                    <a:pt x="90" y="95"/>
                  </a:lnTo>
                  <a:lnTo>
                    <a:pt x="93" y="84"/>
                  </a:lnTo>
                  <a:lnTo>
                    <a:pt x="99" y="74"/>
                  </a:lnTo>
                  <a:lnTo>
                    <a:pt x="107" y="65"/>
                  </a:lnTo>
                  <a:lnTo>
                    <a:pt x="115" y="57"/>
                  </a:lnTo>
                  <a:lnTo>
                    <a:pt x="126" y="51"/>
                  </a:lnTo>
                  <a:lnTo>
                    <a:pt x="137" y="48"/>
                  </a:lnTo>
                  <a:lnTo>
                    <a:pt x="150" y="47"/>
                  </a:lnTo>
                  <a:lnTo>
                    <a:pt x="150" y="47"/>
                  </a:lnTo>
                  <a:lnTo>
                    <a:pt x="162" y="48"/>
                  </a:lnTo>
                  <a:lnTo>
                    <a:pt x="174" y="51"/>
                  </a:lnTo>
                  <a:lnTo>
                    <a:pt x="184" y="57"/>
                  </a:lnTo>
                  <a:lnTo>
                    <a:pt x="193" y="65"/>
                  </a:lnTo>
                  <a:lnTo>
                    <a:pt x="201" y="74"/>
                  </a:lnTo>
                  <a:lnTo>
                    <a:pt x="206" y="84"/>
                  </a:lnTo>
                  <a:lnTo>
                    <a:pt x="209" y="95"/>
                  </a:lnTo>
                  <a:lnTo>
                    <a:pt x="211" y="108"/>
                  </a:lnTo>
                  <a:lnTo>
                    <a:pt x="211" y="165"/>
                  </a:lnTo>
                  <a:lnTo>
                    <a:pt x="88" y="165"/>
                  </a:lnTo>
                  <a:lnTo>
                    <a:pt x="88" y="108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1304759" y="3790060"/>
            <a:ext cx="1861106" cy="4012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ctr"/>
            <a:r>
              <a:rPr lang="en-US" b="1">
                <a:solidFill>
                  <a:srgbClr val="0096D6"/>
                </a:solidFill>
              </a:rPr>
              <a:t>Integrity protection: </a:t>
            </a:r>
            <a:r>
              <a:rPr lang="en-US" sz="1600">
                <a:solidFill>
                  <a:prstClr val="black"/>
                </a:solidFill>
              </a:rPr>
              <a:t>secure boot and firmware</a:t>
            </a:r>
            <a:endParaRPr lang="en-US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504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Protect:</a:t>
            </a:r>
            <a:r>
              <a:rPr lang="en-US" dirty="0" smtClean="0"/>
              <a:t> Access control at different layers</a:t>
            </a:r>
            <a:endParaRPr lang="hi-IN" dirty="0"/>
          </a:p>
        </p:txBody>
      </p:sp>
      <p:sp>
        <p:nvSpPr>
          <p:cNvPr id="87" name="TextBox 86"/>
          <p:cNvSpPr txBox="1"/>
          <p:nvPr/>
        </p:nvSpPr>
        <p:spPr>
          <a:xfrm>
            <a:off x="3510691" y="4775957"/>
            <a:ext cx="1029870" cy="2750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tx2"/>
                </a:solidFill>
              </a:rPr>
              <a:t>Platform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8108233" y="6105119"/>
            <a:ext cx="481892" cy="2058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 smtClean="0">
                <a:solidFill>
                  <a:schemeClr val="accent1"/>
                </a:solidFill>
              </a:rPr>
              <a:t>OS</a:t>
            </a:r>
          </a:p>
        </p:txBody>
      </p:sp>
      <p:sp>
        <p:nvSpPr>
          <p:cNvPr id="139" name="Freeform 34"/>
          <p:cNvSpPr>
            <a:spLocks noEditPoints="1"/>
          </p:cNvSpPr>
          <p:nvPr/>
        </p:nvSpPr>
        <p:spPr bwMode="auto">
          <a:xfrm>
            <a:off x="11217286" y="685800"/>
            <a:ext cx="362098" cy="428800"/>
          </a:xfrm>
          <a:custGeom>
            <a:avLst/>
            <a:gdLst>
              <a:gd name="T0" fmla="*/ 257 w 303"/>
              <a:gd name="T1" fmla="*/ 165 h 359"/>
              <a:gd name="T2" fmla="*/ 257 w 303"/>
              <a:gd name="T3" fmla="*/ 108 h 359"/>
              <a:gd name="T4" fmla="*/ 255 w 303"/>
              <a:gd name="T5" fmla="*/ 86 h 359"/>
              <a:gd name="T6" fmla="*/ 248 w 303"/>
              <a:gd name="T7" fmla="*/ 66 h 359"/>
              <a:gd name="T8" fmla="*/ 238 w 303"/>
              <a:gd name="T9" fmla="*/ 48 h 359"/>
              <a:gd name="T10" fmla="*/ 225 w 303"/>
              <a:gd name="T11" fmla="*/ 33 h 359"/>
              <a:gd name="T12" fmla="*/ 209 w 303"/>
              <a:gd name="T13" fmla="*/ 19 h 359"/>
              <a:gd name="T14" fmla="*/ 191 w 303"/>
              <a:gd name="T15" fmla="*/ 9 h 359"/>
              <a:gd name="T16" fmla="*/ 171 w 303"/>
              <a:gd name="T17" fmla="*/ 3 h 359"/>
              <a:gd name="T18" fmla="*/ 150 w 303"/>
              <a:gd name="T19" fmla="*/ 0 h 359"/>
              <a:gd name="T20" fmla="*/ 139 w 303"/>
              <a:gd name="T21" fmla="*/ 2 h 359"/>
              <a:gd name="T22" fmla="*/ 118 w 303"/>
              <a:gd name="T23" fmla="*/ 6 h 359"/>
              <a:gd name="T24" fmla="*/ 98 w 303"/>
              <a:gd name="T25" fmla="*/ 13 h 359"/>
              <a:gd name="T26" fmla="*/ 82 w 303"/>
              <a:gd name="T27" fmla="*/ 25 h 359"/>
              <a:gd name="T28" fmla="*/ 67 w 303"/>
              <a:gd name="T29" fmla="*/ 40 h 359"/>
              <a:gd name="T30" fmla="*/ 55 w 303"/>
              <a:gd name="T31" fmla="*/ 56 h 359"/>
              <a:gd name="T32" fmla="*/ 48 w 303"/>
              <a:gd name="T33" fmla="*/ 76 h 359"/>
              <a:gd name="T34" fmla="*/ 43 w 303"/>
              <a:gd name="T35" fmla="*/ 97 h 359"/>
              <a:gd name="T36" fmla="*/ 42 w 303"/>
              <a:gd name="T37" fmla="*/ 165 h 359"/>
              <a:gd name="T38" fmla="*/ 0 w 303"/>
              <a:gd name="T39" fmla="*/ 337 h 359"/>
              <a:gd name="T40" fmla="*/ 1 w 303"/>
              <a:gd name="T41" fmla="*/ 341 h 359"/>
              <a:gd name="T42" fmla="*/ 4 w 303"/>
              <a:gd name="T43" fmla="*/ 350 h 359"/>
              <a:gd name="T44" fmla="*/ 11 w 303"/>
              <a:gd name="T45" fmla="*/ 355 h 359"/>
              <a:gd name="T46" fmla="*/ 18 w 303"/>
              <a:gd name="T47" fmla="*/ 359 h 359"/>
              <a:gd name="T48" fmla="*/ 303 w 303"/>
              <a:gd name="T49" fmla="*/ 359 h 359"/>
              <a:gd name="T50" fmla="*/ 303 w 303"/>
              <a:gd name="T51" fmla="*/ 187 h 359"/>
              <a:gd name="T52" fmla="*/ 301 w 303"/>
              <a:gd name="T53" fmla="*/ 179 h 359"/>
              <a:gd name="T54" fmla="*/ 297 w 303"/>
              <a:gd name="T55" fmla="*/ 171 h 359"/>
              <a:gd name="T56" fmla="*/ 289 w 303"/>
              <a:gd name="T57" fmla="*/ 167 h 359"/>
              <a:gd name="T58" fmla="*/ 280 w 303"/>
              <a:gd name="T59" fmla="*/ 165 h 359"/>
              <a:gd name="T60" fmla="*/ 88 w 303"/>
              <a:gd name="T61" fmla="*/ 108 h 359"/>
              <a:gd name="T62" fmla="*/ 90 w 303"/>
              <a:gd name="T63" fmla="*/ 95 h 359"/>
              <a:gd name="T64" fmla="*/ 99 w 303"/>
              <a:gd name="T65" fmla="*/ 74 h 359"/>
              <a:gd name="T66" fmla="*/ 115 w 303"/>
              <a:gd name="T67" fmla="*/ 57 h 359"/>
              <a:gd name="T68" fmla="*/ 137 w 303"/>
              <a:gd name="T69" fmla="*/ 48 h 359"/>
              <a:gd name="T70" fmla="*/ 150 w 303"/>
              <a:gd name="T71" fmla="*/ 47 h 359"/>
              <a:gd name="T72" fmla="*/ 174 w 303"/>
              <a:gd name="T73" fmla="*/ 51 h 359"/>
              <a:gd name="T74" fmla="*/ 193 w 303"/>
              <a:gd name="T75" fmla="*/ 65 h 359"/>
              <a:gd name="T76" fmla="*/ 206 w 303"/>
              <a:gd name="T77" fmla="*/ 84 h 359"/>
              <a:gd name="T78" fmla="*/ 211 w 303"/>
              <a:gd name="T79" fmla="*/ 108 h 359"/>
              <a:gd name="T80" fmla="*/ 88 w 303"/>
              <a:gd name="T81" fmla="*/ 165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03" h="359">
                <a:moveTo>
                  <a:pt x="280" y="165"/>
                </a:moveTo>
                <a:lnTo>
                  <a:pt x="257" y="165"/>
                </a:lnTo>
                <a:lnTo>
                  <a:pt x="257" y="108"/>
                </a:lnTo>
                <a:lnTo>
                  <a:pt x="257" y="108"/>
                </a:lnTo>
                <a:lnTo>
                  <a:pt x="257" y="97"/>
                </a:lnTo>
                <a:lnTo>
                  <a:pt x="255" y="86"/>
                </a:lnTo>
                <a:lnTo>
                  <a:pt x="252" y="76"/>
                </a:lnTo>
                <a:lnTo>
                  <a:pt x="248" y="66"/>
                </a:lnTo>
                <a:lnTo>
                  <a:pt x="244" y="56"/>
                </a:lnTo>
                <a:lnTo>
                  <a:pt x="238" y="48"/>
                </a:lnTo>
                <a:lnTo>
                  <a:pt x="233" y="40"/>
                </a:lnTo>
                <a:lnTo>
                  <a:pt x="225" y="33"/>
                </a:lnTo>
                <a:lnTo>
                  <a:pt x="218" y="25"/>
                </a:lnTo>
                <a:lnTo>
                  <a:pt x="209" y="19"/>
                </a:lnTo>
                <a:lnTo>
                  <a:pt x="201" y="13"/>
                </a:lnTo>
                <a:lnTo>
                  <a:pt x="191" y="9"/>
                </a:lnTo>
                <a:lnTo>
                  <a:pt x="181" y="6"/>
                </a:lnTo>
                <a:lnTo>
                  <a:pt x="171" y="3"/>
                </a:lnTo>
                <a:lnTo>
                  <a:pt x="161" y="2"/>
                </a:lnTo>
                <a:lnTo>
                  <a:pt x="150" y="0"/>
                </a:lnTo>
                <a:lnTo>
                  <a:pt x="150" y="0"/>
                </a:lnTo>
                <a:lnTo>
                  <a:pt x="139" y="2"/>
                </a:lnTo>
                <a:lnTo>
                  <a:pt x="128" y="3"/>
                </a:lnTo>
                <a:lnTo>
                  <a:pt x="118" y="6"/>
                </a:lnTo>
                <a:lnTo>
                  <a:pt x="108" y="9"/>
                </a:lnTo>
                <a:lnTo>
                  <a:pt x="98" y="13"/>
                </a:lnTo>
                <a:lnTo>
                  <a:pt x="90" y="19"/>
                </a:lnTo>
                <a:lnTo>
                  <a:pt x="82" y="25"/>
                </a:lnTo>
                <a:lnTo>
                  <a:pt x="74" y="33"/>
                </a:lnTo>
                <a:lnTo>
                  <a:pt x="67" y="40"/>
                </a:lnTo>
                <a:lnTo>
                  <a:pt x="60" y="48"/>
                </a:lnTo>
                <a:lnTo>
                  <a:pt x="55" y="56"/>
                </a:lnTo>
                <a:lnTo>
                  <a:pt x="51" y="66"/>
                </a:lnTo>
                <a:lnTo>
                  <a:pt x="48" y="76"/>
                </a:lnTo>
                <a:lnTo>
                  <a:pt x="44" y="86"/>
                </a:lnTo>
                <a:lnTo>
                  <a:pt x="43" y="97"/>
                </a:lnTo>
                <a:lnTo>
                  <a:pt x="42" y="108"/>
                </a:lnTo>
                <a:lnTo>
                  <a:pt x="42" y="165"/>
                </a:lnTo>
                <a:lnTo>
                  <a:pt x="0" y="165"/>
                </a:lnTo>
                <a:lnTo>
                  <a:pt x="0" y="337"/>
                </a:lnTo>
                <a:lnTo>
                  <a:pt x="0" y="337"/>
                </a:lnTo>
                <a:lnTo>
                  <a:pt x="1" y="341"/>
                </a:lnTo>
                <a:lnTo>
                  <a:pt x="2" y="345"/>
                </a:lnTo>
                <a:lnTo>
                  <a:pt x="4" y="350"/>
                </a:lnTo>
                <a:lnTo>
                  <a:pt x="8" y="353"/>
                </a:lnTo>
                <a:lnTo>
                  <a:pt x="11" y="355"/>
                </a:lnTo>
                <a:lnTo>
                  <a:pt x="14" y="357"/>
                </a:lnTo>
                <a:lnTo>
                  <a:pt x="18" y="359"/>
                </a:lnTo>
                <a:lnTo>
                  <a:pt x="24" y="359"/>
                </a:lnTo>
                <a:lnTo>
                  <a:pt x="303" y="359"/>
                </a:lnTo>
                <a:lnTo>
                  <a:pt x="303" y="187"/>
                </a:lnTo>
                <a:lnTo>
                  <a:pt x="303" y="187"/>
                </a:lnTo>
                <a:lnTo>
                  <a:pt x="302" y="183"/>
                </a:lnTo>
                <a:lnTo>
                  <a:pt x="301" y="179"/>
                </a:lnTo>
                <a:lnTo>
                  <a:pt x="299" y="175"/>
                </a:lnTo>
                <a:lnTo>
                  <a:pt x="297" y="171"/>
                </a:lnTo>
                <a:lnTo>
                  <a:pt x="292" y="169"/>
                </a:lnTo>
                <a:lnTo>
                  <a:pt x="289" y="167"/>
                </a:lnTo>
                <a:lnTo>
                  <a:pt x="285" y="165"/>
                </a:lnTo>
                <a:lnTo>
                  <a:pt x="280" y="165"/>
                </a:lnTo>
                <a:lnTo>
                  <a:pt x="280" y="165"/>
                </a:lnTo>
                <a:close/>
                <a:moveTo>
                  <a:pt x="88" y="108"/>
                </a:moveTo>
                <a:lnTo>
                  <a:pt x="88" y="108"/>
                </a:lnTo>
                <a:lnTo>
                  <a:pt x="90" y="95"/>
                </a:lnTo>
                <a:lnTo>
                  <a:pt x="93" y="84"/>
                </a:lnTo>
                <a:lnTo>
                  <a:pt x="99" y="74"/>
                </a:lnTo>
                <a:lnTo>
                  <a:pt x="107" y="65"/>
                </a:lnTo>
                <a:lnTo>
                  <a:pt x="115" y="57"/>
                </a:lnTo>
                <a:lnTo>
                  <a:pt x="126" y="51"/>
                </a:lnTo>
                <a:lnTo>
                  <a:pt x="137" y="48"/>
                </a:lnTo>
                <a:lnTo>
                  <a:pt x="150" y="47"/>
                </a:lnTo>
                <a:lnTo>
                  <a:pt x="150" y="47"/>
                </a:lnTo>
                <a:lnTo>
                  <a:pt x="162" y="48"/>
                </a:lnTo>
                <a:lnTo>
                  <a:pt x="174" y="51"/>
                </a:lnTo>
                <a:lnTo>
                  <a:pt x="184" y="57"/>
                </a:lnTo>
                <a:lnTo>
                  <a:pt x="193" y="65"/>
                </a:lnTo>
                <a:lnTo>
                  <a:pt x="201" y="74"/>
                </a:lnTo>
                <a:lnTo>
                  <a:pt x="206" y="84"/>
                </a:lnTo>
                <a:lnTo>
                  <a:pt x="209" y="95"/>
                </a:lnTo>
                <a:lnTo>
                  <a:pt x="211" y="108"/>
                </a:lnTo>
                <a:lnTo>
                  <a:pt x="211" y="165"/>
                </a:lnTo>
                <a:lnTo>
                  <a:pt x="88" y="165"/>
                </a:lnTo>
                <a:lnTo>
                  <a:pt x="88" y="108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TextBox 139"/>
          <p:cNvSpPr txBox="1"/>
          <p:nvPr/>
        </p:nvSpPr>
        <p:spPr>
          <a:xfrm>
            <a:off x="8108233" y="3286796"/>
            <a:ext cx="481892" cy="2058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 smtClean="0">
                <a:solidFill>
                  <a:schemeClr val="accent1"/>
                </a:solidFill>
              </a:rPr>
              <a:t>OS</a:t>
            </a:r>
          </a:p>
        </p:txBody>
      </p:sp>
      <p:grpSp>
        <p:nvGrpSpPr>
          <p:cNvPr id="260" name="Group 259"/>
          <p:cNvGrpSpPr/>
          <p:nvPr/>
        </p:nvGrpSpPr>
        <p:grpSpPr>
          <a:xfrm>
            <a:off x="611947" y="2443163"/>
            <a:ext cx="6281926" cy="2181224"/>
            <a:chOff x="1903412" y="2438400"/>
            <a:chExt cx="5486400" cy="1905000"/>
          </a:xfrm>
        </p:grpSpPr>
        <p:grpSp>
          <p:nvGrpSpPr>
            <p:cNvPr id="6" name="Group 5"/>
            <p:cNvGrpSpPr/>
            <p:nvPr/>
          </p:nvGrpSpPr>
          <p:grpSpPr>
            <a:xfrm>
              <a:off x="5347867" y="2438400"/>
              <a:ext cx="2041945" cy="1905000"/>
              <a:chOff x="5347867" y="2438400"/>
              <a:chExt cx="2041945" cy="1905000"/>
            </a:xfrm>
          </p:grpSpPr>
          <p:sp>
            <p:nvSpPr>
              <p:cNvPr id="36" name="Round Diagonal Corner Rectangle 35"/>
              <p:cNvSpPr/>
              <p:nvPr/>
            </p:nvSpPr>
            <p:spPr>
              <a:xfrm>
                <a:off x="5347867" y="2438400"/>
                <a:ext cx="2041945" cy="1905000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grpSp>
            <p:nvGrpSpPr>
              <p:cNvPr id="38" name="Group 37"/>
              <p:cNvGrpSpPr/>
              <p:nvPr/>
            </p:nvGrpSpPr>
            <p:grpSpPr>
              <a:xfrm>
                <a:off x="5434263" y="2530418"/>
                <a:ext cx="433044" cy="397477"/>
                <a:chOff x="1042044" y="2489534"/>
                <a:chExt cx="584512" cy="601704"/>
              </a:xfrm>
            </p:grpSpPr>
            <p:pic>
              <p:nvPicPr>
                <p:cNvPr id="84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85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39" name="Group 38"/>
              <p:cNvGrpSpPr/>
              <p:nvPr/>
            </p:nvGrpSpPr>
            <p:grpSpPr>
              <a:xfrm>
                <a:off x="5912967" y="2530418"/>
                <a:ext cx="433044" cy="397477"/>
                <a:chOff x="1042044" y="2489534"/>
                <a:chExt cx="584512" cy="601704"/>
              </a:xfrm>
            </p:grpSpPr>
            <p:pic>
              <p:nvPicPr>
                <p:cNvPr id="82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C00000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83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C00000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0" name="Group 39"/>
              <p:cNvGrpSpPr/>
              <p:nvPr/>
            </p:nvGrpSpPr>
            <p:grpSpPr>
              <a:xfrm>
                <a:off x="6391670" y="2530418"/>
                <a:ext cx="433044" cy="397477"/>
                <a:chOff x="1042044" y="2489534"/>
                <a:chExt cx="584512" cy="601704"/>
              </a:xfrm>
            </p:grpSpPr>
            <p:pic>
              <p:nvPicPr>
                <p:cNvPr id="80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81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1" name="Group 40"/>
              <p:cNvGrpSpPr/>
              <p:nvPr/>
            </p:nvGrpSpPr>
            <p:grpSpPr>
              <a:xfrm>
                <a:off x="6870373" y="2530418"/>
                <a:ext cx="433044" cy="397477"/>
                <a:chOff x="1042044" y="2489534"/>
                <a:chExt cx="584512" cy="601704"/>
              </a:xfrm>
            </p:grpSpPr>
            <p:pic>
              <p:nvPicPr>
                <p:cNvPr id="78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79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2" name="Group 41"/>
              <p:cNvGrpSpPr/>
              <p:nvPr/>
            </p:nvGrpSpPr>
            <p:grpSpPr>
              <a:xfrm>
                <a:off x="5434263" y="2970518"/>
                <a:ext cx="433044" cy="397477"/>
                <a:chOff x="1042044" y="2489534"/>
                <a:chExt cx="584512" cy="601704"/>
              </a:xfrm>
            </p:grpSpPr>
            <p:pic>
              <p:nvPicPr>
                <p:cNvPr id="76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77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3" name="Group 42"/>
              <p:cNvGrpSpPr/>
              <p:nvPr/>
            </p:nvGrpSpPr>
            <p:grpSpPr>
              <a:xfrm>
                <a:off x="5912967" y="2970518"/>
                <a:ext cx="433044" cy="397477"/>
                <a:chOff x="1042044" y="2489534"/>
                <a:chExt cx="584512" cy="601704"/>
              </a:xfrm>
            </p:grpSpPr>
            <p:pic>
              <p:nvPicPr>
                <p:cNvPr id="74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75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4" name="Group 43"/>
              <p:cNvGrpSpPr/>
              <p:nvPr/>
            </p:nvGrpSpPr>
            <p:grpSpPr>
              <a:xfrm>
                <a:off x="6391670" y="2970518"/>
                <a:ext cx="433044" cy="397477"/>
                <a:chOff x="1042044" y="2489534"/>
                <a:chExt cx="584512" cy="601704"/>
              </a:xfrm>
            </p:grpSpPr>
            <p:pic>
              <p:nvPicPr>
                <p:cNvPr id="72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73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5" name="Group 44"/>
              <p:cNvGrpSpPr/>
              <p:nvPr/>
            </p:nvGrpSpPr>
            <p:grpSpPr>
              <a:xfrm>
                <a:off x="6870373" y="2970518"/>
                <a:ext cx="433044" cy="397477"/>
                <a:chOff x="1042044" y="2489534"/>
                <a:chExt cx="584512" cy="601704"/>
              </a:xfrm>
            </p:grpSpPr>
            <p:pic>
              <p:nvPicPr>
                <p:cNvPr id="70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71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6" name="Group 45"/>
              <p:cNvGrpSpPr/>
              <p:nvPr/>
            </p:nvGrpSpPr>
            <p:grpSpPr>
              <a:xfrm>
                <a:off x="5434263" y="3416119"/>
                <a:ext cx="433044" cy="397477"/>
                <a:chOff x="1042044" y="2489534"/>
                <a:chExt cx="584512" cy="601704"/>
              </a:xfrm>
            </p:grpSpPr>
            <p:pic>
              <p:nvPicPr>
                <p:cNvPr id="68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008B2C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69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008B2C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7" name="Group 46"/>
              <p:cNvGrpSpPr/>
              <p:nvPr/>
            </p:nvGrpSpPr>
            <p:grpSpPr>
              <a:xfrm>
                <a:off x="5912967" y="3416119"/>
                <a:ext cx="433044" cy="397477"/>
                <a:chOff x="1042044" y="2489534"/>
                <a:chExt cx="584512" cy="601704"/>
              </a:xfrm>
            </p:grpSpPr>
            <p:pic>
              <p:nvPicPr>
                <p:cNvPr id="66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67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8" name="Group 47"/>
              <p:cNvGrpSpPr/>
              <p:nvPr/>
            </p:nvGrpSpPr>
            <p:grpSpPr>
              <a:xfrm>
                <a:off x="6391670" y="3416119"/>
                <a:ext cx="433044" cy="397477"/>
                <a:chOff x="1042044" y="2489534"/>
                <a:chExt cx="584512" cy="601704"/>
              </a:xfrm>
            </p:grpSpPr>
            <p:pic>
              <p:nvPicPr>
                <p:cNvPr id="64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C00000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65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C00000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9" name="Group 48"/>
              <p:cNvGrpSpPr/>
              <p:nvPr/>
            </p:nvGrpSpPr>
            <p:grpSpPr>
              <a:xfrm>
                <a:off x="6870373" y="3416119"/>
                <a:ext cx="433044" cy="397477"/>
                <a:chOff x="1042044" y="2489534"/>
                <a:chExt cx="584512" cy="601704"/>
              </a:xfrm>
            </p:grpSpPr>
            <p:pic>
              <p:nvPicPr>
                <p:cNvPr id="62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63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50" name="Group 49"/>
              <p:cNvGrpSpPr/>
              <p:nvPr/>
            </p:nvGrpSpPr>
            <p:grpSpPr>
              <a:xfrm>
                <a:off x="5434263" y="3853905"/>
                <a:ext cx="433044" cy="397477"/>
                <a:chOff x="1042044" y="2489534"/>
                <a:chExt cx="584512" cy="601704"/>
              </a:xfrm>
            </p:grpSpPr>
            <p:pic>
              <p:nvPicPr>
                <p:cNvPr id="60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008B2C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61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008B2C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51" name="Group 50"/>
              <p:cNvGrpSpPr/>
              <p:nvPr/>
            </p:nvGrpSpPr>
            <p:grpSpPr>
              <a:xfrm>
                <a:off x="5912967" y="3853905"/>
                <a:ext cx="433044" cy="397477"/>
                <a:chOff x="1042044" y="2489534"/>
                <a:chExt cx="584512" cy="601704"/>
              </a:xfrm>
            </p:grpSpPr>
            <p:pic>
              <p:nvPicPr>
                <p:cNvPr id="58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59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52" name="Group 51"/>
              <p:cNvGrpSpPr/>
              <p:nvPr/>
            </p:nvGrpSpPr>
            <p:grpSpPr>
              <a:xfrm>
                <a:off x="6391670" y="3853905"/>
                <a:ext cx="433044" cy="397477"/>
                <a:chOff x="1042044" y="2489534"/>
                <a:chExt cx="584512" cy="601704"/>
              </a:xfrm>
            </p:grpSpPr>
            <p:pic>
              <p:nvPicPr>
                <p:cNvPr id="56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008B2C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57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008B2C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53" name="Group 52"/>
              <p:cNvGrpSpPr/>
              <p:nvPr/>
            </p:nvGrpSpPr>
            <p:grpSpPr>
              <a:xfrm>
                <a:off x="6870373" y="3853905"/>
                <a:ext cx="433044" cy="397477"/>
                <a:chOff x="1042044" y="2489534"/>
                <a:chExt cx="584512" cy="601704"/>
              </a:xfrm>
            </p:grpSpPr>
            <p:pic>
              <p:nvPicPr>
                <p:cNvPr id="54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55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sp>
          <p:nvSpPr>
            <p:cNvPr id="14" name="Round Diagonal Corner Rectangle 13"/>
            <p:cNvSpPr/>
            <p:nvPr/>
          </p:nvSpPr>
          <p:spPr>
            <a:xfrm>
              <a:off x="1903412" y="2438400"/>
              <a:ext cx="2041945" cy="1905000"/>
            </a:xfrm>
            <a:prstGeom prst="round2DiagRect">
              <a:avLst>
                <a:gd name="adj1" fmla="val 0"/>
                <a:gd name="adj2" fmla="val 8146"/>
              </a:avLst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700" b="1" dirty="0" smtClean="0">
                <a:solidFill>
                  <a:prstClr val="white"/>
                </a:solidFill>
                <a:sym typeface="Webdings"/>
              </a:endParaRPr>
            </a:p>
          </p:txBody>
        </p:sp>
        <p:pic>
          <p:nvPicPr>
            <p:cNvPr id="32" name="Picture 3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prstClr val="black"/>
                <a:srgbClr val="008B2C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984539" y="2547637"/>
              <a:ext cx="433044" cy="386119"/>
            </a:xfrm>
            <a:prstGeom prst="round2DiagRect">
              <a:avLst>
                <a:gd name="adj1" fmla="val 0"/>
                <a:gd name="adj2" fmla="val 11765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3" name="Picture 3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prstClr val="black"/>
                <a:srgbClr val="008B2C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2466754" y="2547637"/>
              <a:ext cx="433044" cy="386119"/>
            </a:xfrm>
            <a:prstGeom prst="round2DiagRect">
              <a:avLst>
                <a:gd name="adj1" fmla="val 0"/>
                <a:gd name="adj2" fmla="val 11765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4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2948970" y="2547637"/>
              <a:ext cx="433044" cy="386119"/>
            </a:xfrm>
            <a:prstGeom prst="round2DiagRect">
              <a:avLst>
                <a:gd name="adj1" fmla="val 0"/>
                <a:gd name="adj2" fmla="val 11765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5" name="Picture 3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prstClr val="black"/>
                <a:srgbClr val="C0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431185" y="2547637"/>
              <a:ext cx="433044" cy="386119"/>
            </a:xfrm>
            <a:prstGeom prst="round2DiagRect">
              <a:avLst>
                <a:gd name="adj1" fmla="val 0"/>
                <a:gd name="adj2" fmla="val 11765"/>
              </a:avLst>
            </a:prstGeom>
            <a:solidFill>
              <a:srgbClr val="C00000"/>
            </a:solidFill>
            <a:ln>
              <a:noFill/>
            </a:ln>
            <a:effectLst/>
            <a:extLst/>
          </p:spPr>
        </p:pic>
        <p:grpSp>
          <p:nvGrpSpPr>
            <p:cNvPr id="17" name="Group 16"/>
            <p:cNvGrpSpPr/>
            <p:nvPr/>
          </p:nvGrpSpPr>
          <p:grpSpPr>
            <a:xfrm>
              <a:off x="1984539" y="2981106"/>
              <a:ext cx="1879690" cy="386119"/>
              <a:chOff x="1576486" y="1934992"/>
              <a:chExt cx="1762214" cy="405980"/>
            </a:xfrm>
          </p:grpSpPr>
          <p:pic>
            <p:nvPicPr>
              <p:cNvPr id="28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576486" y="1934992"/>
                <a:ext cx="405980" cy="405980"/>
              </a:xfrm>
              <a:prstGeom prst="round2DiagRect">
                <a:avLst>
                  <a:gd name="adj1" fmla="val 0"/>
                  <a:gd name="adj2" fmla="val 11765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9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028564" y="1934992"/>
                <a:ext cx="405980" cy="405980"/>
              </a:xfrm>
              <a:prstGeom prst="round2DiagRect">
                <a:avLst>
                  <a:gd name="adj1" fmla="val 0"/>
                  <a:gd name="adj2" fmla="val 11765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30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480642" y="1934992"/>
                <a:ext cx="405980" cy="405980"/>
              </a:xfrm>
              <a:prstGeom prst="round2DiagRect">
                <a:avLst>
                  <a:gd name="adj1" fmla="val 0"/>
                  <a:gd name="adj2" fmla="val 11765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31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932720" y="1934992"/>
                <a:ext cx="405980" cy="405980"/>
              </a:xfrm>
              <a:prstGeom prst="round2DiagRect">
                <a:avLst>
                  <a:gd name="adj1" fmla="val 0"/>
                  <a:gd name="adj2" fmla="val 11765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8" name="Group 17"/>
            <p:cNvGrpSpPr/>
            <p:nvPr/>
          </p:nvGrpSpPr>
          <p:grpSpPr>
            <a:xfrm>
              <a:off x="1984539" y="3414576"/>
              <a:ext cx="1879690" cy="386119"/>
              <a:chOff x="1576486" y="1934992"/>
              <a:chExt cx="1762214" cy="405980"/>
            </a:xfrm>
          </p:grpSpPr>
          <p:pic>
            <p:nvPicPr>
              <p:cNvPr id="24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576486" y="1934992"/>
                <a:ext cx="405980" cy="405980"/>
              </a:xfrm>
              <a:prstGeom prst="round2DiagRect">
                <a:avLst>
                  <a:gd name="adj1" fmla="val 0"/>
                  <a:gd name="adj2" fmla="val 11765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5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028564" y="1934992"/>
                <a:ext cx="405980" cy="405980"/>
              </a:xfrm>
              <a:prstGeom prst="round2DiagRect">
                <a:avLst>
                  <a:gd name="adj1" fmla="val 0"/>
                  <a:gd name="adj2" fmla="val 11765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6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480642" y="1934992"/>
                <a:ext cx="405980" cy="405980"/>
              </a:xfrm>
              <a:prstGeom prst="round2DiagRect">
                <a:avLst>
                  <a:gd name="adj1" fmla="val 0"/>
                  <a:gd name="adj2" fmla="val 11765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7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932720" y="1934992"/>
                <a:ext cx="405980" cy="405980"/>
              </a:xfrm>
              <a:prstGeom prst="round2DiagRect">
                <a:avLst>
                  <a:gd name="adj1" fmla="val 0"/>
                  <a:gd name="adj2" fmla="val 11765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pic>
          <p:nvPicPr>
            <p:cNvPr id="20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984539" y="3848044"/>
              <a:ext cx="433044" cy="386119"/>
            </a:xfrm>
            <a:prstGeom prst="round2DiagRect">
              <a:avLst>
                <a:gd name="adj1" fmla="val 0"/>
                <a:gd name="adj2" fmla="val 11765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1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2466754" y="3848044"/>
              <a:ext cx="433044" cy="386119"/>
            </a:xfrm>
            <a:prstGeom prst="round2DiagRect">
              <a:avLst>
                <a:gd name="adj1" fmla="val 0"/>
                <a:gd name="adj2" fmla="val 11765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2" name="Picture 3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prstClr val="black"/>
                <a:srgbClr val="C0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2948970" y="3848044"/>
              <a:ext cx="433044" cy="386119"/>
            </a:xfrm>
            <a:prstGeom prst="round2DiagRect">
              <a:avLst>
                <a:gd name="adj1" fmla="val 0"/>
                <a:gd name="adj2" fmla="val 11765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431185" y="3848044"/>
              <a:ext cx="433044" cy="386119"/>
            </a:xfrm>
            <a:prstGeom prst="round2DiagRect">
              <a:avLst>
                <a:gd name="adj1" fmla="val 0"/>
                <a:gd name="adj2" fmla="val 11765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10" name="Group 9"/>
            <p:cNvGrpSpPr/>
            <p:nvPr/>
          </p:nvGrpSpPr>
          <p:grpSpPr>
            <a:xfrm>
              <a:off x="4226496" y="3009582"/>
              <a:ext cx="817457" cy="762633"/>
              <a:chOff x="3984638" y="1583425"/>
              <a:chExt cx="1134646" cy="1047122"/>
            </a:xfrm>
          </p:grpSpPr>
          <p:sp>
            <p:nvSpPr>
              <p:cNvPr id="12" name="Round Diagonal Corner Rectangle 11"/>
              <p:cNvSpPr/>
              <p:nvPr/>
            </p:nvSpPr>
            <p:spPr>
              <a:xfrm>
                <a:off x="3984638" y="1583425"/>
                <a:ext cx="1134646" cy="1047122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sp>
            <p:nvSpPr>
              <p:cNvPr id="13" name="Freeform 12"/>
              <p:cNvSpPr/>
              <p:nvPr/>
            </p:nvSpPr>
            <p:spPr>
              <a:xfrm>
                <a:off x="4108954" y="1693740"/>
                <a:ext cx="875235" cy="826492"/>
              </a:xfrm>
              <a:custGeom>
                <a:avLst/>
                <a:gdLst>
                  <a:gd name="connsiteX0" fmla="*/ 437712 w 875235"/>
                  <a:gd name="connsiteY0" fmla="*/ 753602 h 826492"/>
                  <a:gd name="connsiteX1" fmla="*/ 414852 w 875235"/>
                  <a:gd name="connsiteY1" fmla="*/ 776462 h 826492"/>
                  <a:gd name="connsiteX2" fmla="*/ 437712 w 875235"/>
                  <a:gd name="connsiteY2" fmla="*/ 799322 h 826492"/>
                  <a:gd name="connsiteX3" fmla="*/ 460572 w 875235"/>
                  <a:gd name="connsiteY3" fmla="*/ 776462 h 826492"/>
                  <a:gd name="connsiteX4" fmla="*/ 437712 w 875235"/>
                  <a:gd name="connsiteY4" fmla="*/ 753602 h 826492"/>
                  <a:gd name="connsiteX5" fmla="*/ 488486 w 875235"/>
                  <a:gd name="connsiteY5" fmla="*/ 726187 h 826492"/>
                  <a:gd name="connsiteX6" fmla="*/ 465626 w 875235"/>
                  <a:gd name="connsiteY6" fmla="*/ 749047 h 826492"/>
                  <a:gd name="connsiteX7" fmla="*/ 488486 w 875235"/>
                  <a:gd name="connsiteY7" fmla="*/ 771907 h 826492"/>
                  <a:gd name="connsiteX8" fmla="*/ 511346 w 875235"/>
                  <a:gd name="connsiteY8" fmla="*/ 749047 h 826492"/>
                  <a:gd name="connsiteX9" fmla="*/ 488486 w 875235"/>
                  <a:gd name="connsiteY9" fmla="*/ 726187 h 826492"/>
                  <a:gd name="connsiteX10" fmla="*/ 386938 w 875235"/>
                  <a:gd name="connsiteY10" fmla="*/ 726187 h 826492"/>
                  <a:gd name="connsiteX11" fmla="*/ 364078 w 875235"/>
                  <a:gd name="connsiteY11" fmla="*/ 749047 h 826492"/>
                  <a:gd name="connsiteX12" fmla="*/ 386938 w 875235"/>
                  <a:gd name="connsiteY12" fmla="*/ 771907 h 826492"/>
                  <a:gd name="connsiteX13" fmla="*/ 409798 w 875235"/>
                  <a:gd name="connsiteY13" fmla="*/ 749047 h 826492"/>
                  <a:gd name="connsiteX14" fmla="*/ 386938 w 875235"/>
                  <a:gd name="connsiteY14" fmla="*/ 726187 h 826492"/>
                  <a:gd name="connsiteX15" fmla="*/ 437712 w 875235"/>
                  <a:gd name="connsiteY15" fmla="*/ 696400 h 826492"/>
                  <a:gd name="connsiteX16" fmla="*/ 414852 w 875235"/>
                  <a:gd name="connsiteY16" fmla="*/ 719260 h 826492"/>
                  <a:gd name="connsiteX17" fmla="*/ 437712 w 875235"/>
                  <a:gd name="connsiteY17" fmla="*/ 742120 h 826492"/>
                  <a:gd name="connsiteX18" fmla="*/ 460572 w 875235"/>
                  <a:gd name="connsiteY18" fmla="*/ 719260 h 826492"/>
                  <a:gd name="connsiteX19" fmla="*/ 437712 w 875235"/>
                  <a:gd name="connsiteY19" fmla="*/ 696400 h 826492"/>
                  <a:gd name="connsiteX20" fmla="*/ 488486 w 875235"/>
                  <a:gd name="connsiteY20" fmla="*/ 665784 h 826492"/>
                  <a:gd name="connsiteX21" fmla="*/ 465626 w 875235"/>
                  <a:gd name="connsiteY21" fmla="*/ 688644 h 826492"/>
                  <a:gd name="connsiteX22" fmla="*/ 488486 w 875235"/>
                  <a:gd name="connsiteY22" fmla="*/ 711504 h 826492"/>
                  <a:gd name="connsiteX23" fmla="*/ 511346 w 875235"/>
                  <a:gd name="connsiteY23" fmla="*/ 688644 h 826492"/>
                  <a:gd name="connsiteX24" fmla="*/ 488486 w 875235"/>
                  <a:gd name="connsiteY24" fmla="*/ 665784 h 826492"/>
                  <a:gd name="connsiteX25" fmla="*/ 386938 w 875235"/>
                  <a:gd name="connsiteY25" fmla="*/ 665784 h 826492"/>
                  <a:gd name="connsiteX26" fmla="*/ 364078 w 875235"/>
                  <a:gd name="connsiteY26" fmla="*/ 688644 h 826492"/>
                  <a:gd name="connsiteX27" fmla="*/ 386938 w 875235"/>
                  <a:gd name="connsiteY27" fmla="*/ 711504 h 826492"/>
                  <a:gd name="connsiteX28" fmla="*/ 409798 w 875235"/>
                  <a:gd name="connsiteY28" fmla="*/ 688644 h 826492"/>
                  <a:gd name="connsiteX29" fmla="*/ 386938 w 875235"/>
                  <a:gd name="connsiteY29" fmla="*/ 665784 h 826492"/>
                  <a:gd name="connsiteX30" fmla="*/ 437712 w 875235"/>
                  <a:gd name="connsiteY30" fmla="*/ 639199 h 826492"/>
                  <a:gd name="connsiteX31" fmla="*/ 414852 w 875235"/>
                  <a:gd name="connsiteY31" fmla="*/ 662059 h 826492"/>
                  <a:gd name="connsiteX32" fmla="*/ 437712 w 875235"/>
                  <a:gd name="connsiteY32" fmla="*/ 684919 h 826492"/>
                  <a:gd name="connsiteX33" fmla="*/ 460572 w 875235"/>
                  <a:gd name="connsiteY33" fmla="*/ 662059 h 826492"/>
                  <a:gd name="connsiteX34" fmla="*/ 437712 w 875235"/>
                  <a:gd name="connsiteY34" fmla="*/ 639199 h 826492"/>
                  <a:gd name="connsiteX35" fmla="*/ 765165 w 875235"/>
                  <a:gd name="connsiteY35" fmla="*/ 449417 h 826492"/>
                  <a:gd name="connsiteX36" fmla="*/ 742305 w 875235"/>
                  <a:gd name="connsiteY36" fmla="*/ 472277 h 826492"/>
                  <a:gd name="connsiteX37" fmla="*/ 765165 w 875235"/>
                  <a:gd name="connsiteY37" fmla="*/ 495137 h 826492"/>
                  <a:gd name="connsiteX38" fmla="*/ 788025 w 875235"/>
                  <a:gd name="connsiteY38" fmla="*/ 472277 h 826492"/>
                  <a:gd name="connsiteX39" fmla="*/ 765165 w 875235"/>
                  <a:gd name="connsiteY39" fmla="*/ 449417 h 826492"/>
                  <a:gd name="connsiteX40" fmla="*/ 437712 w 875235"/>
                  <a:gd name="connsiteY40" fmla="*/ 449417 h 826492"/>
                  <a:gd name="connsiteX41" fmla="*/ 414852 w 875235"/>
                  <a:gd name="connsiteY41" fmla="*/ 472277 h 826492"/>
                  <a:gd name="connsiteX42" fmla="*/ 437712 w 875235"/>
                  <a:gd name="connsiteY42" fmla="*/ 495137 h 826492"/>
                  <a:gd name="connsiteX43" fmla="*/ 460572 w 875235"/>
                  <a:gd name="connsiteY43" fmla="*/ 472277 h 826492"/>
                  <a:gd name="connsiteX44" fmla="*/ 437712 w 875235"/>
                  <a:gd name="connsiteY44" fmla="*/ 449417 h 826492"/>
                  <a:gd name="connsiteX45" fmla="*/ 104693 w 875235"/>
                  <a:gd name="connsiteY45" fmla="*/ 449417 h 826492"/>
                  <a:gd name="connsiteX46" fmla="*/ 81833 w 875235"/>
                  <a:gd name="connsiteY46" fmla="*/ 472277 h 826492"/>
                  <a:gd name="connsiteX47" fmla="*/ 104693 w 875235"/>
                  <a:gd name="connsiteY47" fmla="*/ 495137 h 826492"/>
                  <a:gd name="connsiteX48" fmla="*/ 127553 w 875235"/>
                  <a:gd name="connsiteY48" fmla="*/ 472277 h 826492"/>
                  <a:gd name="connsiteX49" fmla="*/ 104693 w 875235"/>
                  <a:gd name="connsiteY49" fmla="*/ 449417 h 826492"/>
                  <a:gd name="connsiteX50" fmla="*/ 815266 w 875235"/>
                  <a:gd name="connsiteY50" fmla="*/ 425491 h 826492"/>
                  <a:gd name="connsiteX51" fmla="*/ 792406 w 875235"/>
                  <a:gd name="connsiteY51" fmla="*/ 448351 h 826492"/>
                  <a:gd name="connsiteX52" fmla="*/ 815266 w 875235"/>
                  <a:gd name="connsiteY52" fmla="*/ 471211 h 826492"/>
                  <a:gd name="connsiteX53" fmla="*/ 838126 w 875235"/>
                  <a:gd name="connsiteY53" fmla="*/ 448351 h 826492"/>
                  <a:gd name="connsiteX54" fmla="*/ 815266 w 875235"/>
                  <a:gd name="connsiteY54" fmla="*/ 425491 h 826492"/>
                  <a:gd name="connsiteX55" fmla="*/ 713718 w 875235"/>
                  <a:gd name="connsiteY55" fmla="*/ 425491 h 826492"/>
                  <a:gd name="connsiteX56" fmla="*/ 690858 w 875235"/>
                  <a:gd name="connsiteY56" fmla="*/ 448351 h 826492"/>
                  <a:gd name="connsiteX57" fmla="*/ 713718 w 875235"/>
                  <a:gd name="connsiteY57" fmla="*/ 471211 h 826492"/>
                  <a:gd name="connsiteX58" fmla="*/ 736578 w 875235"/>
                  <a:gd name="connsiteY58" fmla="*/ 448351 h 826492"/>
                  <a:gd name="connsiteX59" fmla="*/ 713718 w 875235"/>
                  <a:gd name="connsiteY59" fmla="*/ 425491 h 826492"/>
                  <a:gd name="connsiteX60" fmla="*/ 488486 w 875235"/>
                  <a:gd name="connsiteY60" fmla="*/ 425491 h 826492"/>
                  <a:gd name="connsiteX61" fmla="*/ 465626 w 875235"/>
                  <a:gd name="connsiteY61" fmla="*/ 448351 h 826492"/>
                  <a:gd name="connsiteX62" fmla="*/ 488486 w 875235"/>
                  <a:gd name="connsiteY62" fmla="*/ 471211 h 826492"/>
                  <a:gd name="connsiteX63" fmla="*/ 511346 w 875235"/>
                  <a:gd name="connsiteY63" fmla="*/ 448351 h 826492"/>
                  <a:gd name="connsiteX64" fmla="*/ 488486 w 875235"/>
                  <a:gd name="connsiteY64" fmla="*/ 425491 h 826492"/>
                  <a:gd name="connsiteX65" fmla="*/ 386938 w 875235"/>
                  <a:gd name="connsiteY65" fmla="*/ 425491 h 826492"/>
                  <a:gd name="connsiteX66" fmla="*/ 364078 w 875235"/>
                  <a:gd name="connsiteY66" fmla="*/ 448351 h 826492"/>
                  <a:gd name="connsiteX67" fmla="*/ 386938 w 875235"/>
                  <a:gd name="connsiteY67" fmla="*/ 471211 h 826492"/>
                  <a:gd name="connsiteX68" fmla="*/ 409798 w 875235"/>
                  <a:gd name="connsiteY68" fmla="*/ 448351 h 826492"/>
                  <a:gd name="connsiteX69" fmla="*/ 386938 w 875235"/>
                  <a:gd name="connsiteY69" fmla="*/ 425491 h 826492"/>
                  <a:gd name="connsiteX70" fmla="*/ 160771 w 875235"/>
                  <a:gd name="connsiteY70" fmla="*/ 425491 h 826492"/>
                  <a:gd name="connsiteX71" fmla="*/ 137911 w 875235"/>
                  <a:gd name="connsiteY71" fmla="*/ 448351 h 826492"/>
                  <a:gd name="connsiteX72" fmla="*/ 160771 w 875235"/>
                  <a:gd name="connsiteY72" fmla="*/ 471211 h 826492"/>
                  <a:gd name="connsiteX73" fmla="*/ 183631 w 875235"/>
                  <a:gd name="connsiteY73" fmla="*/ 448351 h 826492"/>
                  <a:gd name="connsiteX74" fmla="*/ 160771 w 875235"/>
                  <a:gd name="connsiteY74" fmla="*/ 425491 h 826492"/>
                  <a:gd name="connsiteX75" fmla="*/ 59223 w 875235"/>
                  <a:gd name="connsiteY75" fmla="*/ 425491 h 826492"/>
                  <a:gd name="connsiteX76" fmla="*/ 36363 w 875235"/>
                  <a:gd name="connsiteY76" fmla="*/ 448351 h 826492"/>
                  <a:gd name="connsiteX77" fmla="*/ 59223 w 875235"/>
                  <a:gd name="connsiteY77" fmla="*/ 471211 h 826492"/>
                  <a:gd name="connsiteX78" fmla="*/ 82083 w 875235"/>
                  <a:gd name="connsiteY78" fmla="*/ 448351 h 826492"/>
                  <a:gd name="connsiteX79" fmla="*/ 59223 w 875235"/>
                  <a:gd name="connsiteY79" fmla="*/ 425491 h 826492"/>
                  <a:gd name="connsiteX80" fmla="*/ 763819 w 875235"/>
                  <a:gd name="connsiteY80" fmla="*/ 393660 h 826492"/>
                  <a:gd name="connsiteX81" fmla="*/ 740959 w 875235"/>
                  <a:gd name="connsiteY81" fmla="*/ 416520 h 826492"/>
                  <a:gd name="connsiteX82" fmla="*/ 763819 w 875235"/>
                  <a:gd name="connsiteY82" fmla="*/ 439380 h 826492"/>
                  <a:gd name="connsiteX83" fmla="*/ 786679 w 875235"/>
                  <a:gd name="connsiteY83" fmla="*/ 416520 h 826492"/>
                  <a:gd name="connsiteX84" fmla="*/ 763819 w 875235"/>
                  <a:gd name="connsiteY84" fmla="*/ 393660 h 826492"/>
                  <a:gd name="connsiteX85" fmla="*/ 437712 w 875235"/>
                  <a:gd name="connsiteY85" fmla="*/ 393660 h 826492"/>
                  <a:gd name="connsiteX86" fmla="*/ 414852 w 875235"/>
                  <a:gd name="connsiteY86" fmla="*/ 416520 h 826492"/>
                  <a:gd name="connsiteX87" fmla="*/ 437712 w 875235"/>
                  <a:gd name="connsiteY87" fmla="*/ 439380 h 826492"/>
                  <a:gd name="connsiteX88" fmla="*/ 460572 w 875235"/>
                  <a:gd name="connsiteY88" fmla="*/ 416520 h 826492"/>
                  <a:gd name="connsiteX89" fmla="*/ 437712 w 875235"/>
                  <a:gd name="connsiteY89" fmla="*/ 393660 h 826492"/>
                  <a:gd name="connsiteX90" fmla="*/ 104266 w 875235"/>
                  <a:gd name="connsiteY90" fmla="*/ 393660 h 826492"/>
                  <a:gd name="connsiteX91" fmla="*/ 81406 w 875235"/>
                  <a:gd name="connsiteY91" fmla="*/ 416520 h 826492"/>
                  <a:gd name="connsiteX92" fmla="*/ 104266 w 875235"/>
                  <a:gd name="connsiteY92" fmla="*/ 439380 h 826492"/>
                  <a:gd name="connsiteX93" fmla="*/ 127126 w 875235"/>
                  <a:gd name="connsiteY93" fmla="*/ 416520 h 826492"/>
                  <a:gd name="connsiteX94" fmla="*/ 104266 w 875235"/>
                  <a:gd name="connsiteY94" fmla="*/ 393660 h 826492"/>
                  <a:gd name="connsiteX95" fmla="*/ 815266 w 875235"/>
                  <a:gd name="connsiteY95" fmla="*/ 365088 h 826492"/>
                  <a:gd name="connsiteX96" fmla="*/ 792406 w 875235"/>
                  <a:gd name="connsiteY96" fmla="*/ 387948 h 826492"/>
                  <a:gd name="connsiteX97" fmla="*/ 815266 w 875235"/>
                  <a:gd name="connsiteY97" fmla="*/ 410808 h 826492"/>
                  <a:gd name="connsiteX98" fmla="*/ 838126 w 875235"/>
                  <a:gd name="connsiteY98" fmla="*/ 387948 h 826492"/>
                  <a:gd name="connsiteX99" fmla="*/ 815266 w 875235"/>
                  <a:gd name="connsiteY99" fmla="*/ 365088 h 826492"/>
                  <a:gd name="connsiteX100" fmla="*/ 713718 w 875235"/>
                  <a:gd name="connsiteY100" fmla="*/ 365088 h 826492"/>
                  <a:gd name="connsiteX101" fmla="*/ 690858 w 875235"/>
                  <a:gd name="connsiteY101" fmla="*/ 387948 h 826492"/>
                  <a:gd name="connsiteX102" fmla="*/ 713718 w 875235"/>
                  <a:gd name="connsiteY102" fmla="*/ 410808 h 826492"/>
                  <a:gd name="connsiteX103" fmla="*/ 736578 w 875235"/>
                  <a:gd name="connsiteY103" fmla="*/ 387948 h 826492"/>
                  <a:gd name="connsiteX104" fmla="*/ 713718 w 875235"/>
                  <a:gd name="connsiteY104" fmla="*/ 365088 h 826492"/>
                  <a:gd name="connsiteX105" fmla="*/ 488486 w 875235"/>
                  <a:gd name="connsiteY105" fmla="*/ 365088 h 826492"/>
                  <a:gd name="connsiteX106" fmla="*/ 465626 w 875235"/>
                  <a:gd name="connsiteY106" fmla="*/ 387948 h 826492"/>
                  <a:gd name="connsiteX107" fmla="*/ 488486 w 875235"/>
                  <a:gd name="connsiteY107" fmla="*/ 410808 h 826492"/>
                  <a:gd name="connsiteX108" fmla="*/ 511346 w 875235"/>
                  <a:gd name="connsiteY108" fmla="*/ 387948 h 826492"/>
                  <a:gd name="connsiteX109" fmla="*/ 488486 w 875235"/>
                  <a:gd name="connsiteY109" fmla="*/ 365088 h 826492"/>
                  <a:gd name="connsiteX110" fmla="*/ 386938 w 875235"/>
                  <a:gd name="connsiteY110" fmla="*/ 365088 h 826492"/>
                  <a:gd name="connsiteX111" fmla="*/ 364078 w 875235"/>
                  <a:gd name="connsiteY111" fmla="*/ 387948 h 826492"/>
                  <a:gd name="connsiteX112" fmla="*/ 386938 w 875235"/>
                  <a:gd name="connsiteY112" fmla="*/ 410808 h 826492"/>
                  <a:gd name="connsiteX113" fmla="*/ 409798 w 875235"/>
                  <a:gd name="connsiteY113" fmla="*/ 387948 h 826492"/>
                  <a:gd name="connsiteX114" fmla="*/ 386938 w 875235"/>
                  <a:gd name="connsiteY114" fmla="*/ 365088 h 826492"/>
                  <a:gd name="connsiteX115" fmla="*/ 160771 w 875235"/>
                  <a:gd name="connsiteY115" fmla="*/ 365088 h 826492"/>
                  <a:gd name="connsiteX116" fmla="*/ 137911 w 875235"/>
                  <a:gd name="connsiteY116" fmla="*/ 387948 h 826492"/>
                  <a:gd name="connsiteX117" fmla="*/ 160771 w 875235"/>
                  <a:gd name="connsiteY117" fmla="*/ 410808 h 826492"/>
                  <a:gd name="connsiteX118" fmla="*/ 183631 w 875235"/>
                  <a:gd name="connsiteY118" fmla="*/ 387948 h 826492"/>
                  <a:gd name="connsiteX119" fmla="*/ 160771 w 875235"/>
                  <a:gd name="connsiteY119" fmla="*/ 365088 h 826492"/>
                  <a:gd name="connsiteX120" fmla="*/ 59223 w 875235"/>
                  <a:gd name="connsiteY120" fmla="*/ 365088 h 826492"/>
                  <a:gd name="connsiteX121" fmla="*/ 36363 w 875235"/>
                  <a:gd name="connsiteY121" fmla="*/ 387948 h 826492"/>
                  <a:gd name="connsiteX122" fmla="*/ 59223 w 875235"/>
                  <a:gd name="connsiteY122" fmla="*/ 410808 h 826492"/>
                  <a:gd name="connsiteX123" fmla="*/ 82083 w 875235"/>
                  <a:gd name="connsiteY123" fmla="*/ 387948 h 826492"/>
                  <a:gd name="connsiteX124" fmla="*/ 59223 w 875235"/>
                  <a:gd name="connsiteY124" fmla="*/ 365088 h 826492"/>
                  <a:gd name="connsiteX125" fmla="*/ 765165 w 875235"/>
                  <a:gd name="connsiteY125" fmla="*/ 335014 h 826492"/>
                  <a:gd name="connsiteX126" fmla="*/ 742305 w 875235"/>
                  <a:gd name="connsiteY126" fmla="*/ 357874 h 826492"/>
                  <a:gd name="connsiteX127" fmla="*/ 765165 w 875235"/>
                  <a:gd name="connsiteY127" fmla="*/ 380734 h 826492"/>
                  <a:gd name="connsiteX128" fmla="*/ 788025 w 875235"/>
                  <a:gd name="connsiteY128" fmla="*/ 357874 h 826492"/>
                  <a:gd name="connsiteX129" fmla="*/ 765165 w 875235"/>
                  <a:gd name="connsiteY129" fmla="*/ 335014 h 826492"/>
                  <a:gd name="connsiteX130" fmla="*/ 437712 w 875235"/>
                  <a:gd name="connsiteY130" fmla="*/ 335014 h 826492"/>
                  <a:gd name="connsiteX131" fmla="*/ 414852 w 875235"/>
                  <a:gd name="connsiteY131" fmla="*/ 357874 h 826492"/>
                  <a:gd name="connsiteX132" fmla="*/ 437712 w 875235"/>
                  <a:gd name="connsiteY132" fmla="*/ 380734 h 826492"/>
                  <a:gd name="connsiteX133" fmla="*/ 460572 w 875235"/>
                  <a:gd name="connsiteY133" fmla="*/ 357874 h 826492"/>
                  <a:gd name="connsiteX134" fmla="*/ 437712 w 875235"/>
                  <a:gd name="connsiteY134" fmla="*/ 335014 h 826492"/>
                  <a:gd name="connsiteX135" fmla="*/ 104693 w 875235"/>
                  <a:gd name="connsiteY135" fmla="*/ 335014 h 826492"/>
                  <a:gd name="connsiteX136" fmla="*/ 81833 w 875235"/>
                  <a:gd name="connsiteY136" fmla="*/ 357874 h 826492"/>
                  <a:gd name="connsiteX137" fmla="*/ 104693 w 875235"/>
                  <a:gd name="connsiteY137" fmla="*/ 380734 h 826492"/>
                  <a:gd name="connsiteX138" fmla="*/ 127553 w 875235"/>
                  <a:gd name="connsiteY138" fmla="*/ 357874 h 826492"/>
                  <a:gd name="connsiteX139" fmla="*/ 104693 w 875235"/>
                  <a:gd name="connsiteY139" fmla="*/ 335014 h 826492"/>
                  <a:gd name="connsiteX140" fmla="*/ 437712 w 875235"/>
                  <a:gd name="connsiteY140" fmla="*/ 138633 h 826492"/>
                  <a:gd name="connsiteX141" fmla="*/ 414852 w 875235"/>
                  <a:gd name="connsiteY141" fmla="*/ 161493 h 826492"/>
                  <a:gd name="connsiteX142" fmla="*/ 437712 w 875235"/>
                  <a:gd name="connsiteY142" fmla="*/ 184353 h 826492"/>
                  <a:gd name="connsiteX143" fmla="*/ 460572 w 875235"/>
                  <a:gd name="connsiteY143" fmla="*/ 161493 h 826492"/>
                  <a:gd name="connsiteX144" fmla="*/ 437712 w 875235"/>
                  <a:gd name="connsiteY144" fmla="*/ 138633 h 826492"/>
                  <a:gd name="connsiteX145" fmla="*/ 488486 w 875235"/>
                  <a:gd name="connsiteY145" fmla="*/ 113932 h 826492"/>
                  <a:gd name="connsiteX146" fmla="*/ 465626 w 875235"/>
                  <a:gd name="connsiteY146" fmla="*/ 136792 h 826492"/>
                  <a:gd name="connsiteX147" fmla="*/ 488486 w 875235"/>
                  <a:gd name="connsiteY147" fmla="*/ 159652 h 826492"/>
                  <a:gd name="connsiteX148" fmla="*/ 511346 w 875235"/>
                  <a:gd name="connsiteY148" fmla="*/ 136792 h 826492"/>
                  <a:gd name="connsiteX149" fmla="*/ 488486 w 875235"/>
                  <a:gd name="connsiteY149" fmla="*/ 113932 h 826492"/>
                  <a:gd name="connsiteX150" fmla="*/ 386938 w 875235"/>
                  <a:gd name="connsiteY150" fmla="*/ 113932 h 826492"/>
                  <a:gd name="connsiteX151" fmla="*/ 364078 w 875235"/>
                  <a:gd name="connsiteY151" fmla="*/ 136792 h 826492"/>
                  <a:gd name="connsiteX152" fmla="*/ 386938 w 875235"/>
                  <a:gd name="connsiteY152" fmla="*/ 159652 h 826492"/>
                  <a:gd name="connsiteX153" fmla="*/ 409798 w 875235"/>
                  <a:gd name="connsiteY153" fmla="*/ 136792 h 826492"/>
                  <a:gd name="connsiteX154" fmla="*/ 386938 w 875235"/>
                  <a:gd name="connsiteY154" fmla="*/ 113932 h 826492"/>
                  <a:gd name="connsiteX155" fmla="*/ 437712 w 875235"/>
                  <a:gd name="connsiteY155" fmla="*/ 81407 h 826492"/>
                  <a:gd name="connsiteX156" fmla="*/ 414852 w 875235"/>
                  <a:gd name="connsiteY156" fmla="*/ 104267 h 826492"/>
                  <a:gd name="connsiteX157" fmla="*/ 437712 w 875235"/>
                  <a:gd name="connsiteY157" fmla="*/ 127127 h 826492"/>
                  <a:gd name="connsiteX158" fmla="*/ 460572 w 875235"/>
                  <a:gd name="connsiteY158" fmla="*/ 104267 h 826492"/>
                  <a:gd name="connsiteX159" fmla="*/ 437712 w 875235"/>
                  <a:gd name="connsiteY159" fmla="*/ 81407 h 826492"/>
                  <a:gd name="connsiteX160" fmla="*/ 488486 w 875235"/>
                  <a:gd name="connsiteY160" fmla="*/ 53529 h 826492"/>
                  <a:gd name="connsiteX161" fmla="*/ 465626 w 875235"/>
                  <a:gd name="connsiteY161" fmla="*/ 76389 h 826492"/>
                  <a:gd name="connsiteX162" fmla="*/ 488486 w 875235"/>
                  <a:gd name="connsiteY162" fmla="*/ 99249 h 826492"/>
                  <a:gd name="connsiteX163" fmla="*/ 511346 w 875235"/>
                  <a:gd name="connsiteY163" fmla="*/ 76389 h 826492"/>
                  <a:gd name="connsiteX164" fmla="*/ 488486 w 875235"/>
                  <a:gd name="connsiteY164" fmla="*/ 53529 h 826492"/>
                  <a:gd name="connsiteX165" fmla="*/ 386938 w 875235"/>
                  <a:gd name="connsiteY165" fmla="*/ 53529 h 826492"/>
                  <a:gd name="connsiteX166" fmla="*/ 364078 w 875235"/>
                  <a:gd name="connsiteY166" fmla="*/ 76389 h 826492"/>
                  <a:gd name="connsiteX167" fmla="*/ 386938 w 875235"/>
                  <a:gd name="connsiteY167" fmla="*/ 99249 h 826492"/>
                  <a:gd name="connsiteX168" fmla="*/ 409798 w 875235"/>
                  <a:gd name="connsiteY168" fmla="*/ 76389 h 826492"/>
                  <a:gd name="connsiteX169" fmla="*/ 386938 w 875235"/>
                  <a:gd name="connsiteY169" fmla="*/ 53529 h 826492"/>
                  <a:gd name="connsiteX170" fmla="*/ 437712 w 875235"/>
                  <a:gd name="connsiteY170" fmla="*/ 24230 h 826492"/>
                  <a:gd name="connsiteX171" fmla="*/ 414852 w 875235"/>
                  <a:gd name="connsiteY171" fmla="*/ 47090 h 826492"/>
                  <a:gd name="connsiteX172" fmla="*/ 437712 w 875235"/>
                  <a:gd name="connsiteY172" fmla="*/ 69950 h 826492"/>
                  <a:gd name="connsiteX173" fmla="*/ 460572 w 875235"/>
                  <a:gd name="connsiteY173" fmla="*/ 47090 h 826492"/>
                  <a:gd name="connsiteX174" fmla="*/ 437712 w 875235"/>
                  <a:gd name="connsiteY174" fmla="*/ 24230 h 826492"/>
                  <a:gd name="connsiteX175" fmla="*/ 437617 w 875235"/>
                  <a:gd name="connsiteY175" fmla="*/ 0 h 826492"/>
                  <a:gd name="connsiteX176" fmla="*/ 545922 w 875235"/>
                  <a:gd name="connsiteY176" fmla="*/ 108305 h 826492"/>
                  <a:gd name="connsiteX177" fmla="*/ 479774 w 875235"/>
                  <a:gd name="connsiteY177" fmla="*/ 208099 h 826492"/>
                  <a:gd name="connsiteX178" fmla="*/ 477170 w 875235"/>
                  <a:gd name="connsiteY178" fmla="*/ 208624 h 826492"/>
                  <a:gd name="connsiteX179" fmla="*/ 477170 w 875235"/>
                  <a:gd name="connsiteY179" fmla="*/ 312925 h 826492"/>
                  <a:gd name="connsiteX180" fmla="*/ 479774 w 875235"/>
                  <a:gd name="connsiteY180" fmla="*/ 313451 h 826492"/>
                  <a:gd name="connsiteX181" fmla="*/ 537411 w 875235"/>
                  <a:gd name="connsiteY181" fmla="*/ 371087 h 826492"/>
                  <a:gd name="connsiteX182" fmla="*/ 537655 w 875235"/>
                  <a:gd name="connsiteY182" fmla="*/ 372297 h 826492"/>
                  <a:gd name="connsiteX183" fmla="*/ 666891 w 875235"/>
                  <a:gd name="connsiteY183" fmla="*/ 372297 h 826492"/>
                  <a:gd name="connsiteX184" fmla="*/ 667135 w 875235"/>
                  <a:gd name="connsiteY184" fmla="*/ 371088 h 826492"/>
                  <a:gd name="connsiteX185" fmla="*/ 766930 w 875235"/>
                  <a:gd name="connsiteY185" fmla="*/ 304940 h 826492"/>
                  <a:gd name="connsiteX186" fmla="*/ 875235 w 875235"/>
                  <a:gd name="connsiteY186" fmla="*/ 413246 h 826492"/>
                  <a:gd name="connsiteX187" fmla="*/ 766930 w 875235"/>
                  <a:gd name="connsiteY187" fmla="*/ 521551 h 826492"/>
                  <a:gd name="connsiteX188" fmla="*/ 667135 w 875235"/>
                  <a:gd name="connsiteY188" fmla="*/ 455403 h 826492"/>
                  <a:gd name="connsiteX189" fmla="*/ 666328 w 875235"/>
                  <a:gd name="connsiteY189" fmla="*/ 451404 h 826492"/>
                  <a:gd name="connsiteX190" fmla="*/ 538218 w 875235"/>
                  <a:gd name="connsiteY190" fmla="*/ 451404 h 826492"/>
                  <a:gd name="connsiteX191" fmla="*/ 537411 w 875235"/>
                  <a:gd name="connsiteY191" fmla="*/ 455402 h 826492"/>
                  <a:gd name="connsiteX192" fmla="*/ 479774 w 875235"/>
                  <a:gd name="connsiteY192" fmla="*/ 513039 h 826492"/>
                  <a:gd name="connsiteX193" fmla="*/ 477170 w 875235"/>
                  <a:gd name="connsiteY193" fmla="*/ 513565 h 826492"/>
                  <a:gd name="connsiteX194" fmla="*/ 477170 w 875235"/>
                  <a:gd name="connsiteY194" fmla="*/ 617868 h 826492"/>
                  <a:gd name="connsiteX195" fmla="*/ 479774 w 875235"/>
                  <a:gd name="connsiteY195" fmla="*/ 618393 h 826492"/>
                  <a:gd name="connsiteX196" fmla="*/ 545922 w 875235"/>
                  <a:gd name="connsiteY196" fmla="*/ 718187 h 826492"/>
                  <a:gd name="connsiteX197" fmla="*/ 437617 w 875235"/>
                  <a:gd name="connsiteY197" fmla="*/ 826492 h 826492"/>
                  <a:gd name="connsiteX198" fmla="*/ 329312 w 875235"/>
                  <a:gd name="connsiteY198" fmla="*/ 718187 h 826492"/>
                  <a:gd name="connsiteX199" fmla="*/ 395460 w 875235"/>
                  <a:gd name="connsiteY199" fmla="*/ 618393 h 826492"/>
                  <a:gd name="connsiteX200" fmla="*/ 398064 w 875235"/>
                  <a:gd name="connsiteY200" fmla="*/ 617868 h 826492"/>
                  <a:gd name="connsiteX201" fmla="*/ 398064 w 875235"/>
                  <a:gd name="connsiteY201" fmla="*/ 513565 h 826492"/>
                  <a:gd name="connsiteX202" fmla="*/ 395460 w 875235"/>
                  <a:gd name="connsiteY202" fmla="*/ 513039 h 826492"/>
                  <a:gd name="connsiteX203" fmla="*/ 337823 w 875235"/>
                  <a:gd name="connsiteY203" fmla="*/ 455402 h 826492"/>
                  <a:gd name="connsiteX204" fmla="*/ 337016 w 875235"/>
                  <a:gd name="connsiteY204" fmla="*/ 451404 h 826492"/>
                  <a:gd name="connsiteX205" fmla="*/ 208906 w 875235"/>
                  <a:gd name="connsiteY205" fmla="*/ 451404 h 826492"/>
                  <a:gd name="connsiteX206" fmla="*/ 208099 w 875235"/>
                  <a:gd name="connsiteY206" fmla="*/ 455403 h 826492"/>
                  <a:gd name="connsiteX207" fmla="*/ 108305 w 875235"/>
                  <a:gd name="connsiteY207" fmla="*/ 521551 h 826492"/>
                  <a:gd name="connsiteX208" fmla="*/ 0 w 875235"/>
                  <a:gd name="connsiteY208" fmla="*/ 413246 h 826492"/>
                  <a:gd name="connsiteX209" fmla="*/ 108305 w 875235"/>
                  <a:gd name="connsiteY209" fmla="*/ 304940 h 826492"/>
                  <a:gd name="connsiteX210" fmla="*/ 208099 w 875235"/>
                  <a:gd name="connsiteY210" fmla="*/ 371088 h 826492"/>
                  <a:gd name="connsiteX211" fmla="*/ 208343 w 875235"/>
                  <a:gd name="connsiteY211" fmla="*/ 372297 h 826492"/>
                  <a:gd name="connsiteX212" fmla="*/ 337579 w 875235"/>
                  <a:gd name="connsiteY212" fmla="*/ 372297 h 826492"/>
                  <a:gd name="connsiteX213" fmla="*/ 337823 w 875235"/>
                  <a:gd name="connsiteY213" fmla="*/ 371087 h 826492"/>
                  <a:gd name="connsiteX214" fmla="*/ 395460 w 875235"/>
                  <a:gd name="connsiteY214" fmla="*/ 313451 h 826492"/>
                  <a:gd name="connsiteX215" fmla="*/ 398064 w 875235"/>
                  <a:gd name="connsiteY215" fmla="*/ 312925 h 826492"/>
                  <a:gd name="connsiteX216" fmla="*/ 398064 w 875235"/>
                  <a:gd name="connsiteY216" fmla="*/ 208624 h 826492"/>
                  <a:gd name="connsiteX217" fmla="*/ 395460 w 875235"/>
                  <a:gd name="connsiteY217" fmla="*/ 208099 h 826492"/>
                  <a:gd name="connsiteX218" fmla="*/ 329312 w 875235"/>
                  <a:gd name="connsiteY218" fmla="*/ 108305 h 826492"/>
                  <a:gd name="connsiteX219" fmla="*/ 437617 w 875235"/>
                  <a:gd name="connsiteY219" fmla="*/ 0 h 826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875235" h="826492">
                    <a:moveTo>
                      <a:pt x="437712" y="753602"/>
                    </a:moveTo>
                    <a:cubicBezTo>
                      <a:pt x="425087" y="753602"/>
                      <a:pt x="414852" y="763837"/>
                      <a:pt x="414852" y="776462"/>
                    </a:cubicBezTo>
                    <a:cubicBezTo>
                      <a:pt x="414852" y="789087"/>
                      <a:pt x="425087" y="799322"/>
                      <a:pt x="437712" y="799322"/>
                    </a:cubicBezTo>
                    <a:cubicBezTo>
                      <a:pt x="450337" y="799322"/>
                      <a:pt x="460572" y="789087"/>
                      <a:pt x="460572" y="776462"/>
                    </a:cubicBezTo>
                    <a:cubicBezTo>
                      <a:pt x="460572" y="763837"/>
                      <a:pt x="450337" y="753602"/>
                      <a:pt x="437712" y="753602"/>
                    </a:cubicBezTo>
                    <a:close/>
                    <a:moveTo>
                      <a:pt x="488486" y="726187"/>
                    </a:moveTo>
                    <a:cubicBezTo>
                      <a:pt x="475861" y="726187"/>
                      <a:pt x="465626" y="736422"/>
                      <a:pt x="465626" y="749047"/>
                    </a:cubicBezTo>
                    <a:cubicBezTo>
                      <a:pt x="465626" y="761672"/>
                      <a:pt x="475861" y="771907"/>
                      <a:pt x="488486" y="771907"/>
                    </a:cubicBezTo>
                    <a:cubicBezTo>
                      <a:pt x="501111" y="771907"/>
                      <a:pt x="511346" y="761672"/>
                      <a:pt x="511346" y="749047"/>
                    </a:cubicBezTo>
                    <a:cubicBezTo>
                      <a:pt x="511346" y="736422"/>
                      <a:pt x="501111" y="726187"/>
                      <a:pt x="488486" y="726187"/>
                    </a:cubicBezTo>
                    <a:close/>
                    <a:moveTo>
                      <a:pt x="386938" y="726187"/>
                    </a:moveTo>
                    <a:cubicBezTo>
                      <a:pt x="374313" y="726187"/>
                      <a:pt x="364078" y="736422"/>
                      <a:pt x="364078" y="749047"/>
                    </a:cubicBezTo>
                    <a:cubicBezTo>
                      <a:pt x="364078" y="761672"/>
                      <a:pt x="374313" y="771907"/>
                      <a:pt x="386938" y="771907"/>
                    </a:cubicBezTo>
                    <a:cubicBezTo>
                      <a:pt x="399563" y="771907"/>
                      <a:pt x="409798" y="761672"/>
                      <a:pt x="409798" y="749047"/>
                    </a:cubicBezTo>
                    <a:cubicBezTo>
                      <a:pt x="409798" y="736422"/>
                      <a:pt x="399563" y="726187"/>
                      <a:pt x="386938" y="726187"/>
                    </a:cubicBezTo>
                    <a:close/>
                    <a:moveTo>
                      <a:pt x="437712" y="696400"/>
                    </a:moveTo>
                    <a:cubicBezTo>
                      <a:pt x="425087" y="696400"/>
                      <a:pt x="414852" y="706635"/>
                      <a:pt x="414852" y="719260"/>
                    </a:cubicBezTo>
                    <a:cubicBezTo>
                      <a:pt x="414852" y="731885"/>
                      <a:pt x="425087" y="742120"/>
                      <a:pt x="437712" y="742120"/>
                    </a:cubicBezTo>
                    <a:cubicBezTo>
                      <a:pt x="450337" y="742120"/>
                      <a:pt x="460572" y="731885"/>
                      <a:pt x="460572" y="719260"/>
                    </a:cubicBezTo>
                    <a:cubicBezTo>
                      <a:pt x="460572" y="706635"/>
                      <a:pt x="450337" y="696400"/>
                      <a:pt x="437712" y="696400"/>
                    </a:cubicBezTo>
                    <a:close/>
                    <a:moveTo>
                      <a:pt x="488486" y="665784"/>
                    </a:moveTo>
                    <a:cubicBezTo>
                      <a:pt x="475861" y="665784"/>
                      <a:pt x="465626" y="676019"/>
                      <a:pt x="465626" y="688644"/>
                    </a:cubicBezTo>
                    <a:cubicBezTo>
                      <a:pt x="465626" y="701269"/>
                      <a:pt x="475861" y="711504"/>
                      <a:pt x="488486" y="711504"/>
                    </a:cubicBezTo>
                    <a:cubicBezTo>
                      <a:pt x="501111" y="711504"/>
                      <a:pt x="511346" y="701269"/>
                      <a:pt x="511346" y="688644"/>
                    </a:cubicBezTo>
                    <a:cubicBezTo>
                      <a:pt x="511346" y="676019"/>
                      <a:pt x="501111" y="665784"/>
                      <a:pt x="488486" y="665784"/>
                    </a:cubicBezTo>
                    <a:close/>
                    <a:moveTo>
                      <a:pt x="386938" y="665784"/>
                    </a:moveTo>
                    <a:cubicBezTo>
                      <a:pt x="374313" y="665784"/>
                      <a:pt x="364078" y="676019"/>
                      <a:pt x="364078" y="688644"/>
                    </a:cubicBezTo>
                    <a:cubicBezTo>
                      <a:pt x="364078" y="701269"/>
                      <a:pt x="374313" y="711504"/>
                      <a:pt x="386938" y="711504"/>
                    </a:cubicBezTo>
                    <a:cubicBezTo>
                      <a:pt x="399563" y="711504"/>
                      <a:pt x="409798" y="701269"/>
                      <a:pt x="409798" y="688644"/>
                    </a:cubicBezTo>
                    <a:cubicBezTo>
                      <a:pt x="409798" y="676019"/>
                      <a:pt x="399563" y="665784"/>
                      <a:pt x="386938" y="665784"/>
                    </a:cubicBezTo>
                    <a:close/>
                    <a:moveTo>
                      <a:pt x="437712" y="639199"/>
                    </a:moveTo>
                    <a:cubicBezTo>
                      <a:pt x="425087" y="639199"/>
                      <a:pt x="414852" y="649434"/>
                      <a:pt x="414852" y="662059"/>
                    </a:cubicBezTo>
                    <a:cubicBezTo>
                      <a:pt x="414852" y="674684"/>
                      <a:pt x="425087" y="684919"/>
                      <a:pt x="437712" y="684919"/>
                    </a:cubicBezTo>
                    <a:cubicBezTo>
                      <a:pt x="450337" y="684919"/>
                      <a:pt x="460572" y="674684"/>
                      <a:pt x="460572" y="662059"/>
                    </a:cubicBezTo>
                    <a:cubicBezTo>
                      <a:pt x="460572" y="649434"/>
                      <a:pt x="450337" y="639199"/>
                      <a:pt x="437712" y="639199"/>
                    </a:cubicBezTo>
                    <a:close/>
                    <a:moveTo>
                      <a:pt x="765165" y="449417"/>
                    </a:moveTo>
                    <a:cubicBezTo>
                      <a:pt x="752540" y="449417"/>
                      <a:pt x="742305" y="459652"/>
                      <a:pt x="742305" y="472277"/>
                    </a:cubicBezTo>
                    <a:cubicBezTo>
                      <a:pt x="742305" y="484902"/>
                      <a:pt x="752540" y="495137"/>
                      <a:pt x="765165" y="495137"/>
                    </a:cubicBezTo>
                    <a:cubicBezTo>
                      <a:pt x="777790" y="495137"/>
                      <a:pt x="788025" y="484902"/>
                      <a:pt x="788025" y="472277"/>
                    </a:cubicBezTo>
                    <a:cubicBezTo>
                      <a:pt x="788025" y="459652"/>
                      <a:pt x="777790" y="449417"/>
                      <a:pt x="765165" y="449417"/>
                    </a:cubicBezTo>
                    <a:close/>
                    <a:moveTo>
                      <a:pt x="437712" y="449417"/>
                    </a:moveTo>
                    <a:cubicBezTo>
                      <a:pt x="425087" y="449417"/>
                      <a:pt x="414852" y="459652"/>
                      <a:pt x="414852" y="472277"/>
                    </a:cubicBezTo>
                    <a:cubicBezTo>
                      <a:pt x="414852" y="484902"/>
                      <a:pt x="425087" y="495137"/>
                      <a:pt x="437712" y="495137"/>
                    </a:cubicBezTo>
                    <a:cubicBezTo>
                      <a:pt x="450337" y="495137"/>
                      <a:pt x="460572" y="484902"/>
                      <a:pt x="460572" y="472277"/>
                    </a:cubicBezTo>
                    <a:cubicBezTo>
                      <a:pt x="460572" y="459652"/>
                      <a:pt x="450337" y="449417"/>
                      <a:pt x="437712" y="449417"/>
                    </a:cubicBezTo>
                    <a:close/>
                    <a:moveTo>
                      <a:pt x="104693" y="449417"/>
                    </a:moveTo>
                    <a:cubicBezTo>
                      <a:pt x="92068" y="449417"/>
                      <a:pt x="81833" y="459652"/>
                      <a:pt x="81833" y="472277"/>
                    </a:cubicBezTo>
                    <a:cubicBezTo>
                      <a:pt x="81833" y="484902"/>
                      <a:pt x="92068" y="495137"/>
                      <a:pt x="104693" y="495137"/>
                    </a:cubicBezTo>
                    <a:cubicBezTo>
                      <a:pt x="117318" y="495137"/>
                      <a:pt x="127553" y="484902"/>
                      <a:pt x="127553" y="472277"/>
                    </a:cubicBezTo>
                    <a:cubicBezTo>
                      <a:pt x="127553" y="459652"/>
                      <a:pt x="117318" y="449417"/>
                      <a:pt x="104693" y="449417"/>
                    </a:cubicBezTo>
                    <a:close/>
                    <a:moveTo>
                      <a:pt x="815266" y="425491"/>
                    </a:moveTo>
                    <a:cubicBezTo>
                      <a:pt x="802641" y="425491"/>
                      <a:pt x="792406" y="435726"/>
                      <a:pt x="792406" y="448351"/>
                    </a:cubicBezTo>
                    <a:cubicBezTo>
                      <a:pt x="792406" y="460976"/>
                      <a:pt x="802641" y="471211"/>
                      <a:pt x="815266" y="471211"/>
                    </a:cubicBezTo>
                    <a:cubicBezTo>
                      <a:pt x="827891" y="471211"/>
                      <a:pt x="838126" y="460976"/>
                      <a:pt x="838126" y="448351"/>
                    </a:cubicBezTo>
                    <a:cubicBezTo>
                      <a:pt x="838126" y="435726"/>
                      <a:pt x="827891" y="425491"/>
                      <a:pt x="815266" y="425491"/>
                    </a:cubicBezTo>
                    <a:close/>
                    <a:moveTo>
                      <a:pt x="713718" y="425491"/>
                    </a:moveTo>
                    <a:cubicBezTo>
                      <a:pt x="701093" y="425491"/>
                      <a:pt x="690858" y="435726"/>
                      <a:pt x="690858" y="448351"/>
                    </a:cubicBezTo>
                    <a:cubicBezTo>
                      <a:pt x="690858" y="460976"/>
                      <a:pt x="701093" y="471211"/>
                      <a:pt x="713718" y="471211"/>
                    </a:cubicBezTo>
                    <a:cubicBezTo>
                      <a:pt x="726343" y="471211"/>
                      <a:pt x="736578" y="460976"/>
                      <a:pt x="736578" y="448351"/>
                    </a:cubicBezTo>
                    <a:cubicBezTo>
                      <a:pt x="736578" y="435726"/>
                      <a:pt x="726343" y="425491"/>
                      <a:pt x="713718" y="425491"/>
                    </a:cubicBezTo>
                    <a:close/>
                    <a:moveTo>
                      <a:pt x="488486" y="425491"/>
                    </a:moveTo>
                    <a:cubicBezTo>
                      <a:pt x="475861" y="425491"/>
                      <a:pt x="465626" y="435726"/>
                      <a:pt x="465626" y="448351"/>
                    </a:cubicBezTo>
                    <a:cubicBezTo>
                      <a:pt x="465626" y="460976"/>
                      <a:pt x="475861" y="471211"/>
                      <a:pt x="488486" y="471211"/>
                    </a:cubicBezTo>
                    <a:cubicBezTo>
                      <a:pt x="501111" y="471211"/>
                      <a:pt x="511346" y="460976"/>
                      <a:pt x="511346" y="448351"/>
                    </a:cubicBezTo>
                    <a:cubicBezTo>
                      <a:pt x="511346" y="435726"/>
                      <a:pt x="501111" y="425491"/>
                      <a:pt x="488486" y="425491"/>
                    </a:cubicBezTo>
                    <a:close/>
                    <a:moveTo>
                      <a:pt x="386938" y="425491"/>
                    </a:moveTo>
                    <a:cubicBezTo>
                      <a:pt x="374313" y="425491"/>
                      <a:pt x="364078" y="435726"/>
                      <a:pt x="364078" y="448351"/>
                    </a:cubicBezTo>
                    <a:cubicBezTo>
                      <a:pt x="364078" y="460976"/>
                      <a:pt x="374313" y="471211"/>
                      <a:pt x="386938" y="471211"/>
                    </a:cubicBezTo>
                    <a:cubicBezTo>
                      <a:pt x="399563" y="471211"/>
                      <a:pt x="409798" y="460976"/>
                      <a:pt x="409798" y="448351"/>
                    </a:cubicBezTo>
                    <a:cubicBezTo>
                      <a:pt x="409798" y="435726"/>
                      <a:pt x="399563" y="425491"/>
                      <a:pt x="386938" y="425491"/>
                    </a:cubicBezTo>
                    <a:close/>
                    <a:moveTo>
                      <a:pt x="160771" y="425491"/>
                    </a:moveTo>
                    <a:cubicBezTo>
                      <a:pt x="148146" y="425491"/>
                      <a:pt x="137911" y="435726"/>
                      <a:pt x="137911" y="448351"/>
                    </a:cubicBezTo>
                    <a:cubicBezTo>
                      <a:pt x="137911" y="460976"/>
                      <a:pt x="148146" y="471211"/>
                      <a:pt x="160771" y="471211"/>
                    </a:cubicBezTo>
                    <a:cubicBezTo>
                      <a:pt x="173396" y="471211"/>
                      <a:pt x="183631" y="460976"/>
                      <a:pt x="183631" y="448351"/>
                    </a:cubicBezTo>
                    <a:cubicBezTo>
                      <a:pt x="183631" y="435726"/>
                      <a:pt x="173396" y="425491"/>
                      <a:pt x="160771" y="425491"/>
                    </a:cubicBezTo>
                    <a:close/>
                    <a:moveTo>
                      <a:pt x="59223" y="425491"/>
                    </a:moveTo>
                    <a:cubicBezTo>
                      <a:pt x="46598" y="425491"/>
                      <a:pt x="36363" y="435726"/>
                      <a:pt x="36363" y="448351"/>
                    </a:cubicBezTo>
                    <a:cubicBezTo>
                      <a:pt x="36363" y="460976"/>
                      <a:pt x="46598" y="471211"/>
                      <a:pt x="59223" y="471211"/>
                    </a:cubicBezTo>
                    <a:cubicBezTo>
                      <a:pt x="71848" y="471211"/>
                      <a:pt x="82083" y="460976"/>
                      <a:pt x="82083" y="448351"/>
                    </a:cubicBezTo>
                    <a:cubicBezTo>
                      <a:pt x="82083" y="435726"/>
                      <a:pt x="71848" y="425491"/>
                      <a:pt x="59223" y="425491"/>
                    </a:cubicBezTo>
                    <a:close/>
                    <a:moveTo>
                      <a:pt x="763819" y="393660"/>
                    </a:moveTo>
                    <a:cubicBezTo>
                      <a:pt x="751194" y="393660"/>
                      <a:pt x="740959" y="403895"/>
                      <a:pt x="740959" y="416520"/>
                    </a:cubicBezTo>
                    <a:cubicBezTo>
                      <a:pt x="740959" y="429145"/>
                      <a:pt x="751194" y="439380"/>
                      <a:pt x="763819" y="439380"/>
                    </a:cubicBezTo>
                    <a:cubicBezTo>
                      <a:pt x="776444" y="439380"/>
                      <a:pt x="786679" y="429145"/>
                      <a:pt x="786679" y="416520"/>
                    </a:cubicBezTo>
                    <a:cubicBezTo>
                      <a:pt x="786679" y="403895"/>
                      <a:pt x="776444" y="393660"/>
                      <a:pt x="763819" y="393660"/>
                    </a:cubicBezTo>
                    <a:close/>
                    <a:moveTo>
                      <a:pt x="437712" y="393660"/>
                    </a:moveTo>
                    <a:cubicBezTo>
                      <a:pt x="425087" y="393660"/>
                      <a:pt x="414852" y="403895"/>
                      <a:pt x="414852" y="416520"/>
                    </a:cubicBezTo>
                    <a:cubicBezTo>
                      <a:pt x="414852" y="429145"/>
                      <a:pt x="425087" y="439380"/>
                      <a:pt x="437712" y="439380"/>
                    </a:cubicBezTo>
                    <a:cubicBezTo>
                      <a:pt x="450337" y="439380"/>
                      <a:pt x="460572" y="429145"/>
                      <a:pt x="460572" y="416520"/>
                    </a:cubicBezTo>
                    <a:cubicBezTo>
                      <a:pt x="460572" y="403895"/>
                      <a:pt x="450337" y="393660"/>
                      <a:pt x="437712" y="393660"/>
                    </a:cubicBezTo>
                    <a:close/>
                    <a:moveTo>
                      <a:pt x="104266" y="393660"/>
                    </a:moveTo>
                    <a:cubicBezTo>
                      <a:pt x="91641" y="393660"/>
                      <a:pt x="81406" y="403895"/>
                      <a:pt x="81406" y="416520"/>
                    </a:cubicBezTo>
                    <a:cubicBezTo>
                      <a:pt x="81406" y="429145"/>
                      <a:pt x="91641" y="439380"/>
                      <a:pt x="104266" y="439380"/>
                    </a:cubicBezTo>
                    <a:cubicBezTo>
                      <a:pt x="116891" y="439380"/>
                      <a:pt x="127126" y="429145"/>
                      <a:pt x="127126" y="416520"/>
                    </a:cubicBezTo>
                    <a:cubicBezTo>
                      <a:pt x="127126" y="403895"/>
                      <a:pt x="116891" y="393660"/>
                      <a:pt x="104266" y="393660"/>
                    </a:cubicBezTo>
                    <a:close/>
                    <a:moveTo>
                      <a:pt x="815266" y="365088"/>
                    </a:moveTo>
                    <a:cubicBezTo>
                      <a:pt x="802641" y="365088"/>
                      <a:pt x="792406" y="375323"/>
                      <a:pt x="792406" y="387948"/>
                    </a:cubicBezTo>
                    <a:cubicBezTo>
                      <a:pt x="792406" y="400573"/>
                      <a:pt x="802641" y="410808"/>
                      <a:pt x="815266" y="410808"/>
                    </a:cubicBezTo>
                    <a:cubicBezTo>
                      <a:pt x="827891" y="410808"/>
                      <a:pt x="838126" y="400573"/>
                      <a:pt x="838126" y="387948"/>
                    </a:cubicBezTo>
                    <a:cubicBezTo>
                      <a:pt x="838126" y="375323"/>
                      <a:pt x="827891" y="365088"/>
                      <a:pt x="815266" y="365088"/>
                    </a:cubicBezTo>
                    <a:close/>
                    <a:moveTo>
                      <a:pt x="713718" y="365088"/>
                    </a:moveTo>
                    <a:cubicBezTo>
                      <a:pt x="701093" y="365088"/>
                      <a:pt x="690858" y="375323"/>
                      <a:pt x="690858" y="387948"/>
                    </a:cubicBezTo>
                    <a:cubicBezTo>
                      <a:pt x="690858" y="400573"/>
                      <a:pt x="701093" y="410808"/>
                      <a:pt x="713718" y="410808"/>
                    </a:cubicBezTo>
                    <a:cubicBezTo>
                      <a:pt x="726343" y="410808"/>
                      <a:pt x="736578" y="400573"/>
                      <a:pt x="736578" y="387948"/>
                    </a:cubicBezTo>
                    <a:cubicBezTo>
                      <a:pt x="736578" y="375323"/>
                      <a:pt x="726343" y="365088"/>
                      <a:pt x="713718" y="365088"/>
                    </a:cubicBezTo>
                    <a:close/>
                    <a:moveTo>
                      <a:pt x="488486" y="365088"/>
                    </a:moveTo>
                    <a:cubicBezTo>
                      <a:pt x="475861" y="365088"/>
                      <a:pt x="465626" y="375323"/>
                      <a:pt x="465626" y="387948"/>
                    </a:cubicBezTo>
                    <a:cubicBezTo>
                      <a:pt x="465626" y="400573"/>
                      <a:pt x="475861" y="410808"/>
                      <a:pt x="488486" y="410808"/>
                    </a:cubicBezTo>
                    <a:cubicBezTo>
                      <a:pt x="501111" y="410808"/>
                      <a:pt x="511346" y="400573"/>
                      <a:pt x="511346" y="387948"/>
                    </a:cubicBezTo>
                    <a:cubicBezTo>
                      <a:pt x="511346" y="375323"/>
                      <a:pt x="501111" y="365088"/>
                      <a:pt x="488486" y="365088"/>
                    </a:cubicBezTo>
                    <a:close/>
                    <a:moveTo>
                      <a:pt x="386938" y="365088"/>
                    </a:moveTo>
                    <a:cubicBezTo>
                      <a:pt x="374313" y="365088"/>
                      <a:pt x="364078" y="375323"/>
                      <a:pt x="364078" y="387948"/>
                    </a:cubicBezTo>
                    <a:cubicBezTo>
                      <a:pt x="364078" y="400573"/>
                      <a:pt x="374313" y="410808"/>
                      <a:pt x="386938" y="410808"/>
                    </a:cubicBezTo>
                    <a:cubicBezTo>
                      <a:pt x="399563" y="410808"/>
                      <a:pt x="409798" y="400573"/>
                      <a:pt x="409798" y="387948"/>
                    </a:cubicBezTo>
                    <a:cubicBezTo>
                      <a:pt x="409798" y="375323"/>
                      <a:pt x="399563" y="365088"/>
                      <a:pt x="386938" y="365088"/>
                    </a:cubicBezTo>
                    <a:close/>
                    <a:moveTo>
                      <a:pt x="160771" y="365088"/>
                    </a:moveTo>
                    <a:cubicBezTo>
                      <a:pt x="148146" y="365088"/>
                      <a:pt x="137911" y="375323"/>
                      <a:pt x="137911" y="387948"/>
                    </a:cubicBezTo>
                    <a:cubicBezTo>
                      <a:pt x="137911" y="400573"/>
                      <a:pt x="148146" y="410808"/>
                      <a:pt x="160771" y="410808"/>
                    </a:cubicBezTo>
                    <a:cubicBezTo>
                      <a:pt x="173396" y="410808"/>
                      <a:pt x="183631" y="400573"/>
                      <a:pt x="183631" y="387948"/>
                    </a:cubicBezTo>
                    <a:cubicBezTo>
                      <a:pt x="183631" y="375323"/>
                      <a:pt x="173396" y="365088"/>
                      <a:pt x="160771" y="365088"/>
                    </a:cubicBezTo>
                    <a:close/>
                    <a:moveTo>
                      <a:pt x="59223" y="365088"/>
                    </a:moveTo>
                    <a:cubicBezTo>
                      <a:pt x="46598" y="365088"/>
                      <a:pt x="36363" y="375323"/>
                      <a:pt x="36363" y="387948"/>
                    </a:cubicBezTo>
                    <a:cubicBezTo>
                      <a:pt x="36363" y="400573"/>
                      <a:pt x="46598" y="410808"/>
                      <a:pt x="59223" y="410808"/>
                    </a:cubicBezTo>
                    <a:cubicBezTo>
                      <a:pt x="71848" y="410808"/>
                      <a:pt x="82083" y="400573"/>
                      <a:pt x="82083" y="387948"/>
                    </a:cubicBezTo>
                    <a:cubicBezTo>
                      <a:pt x="82083" y="375323"/>
                      <a:pt x="71848" y="365088"/>
                      <a:pt x="59223" y="365088"/>
                    </a:cubicBezTo>
                    <a:close/>
                    <a:moveTo>
                      <a:pt x="765165" y="335014"/>
                    </a:moveTo>
                    <a:cubicBezTo>
                      <a:pt x="752540" y="335014"/>
                      <a:pt x="742305" y="345249"/>
                      <a:pt x="742305" y="357874"/>
                    </a:cubicBezTo>
                    <a:cubicBezTo>
                      <a:pt x="742305" y="370499"/>
                      <a:pt x="752540" y="380734"/>
                      <a:pt x="765165" y="380734"/>
                    </a:cubicBezTo>
                    <a:cubicBezTo>
                      <a:pt x="777790" y="380734"/>
                      <a:pt x="788025" y="370499"/>
                      <a:pt x="788025" y="357874"/>
                    </a:cubicBezTo>
                    <a:cubicBezTo>
                      <a:pt x="788025" y="345249"/>
                      <a:pt x="777790" y="335014"/>
                      <a:pt x="765165" y="335014"/>
                    </a:cubicBezTo>
                    <a:close/>
                    <a:moveTo>
                      <a:pt x="437712" y="335014"/>
                    </a:moveTo>
                    <a:cubicBezTo>
                      <a:pt x="425087" y="335014"/>
                      <a:pt x="414852" y="345249"/>
                      <a:pt x="414852" y="357874"/>
                    </a:cubicBezTo>
                    <a:cubicBezTo>
                      <a:pt x="414852" y="370499"/>
                      <a:pt x="425087" y="380734"/>
                      <a:pt x="437712" y="380734"/>
                    </a:cubicBezTo>
                    <a:cubicBezTo>
                      <a:pt x="450337" y="380734"/>
                      <a:pt x="460572" y="370499"/>
                      <a:pt x="460572" y="357874"/>
                    </a:cubicBezTo>
                    <a:cubicBezTo>
                      <a:pt x="460572" y="345249"/>
                      <a:pt x="450337" y="335014"/>
                      <a:pt x="437712" y="335014"/>
                    </a:cubicBezTo>
                    <a:close/>
                    <a:moveTo>
                      <a:pt x="104693" y="335014"/>
                    </a:moveTo>
                    <a:cubicBezTo>
                      <a:pt x="92068" y="335014"/>
                      <a:pt x="81833" y="345249"/>
                      <a:pt x="81833" y="357874"/>
                    </a:cubicBezTo>
                    <a:cubicBezTo>
                      <a:pt x="81833" y="370499"/>
                      <a:pt x="92068" y="380734"/>
                      <a:pt x="104693" y="380734"/>
                    </a:cubicBezTo>
                    <a:cubicBezTo>
                      <a:pt x="117318" y="380734"/>
                      <a:pt x="127553" y="370499"/>
                      <a:pt x="127553" y="357874"/>
                    </a:cubicBezTo>
                    <a:cubicBezTo>
                      <a:pt x="127553" y="345249"/>
                      <a:pt x="117318" y="335014"/>
                      <a:pt x="104693" y="335014"/>
                    </a:cubicBezTo>
                    <a:close/>
                    <a:moveTo>
                      <a:pt x="437712" y="138633"/>
                    </a:moveTo>
                    <a:cubicBezTo>
                      <a:pt x="425087" y="138633"/>
                      <a:pt x="414852" y="148868"/>
                      <a:pt x="414852" y="161493"/>
                    </a:cubicBezTo>
                    <a:cubicBezTo>
                      <a:pt x="414852" y="174118"/>
                      <a:pt x="425087" y="184353"/>
                      <a:pt x="437712" y="184353"/>
                    </a:cubicBezTo>
                    <a:cubicBezTo>
                      <a:pt x="450337" y="184353"/>
                      <a:pt x="460572" y="174118"/>
                      <a:pt x="460572" y="161493"/>
                    </a:cubicBezTo>
                    <a:cubicBezTo>
                      <a:pt x="460572" y="148868"/>
                      <a:pt x="450337" y="138633"/>
                      <a:pt x="437712" y="138633"/>
                    </a:cubicBezTo>
                    <a:close/>
                    <a:moveTo>
                      <a:pt x="488486" y="113932"/>
                    </a:moveTo>
                    <a:cubicBezTo>
                      <a:pt x="475861" y="113932"/>
                      <a:pt x="465626" y="124167"/>
                      <a:pt x="465626" y="136792"/>
                    </a:cubicBezTo>
                    <a:cubicBezTo>
                      <a:pt x="465626" y="149417"/>
                      <a:pt x="475861" y="159652"/>
                      <a:pt x="488486" y="159652"/>
                    </a:cubicBezTo>
                    <a:cubicBezTo>
                      <a:pt x="501111" y="159652"/>
                      <a:pt x="511346" y="149417"/>
                      <a:pt x="511346" y="136792"/>
                    </a:cubicBezTo>
                    <a:cubicBezTo>
                      <a:pt x="511346" y="124167"/>
                      <a:pt x="501111" y="113932"/>
                      <a:pt x="488486" y="113932"/>
                    </a:cubicBezTo>
                    <a:close/>
                    <a:moveTo>
                      <a:pt x="386938" y="113932"/>
                    </a:moveTo>
                    <a:cubicBezTo>
                      <a:pt x="374313" y="113932"/>
                      <a:pt x="364078" y="124167"/>
                      <a:pt x="364078" y="136792"/>
                    </a:cubicBezTo>
                    <a:cubicBezTo>
                      <a:pt x="364078" y="149417"/>
                      <a:pt x="374313" y="159652"/>
                      <a:pt x="386938" y="159652"/>
                    </a:cubicBezTo>
                    <a:cubicBezTo>
                      <a:pt x="399563" y="159652"/>
                      <a:pt x="409798" y="149417"/>
                      <a:pt x="409798" y="136792"/>
                    </a:cubicBezTo>
                    <a:cubicBezTo>
                      <a:pt x="409798" y="124167"/>
                      <a:pt x="399563" y="113932"/>
                      <a:pt x="386938" y="113932"/>
                    </a:cubicBezTo>
                    <a:close/>
                    <a:moveTo>
                      <a:pt x="437712" y="81407"/>
                    </a:moveTo>
                    <a:cubicBezTo>
                      <a:pt x="425087" y="81407"/>
                      <a:pt x="414852" y="91642"/>
                      <a:pt x="414852" y="104267"/>
                    </a:cubicBezTo>
                    <a:cubicBezTo>
                      <a:pt x="414852" y="116892"/>
                      <a:pt x="425087" y="127127"/>
                      <a:pt x="437712" y="127127"/>
                    </a:cubicBezTo>
                    <a:cubicBezTo>
                      <a:pt x="450337" y="127127"/>
                      <a:pt x="460572" y="116892"/>
                      <a:pt x="460572" y="104267"/>
                    </a:cubicBezTo>
                    <a:cubicBezTo>
                      <a:pt x="460572" y="91642"/>
                      <a:pt x="450337" y="81407"/>
                      <a:pt x="437712" y="81407"/>
                    </a:cubicBezTo>
                    <a:close/>
                    <a:moveTo>
                      <a:pt x="488486" y="53529"/>
                    </a:moveTo>
                    <a:cubicBezTo>
                      <a:pt x="475861" y="53529"/>
                      <a:pt x="465626" y="63764"/>
                      <a:pt x="465626" y="76389"/>
                    </a:cubicBezTo>
                    <a:cubicBezTo>
                      <a:pt x="465626" y="89014"/>
                      <a:pt x="475861" y="99249"/>
                      <a:pt x="488486" y="99249"/>
                    </a:cubicBezTo>
                    <a:cubicBezTo>
                      <a:pt x="501111" y="99249"/>
                      <a:pt x="511346" y="89014"/>
                      <a:pt x="511346" y="76389"/>
                    </a:cubicBezTo>
                    <a:cubicBezTo>
                      <a:pt x="511346" y="63764"/>
                      <a:pt x="501111" y="53529"/>
                      <a:pt x="488486" y="53529"/>
                    </a:cubicBezTo>
                    <a:close/>
                    <a:moveTo>
                      <a:pt x="386938" y="53529"/>
                    </a:moveTo>
                    <a:cubicBezTo>
                      <a:pt x="374313" y="53529"/>
                      <a:pt x="364078" y="63764"/>
                      <a:pt x="364078" y="76389"/>
                    </a:cubicBezTo>
                    <a:cubicBezTo>
                      <a:pt x="364078" y="89014"/>
                      <a:pt x="374313" y="99249"/>
                      <a:pt x="386938" y="99249"/>
                    </a:cubicBezTo>
                    <a:cubicBezTo>
                      <a:pt x="399563" y="99249"/>
                      <a:pt x="409798" y="89014"/>
                      <a:pt x="409798" y="76389"/>
                    </a:cubicBezTo>
                    <a:cubicBezTo>
                      <a:pt x="409798" y="63764"/>
                      <a:pt x="399563" y="53529"/>
                      <a:pt x="386938" y="53529"/>
                    </a:cubicBezTo>
                    <a:close/>
                    <a:moveTo>
                      <a:pt x="437712" y="24230"/>
                    </a:moveTo>
                    <a:cubicBezTo>
                      <a:pt x="425087" y="24230"/>
                      <a:pt x="414852" y="34465"/>
                      <a:pt x="414852" y="47090"/>
                    </a:cubicBezTo>
                    <a:cubicBezTo>
                      <a:pt x="414852" y="59715"/>
                      <a:pt x="425087" y="69950"/>
                      <a:pt x="437712" y="69950"/>
                    </a:cubicBezTo>
                    <a:cubicBezTo>
                      <a:pt x="450337" y="69950"/>
                      <a:pt x="460572" y="59715"/>
                      <a:pt x="460572" y="47090"/>
                    </a:cubicBezTo>
                    <a:cubicBezTo>
                      <a:pt x="460572" y="34465"/>
                      <a:pt x="450337" y="24230"/>
                      <a:pt x="437712" y="24230"/>
                    </a:cubicBezTo>
                    <a:close/>
                    <a:moveTo>
                      <a:pt x="437617" y="0"/>
                    </a:moveTo>
                    <a:cubicBezTo>
                      <a:pt x="497432" y="0"/>
                      <a:pt x="545922" y="48490"/>
                      <a:pt x="545922" y="108305"/>
                    </a:cubicBezTo>
                    <a:cubicBezTo>
                      <a:pt x="545922" y="153166"/>
                      <a:pt x="518647" y="191657"/>
                      <a:pt x="479774" y="208099"/>
                    </a:cubicBezTo>
                    <a:lnTo>
                      <a:pt x="477170" y="208624"/>
                    </a:lnTo>
                    <a:lnTo>
                      <a:pt x="477170" y="312925"/>
                    </a:lnTo>
                    <a:lnTo>
                      <a:pt x="479774" y="313451"/>
                    </a:lnTo>
                    <a:cubicBezTo>
                      <a:pt x="505689" y="324412"/>
                      <a:pt x="526449" y="345172"/>
                      <a:pt x="537411" y="371087"/>
                    </a:cubicBezTo>
                    <a:lnTo>
                      <a:pt x="537655" y="372297"/>
                    </a:lnTo>
                    <a:lnTo>
                      <a:pt x="666891" y="372297"/>
                    </a:lnTo>
                    <a:lnTo>
                      <a:pt x="667135" y="371088"/>
                    </a:lnTo>
                    <a:cubicBezTo>
                      <a:pt x="683577" y="332216"/>
                      <a:pt x="722068" y="304940"/>
                      <a:pt x="766930" y="304940"/>
                    </a:cubicBezTo>
                    <a:cubicBezTo>
                      <a:pt x="826745" y="304940"/>
                      <a:pt x="875235" y="353430"/>
                      <a:pt x="875235" y="413246"/>
                    </a:cubicBezTo>
                    <a:cubicBezTo>
                      <a:pt x="875235" y="473061"/>
                      <a:pt x="826745" y="521551"/>
                      <a:pt x="766930" y="521551"/>
                    </a:cubicBezTo>
                    <a:cubicBezTo>
                      <a:pt x="722068" y="521551"/>
                      <a:pt x="683577" y="494276"/>
                      <a:pt x="667135" y="455403"/>
                    </a:cubicBezTo>
                    <a:lnTo>
                      <a:pt x="666328" y="451404"/>
                    </a:lnTo>
                    <a:lnTo>
                      <a:pt x="538218" y="451404"/>
                    </a:lnTo>
                    <a:lnTo>
                      <a:pt x="537411" y="455402"/>
                    </a:lnTo>
                    <a:cubicBezTo>
                      <a:pt x="526449" y="481317"/>
                      <a:pt x="505689" y="502078"/>
                      <a:pt x="479774" y="513039"/>
                    </a:cubicBezTo>
                    <a:lnTo>
                      <a:pt x="477170" y="513565"/>
                    </a:lnTo>
                    <a:lnTo>
                      <a:pt x="477170" y="617868"/>
                    </a:lnTo>
                    <a:lnTo>
                      <a:pt x="479774" y="618393"/>
                    </a:lnTo>
                    <a:cubicBezTo>
                      <a:pt x="518647" y="634835"/>
                      <a:pt x="545922" y="673326"/>
                      <a:pt x="545922" y="718187"/>
                    </a:cubicBezTo>
                    <a:cubicBezTo>
                      <a:pt x="545922" y="778002"/>
                      <a:pt x="497432" y="826492"/>
                      <a:pt x="437617" y="826492"/>
                    </a:cubicBezTo>
                    <a:cubicBezTo>
                      <a:pt x="377802" y="826492"/>
                      <a:pt x="329312" y="778002"/>
                      <a:pt x="329312" y="718187"/>
                    </a:cubicBezTo>
                    <a:cubicBezTo>
                      <a:pt x="329312" y="673326"/>
                      <a:pt x="356588" y="634835"/>
                      <a:pt x="395460" y="618393"/>
                    </a:cubicBezTo>
                    <a:lnTo>
                      <a:pt x="398064" y="617868"/>
                    </a:lnTo>
                    <a:lnTo>
                      <a:pt x="398064" y="513565"/>
                    </a:lnTo>
                    <a:lnTo>
                      <a:pt x="395460" y="513039"/>
                    </a:lnTo>
                    <a:cubicBezTo>
                      <a:pt x="369545" y="502078"/>
                      <a:pt x="348784" y="481317"/>
                      <a:pt x="337823" y="455402"/>
                    </a:cubicBezTo>
                    <a:lnTo>
                      <a:pt x="337016" y="451404"/>
                    </a:lnTo>
                    <a:lnTo>
                      <a:pt x="208906" y="451404"/>
                    </a:lnTo>
                    <a:lnTo>
                      <a:pt x="208099" y="455403"/>
                    </a:lnTo>
                    <a:cubicBezTo>
                      <a:pt x="191657" y="494276"/>
                      <a:pt x="153167" y="521551"/>
                      <a:pt x="108305" y="521551"/>
                    </a:cubicBezTo>
                    <a:cubicBezTo>
                      <a:pt x="48490" y="521551"/>
                      <a:pt x="0" y="473061"/>
                      <a:pt x="0" y="413246"/>
                    </a:cubicBezTo>
                    <a:cubicBezTo>
                      <a:pt x="0" y="353430"/>
                      <a:pt x="48490" y="304940"/>
                      <a:pt x="108305" y="304940"/>
                    </a:cubicBezTo>
                    <a:cubicBezTo>
                      <a:pt x="153167" y="304940"/>
                      <a:pt x="191657" y="332216"/>
                      <a:pt x="208099" y="371088"/>
                    </a:cubicBezTo>
                    <a:lnTo>
                      <a:pt x="208343" y="372297"/>
                    </a:lnTo>
                    <a:lnTo>
                      <a:pt x="337579" y="372297"/>
                    </a:lnTo>
                    <a:lnTo>
                      <a:pt x="337823" y="371087"/>
                    </a:lnTo>
                    <a:cubicBezTo>
                      <a:pt x="348784" y="345172"/>
                      <a:pt x="369545" y="324412"/>
                      <a:pt x="395460" y="313451"/>
                    </a:cubicBezTo>
                    <a:lnTo>
                      <a:pt x="398064" y="312925"/>
                    </a:lnTo>
                    <a:lnTo>
                      <a:pt x="398064" y="208624"/>
                    </a:lnTo>
                    <a:lnTo>
                      <a:pt x="395460" y="208099"/>
                    </a:lnTo>
                    <a:cubicBezTo>
                      <a:pt x="356588" y="191657"/>
                      <a:pt x="329312" y="153166"/>
                      <a:pt x="329312" y="108305"/>
                    </a:cubicBezTo>
                    <a:cubicBezTo>
                      <a:pt x="329312" y="48490"/>
                      <a:pt x="377802" y="0"/>
                      <a:pt x="43761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cxnSp>
          <p:nvCxnSpPr>
            <p:cNvPr id="141" name="Straight Connector 140"/>
            <p:cNvCxnSpPr/>
            <p:nvPr/>
          </p:nvCxnSpPr>
          <p:spPr>
            <a:xfrm>
              <a:off x="3945357" y="3390900"/>
              <a:ext cx="281139" cy="0"/>
            </a:xfrm>
            <a:prstGeom prst="line">
              <a:avLst/>
            </a:prstGeom>
            <a:ln w="5715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/>
            <p:cNvCxnSpPr/>
            <p:nvPr/>
          </p:nvCxnSpPr>
          <p:spPr>
            <a:xfrm>
              <a:off x="5043953" y="3390900"/>
              <a:ext cx="303916" cy="0"/>
            </a:xfrm>
            <a:prstGeom prst="line">
              <a:avLst/>
            </a:prstGeom>
            <a:ln w="5715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Elbow Connector 14"/>
          <p:cNvCxnSpPr>
            <a:stCxn id="35" idx="3"/>
          </p:cNvCxnSpPr>
          <p:nvPr/>
        </p:nvCxnSpPr>
        <p:spPr>
          <a:xfrm rot="5400000" flipH="1" flipV="1">
            <a:off x="5084055" y="-246327"/>
            <a:ext cx="339676" cy="5289456"/>
          </a:xfrm>
          <a:prstGeom prst="bentConnector2">
            <a:avLst/>
          </a:prstGeom>
          <a:ln w="19050">
            <a:solidFill>
              <a:schemeClr val="bg2">
                <a:lumMod val="90000"/>
              </a:schemeClr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Elbow Connector 212"/>
          <p:cNvCxnSpPr>
            <a:stCxn id="22" idx="1"/>
          </p:cNvCxnSpPr>
          <p:nvPr/>
        </p:nvCxnSpPr>
        <p:spPr>
          <a:xfrm rot="16200000" flipH="1">
            <a:off x="4701957" y="1854383"/>
            <a:ext cx="551739" cy="5841594"/>
          </a:xfrm>
          <a:prstGeom prst="bentConnector2">
            <a:avLst/>
          </a:prstGeom>
          <a:ln w="19050">
            <a:solidFill>
              <a:schemeClr val="bg2">
                <a:lumMod val="90000"/>
              </a:schemeClr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4" name="Group 213"/>
          <p:cNvGrpSpPr/>
          <p:nvPr/>
        </p:nvGrpSpPr>
        <p:grpSpPr>
          <a:xfrm>
            <a:off x="1952925" y="1989375"/>
            <a:ext cx="1591388" cy="1766232"/>
            <a:chOff x="7999412" y="2362201"/>
            <a:chExt cx="1295400" cy="1905000"/>
          </a:xfrm>
        </p:grpSpPr>
        <p:cxnSp>
          <p:nvCxnSpPr>
            <p:cNvPr id="215" name="Straight Connector 214"/>
            <p:cNvCxnSpPr/>
            <p:nvPr/>
          </p:nvCxnSpPr>
          <p:spPr>
            <a:xfrm>
              <a:off x="8884087" y="2383476"/>
              <a:ext cx="7074" cy="95250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/>
            <p:cNvCxnSpPr/>
            <p:nvPr/>
          </p:nvCxnSpPr>
          <p:spPr>
            <a:xfrm>
              <a:off x="8498126" y="2362201"/>
              <a:ext cx="7074" cy="95250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7" name="Rectangle 216"/>
            <p:cNvSpPr/>
            <p:nvPr/>
          </p:nvSpPr>
          <p:spPr>
            <a:xfrm>
              <a:off x="8040296" y="2362201"/>
              <a:ext cx="1221830" cy="1905000"/>
            </a:xfrm>
            <a:prstGeom prst="rect">
              <a:avLst/>
            </a:prstGeom>
            <a:noFill/>
            <a:ln w="25400">
              <a:solidFill>
                <a:schemeClr val="accent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cxnSp>
          <p:nvCxnSpPr>
            <p:cNvPr id="218" name="Straight Connector 217"/>
            <p:cNvCxnSpPr>
              <a:stCxn id="217" idx="1"/>
              <a:endCxn id="217" idx="3"/>
            </p:cNvCxnSpPr>
            <p:nvPr/>
          </p:nvCxnSpPr>
          <p:spPr>
            <a:xfrm>
              <a:off x="8040297" y="3314701"/>
              <a:ext cx="1221830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9" name="Group 218"/>
            <p:cNvGrpSpPr/>
            <p:nvPr/>
          </p:nvGrpSpPr>
          <p:grpSpPr>
            <a:xfrm>
              <a:off x="8665223" y="2484964"/>
              <a:ext cx="629589" cy="1681973"/>
              <a:chOff x="6992646" y="445986"/>
              <a:chExt cx="693417" cy="1306982"/>
            </a:xfrm>
          </p:grpSpPr>
          <p:sp>
            <p:nvSpPr>
              <p:cNvPr id="232" name="Oval 231"/>
              <p:cNvSpPr/>
              <p:nvPr/>
            </p:nvSpPr>
            <p:spPr>
              <a:xfrm>
                <a:off x="7066661" y="1246555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233" name="Oval 232"/>
              <p:cNvSpPr/>
              <p:nvPr/>
            </p:nvSpPr>
            <p:spPr>
              <a:xfrm>
                <a:off x="7066661" y="445986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34" name="Straight Arrow Connector 233"/>
              <p:cNvCxnSpPr>
                <a:stCxn id="233" idx="4"/>
                <a:endCxn id="232" idx="0"/>
              </p:cNvCxnSpPr>
              <p:nvPr/>
            </p:nvCxnSpPr>
            <p:spPr>
              <a:xfrm>
                <a:off x="7339355" y="952399"/>
                <a:ext cx="0" cy="294156"/>
              </a:xfrm>
              <a:prstGeom prst="straightConnector1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5" name="TextBox 234"/>
              <p:cNvSpPr txBox="1"/>
              <p:nvPr/>
            </p:nvSpPr>
            <p:spPr>
              <a:xfrm>
                <a:off x="6992646" y="561900"/>
                <a:ext cx="693417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Application thread</a:t>
                </a:r>
              </a:p>
            </p:txBody>
          </p:sp>
          <p:sp>
            <p:nvSpPr>
              <p:cNvPr id="236" name="TextBox 235"/>
              <p:cNvSpPr txBox="1"/>
              <p:nvPr/>
            </p:nvSpPr>
            <p:spPr>
              <a:xfrm>
                <a:off x="7027705" y="1340169"/>
                <a:ext cx="623300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Data object</a:t>
                </a:r>
              </a:p>
            </p:txBody>
          </p:sp>
        </p:grpSp>
        <p:grpSp>
          <p:nvGrpSpPr>
            <p:cNvPr id="220" name="Group 219"/>
            <p:cNvGrpSpPr/>
            <p:nvPr/>
          </p:nvGrpSpPr>
          <p:grpSpPr>
            <a:xfrm>
              <a:off x="8331890" y="2498780"/>
              <a:ext cx="629589" cy="1668156"/>
              <a:chOff x="6992646" y="456722"/>
              <a:chExt cx="693417" cy="1296246"/>
            </a:xfrm>
          </p:grpSpPr>
          <p:sp>
            <p:nvSpPr>
              <p:cNvPr id="227" name="Oval 226"/>
              <p:cNvSpPr/>
              <p:nvPr/>
            </p:nvSpPr>
            <p:spPr>
              <a:xfrm>
                <a:off x="7066661" y="1246555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228" name="Oval 227"/>
              <p:cNvSpPr/>
              <p:nvPr/>
            </p:nvSpPr>
            <p:spPr>
              <a:xfrm>
                <a:off x="7066661" y="456722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29" name="Straight Arrow Connector 228"/>
              <p:cNvCxnSpPr>
                <a:stCxn id="228" idx="4"/>
                <a:endCxn id="227" idx="0"/>
              </p:cNvCxnSpPr>
              <p:nvPr/>
            </p:nvCxnSpPr>
            <p:spPr>
              <a:xfrm>
                <a:off x="7339355" y="963135"/>
                <a:ext cx="0" cy="283420"/>
              </a:xfrm>
              <a:prstGeom prst="straightConnector1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0" name="TextBox 229"/>
              <p:cNvSpPr txBox="1"/>
              <p:nvPr/>
            </p:nvSpPr>
            <p:spPr>
              <a:xfrm>
                <a:off x="6992646" y="561900"/>
                <a:ext cx="693417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Application thread</a:t>
                </a:r>
              </a:p>
            </p:txBody>
          </p:sp>
          <p:sp>
            <p:nvSpPr>
              <p:cNvPr id="231" name="TextBox 230"/>
              <p:cNvSpPr txBox="1"/>
              <p:nvPr/>
            </p:nvSpPr>
            <p:spPr>
              <a:xfrm>
                <a:off x="7027705" y="1340169"/>
                <a:ext cx="623300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Data object</a:t>
                </a:r>
              </a:p>
            </p:txBody>
          </p:sp>
        </p:grpSp>
        <p:grpSp>
          <p:nvGrpSpPr>
            <p:cNvPr id="221" name="Group 220"/>
            <p:cNvGrpSpPr/>
            <p:nvPr/>
          </p:nvGrpSpPr>
          <p:grpSpPr>
            <a:xfrm>
              <a:off x="7999412" y="2498780"/>
              <a:ext cx="629589" cy="1668156"/>
              <a:chOff x="6992646" y="456722"/>
              <a:chExt cx="693417" cy="1296246"/>
            </a:xfrm>
          </p:grpSpPr>
          <p:sp>
            <p:nvSpPr>
              <p:cNvPr id="222" name="Oval 221"/>
              <p:cNvSpPr/>
              <p:nvPr/>
            </p:nvSpPr>
            <p:spPr>
              <a:xfrm>
                <a:off x="7066661" y="1246555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223" name="Oval 222"/>
              <p:cNvSpPr/>
              <p:nvPr/>
            </p:nvSpPr>
            <p:spPr>
              <a:xfrm>
                <a:off x="7066661" y="456722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24" name="Straight Arrow Connector 223"/>
              <p:cNvCxnSpPr>
                <a:stCxn id="223" idx="4"/>
                <a:endCxn id="222" idx="0"/>
              </p:cNvCxnSpPr>
              <p:nvPr/>
            </p:nvCxnSpPr>
            <p:spPr>
              <a:xfrm>
                <a:off x="7339355" y="963135"/>
                <a:ext cx="0" cy="283420"/>
              </a:xfrm>
              <a:prstGeom prst="straightConnector1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5" name="TextBox 224"/>
              <p:cNvSpPr txBox="1"/>
              <p:nvPr/>
            </p:nvSpPr>
            <p:spPr>
              <a:xfrm>
                <a:off x="6992646" y="561900"/>
                <a:ext cx="693417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Application thread</a:t>
                </a:r>
              </a:p>
            </p:txBody>
          </p:sp>
          <p:sp>
            <p:nvSpPr>
              <p:cNvPr id="226" name="TextBox 225"/>
              <p:cNvSpPr txBox="1"/>
              <p:nvPr/>
            </p:nvSpPr>
            <p:spPr>
              <a:xfrm>
                <a:off x="7027705" y="1340169"/>
                <a:ext cx="623300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Data object</a:t>
                </a:r>
              </a:p>
            </p:txBody>
          </p:sp>
        </p:grpSp>
      </p:grpSp>
      <p:grpSp>
        <p:nvGrpSpPr>
          <p:cNvPr id="237" name="Group 236"/>
          <p:cNvGrpSpPr/>
          <p:nvPr/>
        </p:nvGrpSpPr>
        <p:grpSpPr>
          <a:xfrm>
            <a:off x="1483097" y="3312402"/>
            <a:ext cx="1591388" cy="1766232"/>
            <a:chOff x="7999412" y="2362201"/>
            <a:chExt cx="1295400" cy="1905000"/>
          </a:xfrm>
        </p:grpSpPr>
        <p:cxnSp>
          <p:nvCxnSpPr>
            <p:cNvPr id="238" name="Straight Connector 237"/>
            <p:cNvCxnSpPr/>
            <p:nvPr/>
          </p:nvCxnSpPr>
          <p:spPr>
            <a:xfrm>
              <a:off x="8884087" y="2383476"/>
              <a:ext cx="7074" cy="95250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/>
            <p:cNvCxnSpPr/>
            <p:nvPr/>
          </p:nvCxnSpPr>
          <p:spPr>
            <a:xfrm>
              <a:off x="8498126" y="2362201"/>
              <a:ext cx="7074" cy="95250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Rectangle 239"/>
            <p:cNvSpPr/>
            <p:nvPr/>
          </p:nvSpPr>
          <p:spPr>
            <a:xfrm>
              <a:off x="8040296" y="2362201"/>
              <a:ext cx="1221830" cy="1905000"/>
            </a:xfrm>
            <a:prstGeom prst="rect">
              <a:avLst/>
            </a:prstGeom>
            <a:noFill/>
            <a:ln w="25400">
              <a:solidFill>
                <a:schemeClr val="accent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cxnSp>
          <p:nvCxnSpPr>
            <p:cNvPr id="241" name="Straight Connector 240"/>
            <p:cNvCxnSpPr>
              <a:stCxn id="240" idx="1"/>
              <a:endCxn id="240" idx="3"/>
            </p:cNvCxnSpPr>
            <p:nvPr/>
          </p:nvCxnSpPr>
          <p:spPr>
            <a:xfrm>
              <a:off x="8040297" y="3314701"/>
              <a:ext cx="1221830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2" name="Group 241"/>
            <p:cNvGrpSpPr/>
            <p:nvPr/>
          </p:nvGrpSpPr>
          <p:grpSpPr>
            <a:xfrm>
              <a:off x="8665223" y="2484964"/>
              <a:ext cx="629589" cy="1681973"/>
              <a:chOff x="6992646" y="445986"/>
              <a:chExt cx="693417" cy="1306982"/>
            </a:xfrm>
          </p:grpSpPr>
          <p:sp>
            <p:nvSpPr>
              <p:cNvPr id="255" name="Oval 254"/>
              <p:cNvSpPr/>
              <p:nvPr/>
            </p:nvSpPr>
            <p:spPr>
              <a:xfrm>
                <a:off x="7066661" y="1246555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256" name="Oval 255"/>
              <p:cNvSpPr/>
              <p:nvPr/>
            </p:nvSpPr>
            <p:spPr>
              <a:xfrm>
                <a:off x="7066661" y="445986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57" name="Straight Arrow Connector 256"/>
              <p:cNvCxnSpPr>
                <a:stCxn id="256" idx="4"/>
                <a:endCxn id="255" idx="0"/>
              </p:cNvCxnSpPr>
              <p:nvPr/>
            </p:nvCxnSpPr>
            <p:spPr>
              <a:xfrm>
                <a:off x="7339355" y="952399"/>
                <a:ext cx="0" cy="294156"/>
              </a:xfrm>
              <a:prstGeom prst="straightConnector1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8" name="TextBox 257"/>
              <p:cNvSpPr txBox="1"/>
              <p:nvPr/>
            </p:nvSpPr>
            <p:spPr>
              <a:xfrm>
                <a:off x="6992646" y="561900"/>
                <a:ext cx="693417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Application thread</a:t>
                </a:r>
              </a:p>
            </p:txBody>
          </p:sp>
          <p:sp>
            <p:nvSpPr>
              <p:cNvPr id="259" name="TextBox 258"/>
              <p:cNvSpPr txBox="1"/>
              <p:nvPr/>
            </p:nvSpPr>
            <p:spPr>
              <a:xfrm>
                <a:off x="7027705" y="1340169"/>
                <a:ext cx="623300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Data object</a:t>
                </a:r>
              </a:p>
            </p:txBody>
          </p:sp>
        </p:grpSp>
        <p:grpSp>
          <p:nvGrpSpPr>
            <p:cNvPr id="243" name="Group 242"/>
            <p:cNvGrpSpPr/>
            <p:nvPr/>
          </p:nvGrpSpPr>
          <p:grpSpPr>
            <a:xfrm>
              <a:off x="8331890" y="2498780"/>
              <a:ext cx="629589" cy="1668156"/>
              <a:chOff x="6992646" y="456722"/>
              <a:chExt cx="693417" cy="1296246"/>
            </a:xfrm>
          </p:grpSpPr>
          <p:sp>
            <p:nvSpPr>
              <p:cNvPr id="250" name="Oval 249"/>
              <p:cNvSpPr/>
              <p:nvPr/>
            </p:nvSpPr>
            <p:spPr>
              <a:xfrm>
                <a:off x="7066661" y="1246555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251" name="Oval 250"/>
              <p:cNvSpPr/>
              <p:nvPr/>
            </p:nvSpPr>
            <p:spPr>
              <a:xfrm>
                <a:off x="7066661" y="456722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52" name="Straight Arrow Connector 251"/>
              <p:cNvCxnSpPr>
                <a:stCxn id="251" idx="4"/>
                <a:endCxn id="250" idx="0"/>
              </p:cNvCxnSpPr>
              <p:nvPr/>
            </p:nvCxnSpPr>
            <p:spPr>
              <a:xfrm>
                <a:off x="7339355" y="963135"/>
                <a:ext cx="0" cy="283420"/>
              </a:xfrm>
              <a:prstGeom prst="straightConnector1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3" name="TextBox 252"/>
              <p:cNvSpPr txBox="1"/>
              <p:nvPr/>
            </p:nvSpPr>
            <p:spPr>
              <a:xfrm>
                <a:off x="6992646" y="561900"/>
                <a:ext cx="693417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Application thread</a:t>
                </a:r>
              </a:p>
            </p:txBody>
          </p:sp>
          <p:sp>
            <p:nvSpPr>
              <p:cNvPr id="254" name="TextBox 253"/>
              <p:cNvSpPr txBox="1"/>
              <p:nvPr/>
            </p:nvSpPr>
            <p:spPr>
              <a:xfrm>
                <a:off x="7027705" y="1340169"/>
                <a:ext cx="623300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Data object</a:t>
                </a:r>
              </a:p>
            </p:txBody>
          </p:sp>
        </p:grpSp>
        <p:grpSp>
          <p:nvGrpSpPr>
            <p:cNvPr id="244" name="Group 243"/>
            <p:cNvGrpSpPr/>
            <p:nvPr/>
          </p:nvGrpSpPr>
          <p:grpSpPr>
            <a:xfrm>
              <a:off x="7999412" y="2498780"/>
              <a:ext cx="629589" cy="1668156"/>
              <a:chOff x="6992646" y="456722"/>
              <a:chExt cx="693417" cy="1296246"/>
            </a:xfrm>
          </p:grpSpPr>
          <p:sp>
            <p:nvSpPr>
              <p:cNvPr id="245" name="Oval 244"/>
              <p:cNvSpPr/>
              <p:nvPr/>
            </p:nvSpPr>
            <p:spPr>
              <a:xfrm>
                <a:off x="7066661" y="1246555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246" name="Oval 245"/>
              <p:cNvSpPr/>
              <p:nvPr/>
            </p:nvSpPr>
            <p:spPr>
              <a:xfrm>
                <a:off x="7066661" y="456722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47" name="Straight Arrow Connector 246"/>
              <p:cNvCxnSpPr>
                <a:stCxn id="246" idx="4"/>
                <a:endCxn id="245" idx="0"/>
              </p:cNvCxnSpPr>
              <p:nvPr/>
            </p:nvCxnSpPr>
            <p:spPr>
              <a:xfrm>
                <a:off x="7339355" y="963135"/>
                <a:ext cx="0" cy="283420"/>
              </a:xfrm>
              <a:prstGeom prst="straightConnector1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8" name="TextBox 247"/>
              <p:cNvSpPr txBox="1"/>
              <p:nvPr/>
            </p:nvSpPr>
            <p:spPr>
              <a:xfrm>
                <a:off x="6992646" y="561900"/>
                <a:ext cx="693417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Application thread</a:t>
                </a:r>
              </a:p>
            </p:txBody>
          </p:sp>
          <p:sp>
            <p:nvSpPr>
              <p:cNvPr id="249" name="TextBox 248"/>
              <p:cNvSpPr txBox="1"/>
              <p:nvPr/>
            </p:nvSpPr>
            <p:spPr>
              <a:xfrm>
                <a:off x="7027705" y="1340169"/>
                <a:ext cx="623300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Data objec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8104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9945E-6 0 L 0.49335 -0.10417 " pathEditMode="relative" rAng="0" ptsTypes="AA">
                                      <p:cBhvr>
                                        <p:cTn id="11" dur="1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668" y="-5208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9437E-6 4.44444E-6 L 0.53452 0.11944 " pathEditMode="relative" rAng="0" ptsTypes="AA">
                                      <p:cBhvr>
                                        <p:cTn id="18" dur="1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726" y="5972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10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5" grpId="0"/>
      <p:bldP spid="14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Protect:</a:t>
            </a:r>
            <a:r>
              <a:rPr lang="en-US" dirty="0" smtClean="0"/>
              <a:t> Data protection</a:t>
            </a:r>
            <a:endParaRPr lang="hi-IN" dirty="0"/>
          </a:p>
        </p:txBody>
      </p:sp>
      <p:sp>
        <p:nvSpPr>
          <p:cNvPr id="87" name="Freeform 34"/>
          <p:cNvSpPr>
            <a:spLocks noEditPoints="1"/>
          </p:cNvSpPr>
          <p:nvPr/>
        </p:nvSpPr>
        <p:spPr bwMode="auto">
          <a:xfrm>
            <a:off x="11217286" y="685800"/>
            <a:ext cx="362098" cy="428800"/>
          </a:xfrm>
          <a:custGeom>
            <a:avLst/>
            <a:gdLst>
              <a:gd name="T0" fmla="*/ 257 w 303"/>
              <a:gd name="T1" fmla="*/ 165 h 359"/>
              <a:gd name="T2" fmla="*/ 257 w 303"/>
              <a:gd name="T3" fmla="*/ 108 h 359"/>
              <a:gd name="T4" fmla="*/ 255 w 303"/>
              <a:gd name="T5" fmla="*/ 86 h 359"/>
              <a:gd name="T6" fmla="*/ 248 w 303"/>
              <a:gd name="T7" fmla="*/ 66 h 359"/>
              <a:gd name="T8" fmla="*/ 238 w 303"/>
              <a:gd name="T9" fmla="*/ 48 h 359"/>
              <a:gd name="T10" fmla="*/ 225 w 303"/>
              <a:gd name="T11" fmla="*/ 33 h 359"/>
              <a:gd name="T12" fmla="*/ 209 w 303"/>
              <a:gd name="T13" fmla="*/ 19 h 359"/>
              <a:gd name="T14" fmla="*/ 191 w 303"/>
              <a:gd name="T15" fmla="*/ 9 h 359"/>
              <a:gd name="T16" fmla="*/ 171 w 303"/>
              <a:gd name="T17" fmla="*/ 3 h 359"/>
              <a:gd name="T18" fmla="*/ 150 w 303"/>
              <a:gd name="T19" fmla="*/ 0 h 359"/>
              <a:gd name="T20" fmla="*/ 139 w 303"/>
              <a:gd name="T21" fmla="*/ 2 h 359"/>
              <a:gd name="T22" fmla="*/ 118 w 303"/>
              <a:gd name="T23" fmla="*/ 6 h 359"/>
              <a:gd name="T24" fmla="*/ 98 w 303"/>
              <a:gd name="T25" fmla="*/ 13 h 359"/>
              <a:gd name="T26" fmla="*/ 82 w 303"/>
              <a:gd name="T27" fmla="*/ 25 h 359"/>
              <a:gd name="T28" fmla="*/ 67 w 303"/>
              <a:gd name="T29" fmla="*/ 40 h 359"/>
              <a:gd name="T30" fmla="*/ 55 w 303"/>
              <a:gd name="T31" fmla="*/ 56 h 359"/>
              <a:gd name="T32" fmla="*/ 48 w 303"/>
              <a:gd name="T33" fmla="*/ 76 h 359"/>
              <a:gd name="T34" fmla="*/ 43 w 303"/>
              <a:gd name="T35" fmla="*/ 97 h 359"/>
              <a:gd name="T36" fmla="*/ 42 w 303"/>
              <a:gd name="T37" fmla="*/ 165 h 359"/>
              <a:gd name="T38" fmla="*/ 0 w 303"/>
              <a:gd name="T39" fmla="*/ 337 h 359"/>
              <a:gd name="T40" fmla="*/ 1 w 303"/>
              <a:gd name="T41" fmla="*/ 341 h 359"/>
              <a:gd name="T42" fmla="*/ 4 w 303"/>
              <a:gd name="T43" fmla="*/ 350 h 359"/>
              <a:gd name="T44" fmla="*/ 11 w 303"/>
              <a:gd name="T45" fmla="*/ 355 h 359"/>
              <a:gd name="T46" fmla="*/ 18 w 303"/>
              <a:gd name="T47" fmla="*/ 359 h 359"/>
              <a:gd name="T48" fmla="*/ 303 w 303"/>
              <a:gd name="T49" fmla="*/ 359 h 359"/>
              <a:gd name="T50" fmla="*/ 303 w 303"/>
              <a:gd name="T51" fmla="*/ 187 h 359"/>
              <a:gd name="T52" fmla="*/ 301 w 303"/>
              <a:gd name="T53" fmla="*/ 179 h 359"/>
              <a:gd name="T54" fmla="*/ 297 w 303"/>
              <a:gd name="T55" fmla="*/ 171 h 359"/>
              <a:gd name="T56" fmla="*/ 289 w 303"/>
              <a:gd name="T57" fmla="*/ 167 h 359"/>
              <a:gd name="T58" fmla="*/ 280 w 303"/>
              <a:gd name="T59" fmla="*/ 165 h 359"/>
              <a:gd name="T60" fmla="*/ 88 w 303"/>
              <a:gd name="T61" fmla="*/ 108 h 359"/>
              <a:gd name="T62" fmla="*/ 90 w 303"/>
              <a:gd name="T63" fmla="*/ 95 h 359"/>
              <a:gd name="T64" fmla="*/ 99 w 303"/>
              <a:gd name="T65" fmla="*/ 74 h 359"/>
              <a:gd name="T66" fmla="*/ 115 w 303"/>
              <a:gd name="T67" fmla="*/ 57 h 359"/>
              <a:gd name="T68" fmla="*/ 137 w 303"/>
              <a:gd name="T69" fmla="*/ 48 h 359"/>
              <a:gd name="T70" fmla="*/ 150 w 303"/>
              <a:gd name="T71" fmla="*/ 47 h 359"/>
              <a:gd name="T72" fmla="*/ 174 w 303"/>
              <a:gd name="T73" fmla="*/ 51 h 359"/>
              <a:gd name="T74" fmla="*/ 193 w 303"/>
              <a:gd name="T75" fmla="*/ 65 h 359"/>
              <a:gd name="T76" fmla="*/ 206 w 303"/>
              <a:gd name="T77" fmla="*/ 84 h 359"/>
              <a:gd name="T78" fmla="*/ 211 w 303"/>
              <a:gd name="T79" fmla="*/ 108 h 359"/>
              <a:gd name="T80" fmla="*/ 88 w 303"/>
              <a:gd name="T81" fmla="*/ 165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03" h="359">
                <a:moveTo>
                  <a:pt x="280" y="165"/>
                </a:moveTo>
                <a:lnTo>
                  <a:pt x="257" y="165"/>
                </a:lnTo>
                <a:lnTo>
                  <a:pt x="257" y="108"/>
                </a:lnTo>
                <a:lnTo>
                  <a:pt x="257" y="108"/>
                </a:lnTo>
                <a:lnTo>
                  <a:pt x="257" y="97"/>
                </a:lnTo>
                <a:lnTo>
                  <a:pt x="255" y="86"/>
                </a:lnTo>
                <a:lnTo>
                  <a:pt x="252" y="76"/>
                </a:lnTo>
                <a:lnTo>
                  <a:pt x="248" y="66"/>
                </a:lnTo>
                <a:lnTo>
                  <a:pt x="244" y="56"/>
                </a:lnTo>
                <a:lnTo>
                  <a:pt x="238" y="48"/>
                </a:lnTo>
                <a:lnTo>
                  <a:pt x="233" y="40"/>
                </a:lnTo>
                <a:lnTo>
                  <a:pt x="225" y="33"/>
                </a:lnTo>
                <a:lnTo>
                  <a:pt x="218" y="25"/>
                </a:lnTo>
                <a:lnTo>
                  <a:pt x="209" y="19"/>
                </a:lnTo>
                <a:lnTo>
                  <a:pt x="201" y="13"/>
                </a:lnTo>
                <a:lnTo>
                  <a:pt x="191" y="9"/>
                </a:lnTo>
                <a:lnTo>
                  <a:pt x="181" y="6"/>
                </a:lnTo>
                <a:lnTo>
                  <a:pt x="171" y="3"/>
                </a:lnTo>
                <a:lnTo>
                  <a:pt x="161" y="2"/>
                </a:lnTo>
                <a:lnTo>
                  <a:pt x="150" y="0"/>
                </a:lnTo>
                <a:lnTo>
                  <a:pt x="150" y="0"/>
                </a:lnTo>
                <a:lnTo>
                  <a:pt x="139" y="2"/>
                </a:lnTo>
                <a:lnTo>
                  <a:pt x="128" y="3"/>
                </a:lnTo>
                <a:lnTo>
                  <a:pt x="118" y="6"/>
                </a:lnTo>
                <a:lnTo>
                  <a:pt x="108" y="9"/>
                </a:lnTo>
                <a:lnTo>
                  <a:pt x="98" y="13"/>
                </a:lnTo>
                <a:lnTo>
                  <a:pt x="90" y="19"/>
                </a:lnTo>
                <a:lnTo>
                  <a:pt x="82" y="25"/>
                </a:lnTo>
                <a:lnTo>
                  <a:pt x="74" y="33"/>
                </a:lnTo>
                <a:lnTo>
                  <a:pt x="67" y="40"/>
                </a:lnTo>
                <a:lnTo>
                  <a:pt x="60" y="48"/>
                </a:lnTo>
                <a:lnTo>
                  <a:pt x="55" y="56"/>
                </a:lnTo>
                <a:lnTo>
                  <a:pt x="51" y="66"/>
                </a:lnTo>
                <a:lnTo>
                  <a:pt x="48" y="76"/>
                </a:lnTo>
                <a:lnTo>
                  <a:pt x="44" y="86"/>
                </a:lnTo>
                <a:lnTo>
                  <a:pt x="43" y="97"/>
                </a:lnTo>
                <a:lnTo>
                  <a:pt x="42" y="108"/>
                </a:lnTo>
                <a:lnTo>
                  <a:pt x="42" y="165"/>
                </a:lnTo>
                <a:lnTo>
                  <a:pt x="0" y="165"/>
                </a:lnTo>
                <a:lnTo>
                  <a:pt x="0" y="337"/>
                </a:lnTo>
                <a:lnTo>
                  <a:pt x="0" y="337"/>
                </a:lnTo>
                <a:lnTo>
                  <a:pt x="1" y="341"/>
                </a:lnTo>
                <a:lnTo>
                  <a:pt x="2" y="345"/>
                </a:lnTo>
                <a:lnTo>
                  <a:pt x="4" y="350"/>
                </a:lnTo>
                <a:lnTo>
                  <a:pt x="8" y="353"/>
                </a:lnTo>
                <a:lnTo>
                  <a:pt x="11" y="355"/>
                </a:lnTo>
                <a:lnTo>
                  <a:pt x="14" y="357"/>
                </a:lnTo>
                <a:lnTo>
                  <a:pt x="18" y="359"/>
                </a:lnTo>
                <a:lnTo>
                  <a:pt x="24" y="359"/>
                </a:lnTo>
                <a:lnTo>
                  <a:pt x="303" y="359"/>
                </a:lnTo>
                <a:lnTo>
                  <a:pt x="303" y="187"/>
                </a:lnTo>
                <a:lnTo>
                  <a:pt x="303" y="187"/>
                </a:lnTo>
                <a:lnTo>
                  <a:pt x="302" y="183"/>
                </a:lnTo>
                <a:lnTo>
                  <a:pt x="301" y="179"/>
                </a:lnTo>
                <a:lnTo>
                  <a:pt x="299" y="175"/>
                </a:lnTo>
                <a:lnTo>
                  <a:pt x="297" y="171"/>
                </a:lnTo>
                <a:lnTo>
                  <a:pt x="292" y="169"/>
                </a:lnTo>
                <a:lnTo>
                  <a:pt x="289" y="167"/>
                </a:lnTo>
                <a:lnTo>
                  <a:pt x="285" y="165"/>
                </a:lnTo>
                <a:lnTo>
                  <a:pt x="280" y="165"/>
                </a:lnTo>
                <a:lnTo>
                  <a:pt x="280" y="165"/>
                </a:lnTo>
                <a:close/>
                <a:moveTo>
                  <a:pt x="88" y="108"/>
                </a:moveTo>
                <a:lnTo>
                  <a:pt x="88" y="108"/>
                </a:lnTo>
                <a:lnTo>
                  <a:pt x="90" y="95"/>
                </a:lnTo>
                <a:lnTo>
                  <a:pt x="93" y="84"/>
                </a:lnTo>
                <a:lnTo>
                  <a:pt x="99" y="74"/>
                </a:lnTo>
                <a:lnTo>
                  <a:pt x="107" y="65"/>
                </a:lnTo>
                <a:lnTo>
                  <a:pt x="115" y="57"/>
                </a:lnTo>
                <a:lnTo>
                  <a:pt x="126" y="51"/>
                </a:lnTo>
                <a:lnTo>
                  <a:pt x="137" y="48"/>
                </a:lnTo>
                <a:lnTo>
                  <a:pt x="150" y="47"/>
                </a:lnTo>
                <a:lnTo>
                  <a:pt x="150" y="47"/>
                </a:lnTo>
                <a:lnTo>
                  <a:pt x="162" y="48"/>
                </a:lnTo>
                <a:lnTo>
                  <a:pt x="174" y="51"/>
                </a:lnTo>
                <a:lnTo>
                  <a:pt x="184" y="57"/>
                </a:lnTo>
                <a:lnTo>
                  <a:pt x="193" y="65"/>
                </a:lnTo>
                <a:lnTo>
                  <a:pt x="201" y="74"/>
                </a:lnTo>
                <a:lnTo>
                  <a:pt x="206" y="84"/>
                </a:lnTo>
                <a:lnTo>
                  <a:pt x="209" y="95"/>
                </a:lnTo>
                <a:lnTo>
                  <a:pt x="211" y="108"/>
                </a:lnTo>
                <a:lnTo>
                  <a:pt x="211" y="165"/>
                </a:lnTo>
                <a:lnTo>
                  <a:pt x="88" y="165"/>
                </a:lnTo>
                <a:lnTo>
                  <a:pt x="88" y="108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8" name="Group 87"/>
          <p:cNvGrpSpPr/>
          <p:nvPr/>
        </p:nvGrpSpPr>
        <p:grpSpPr>
          <a:xfrm rot="5400000" flipH="1">
            <a:off x="1359432" y="3036815"/>
            <a:ext cx="4195106" cy="1639480"/>
            <a:chOff x="1013273" y="1065562"/>
            <a:chExt cx="10150996" cy="3487508"/>
          </a:xfrm>
        </p:grpSpPr>
        <p:grpSp>
          <p:nvGrpSpPr>
            <p:cNvPr id="89" name="Group 88"/>
            <p:cNvGrpSpPr/>
            <p:nvPr/>
          </p:nvGrpSpPr>
          <p:grpSpPr>
            <a:xfrm>
              <a:off x="7386242" y="1065562"/>
              <a:ext cx="3778027" cy="3487508"/>
              <a:chOff x="823262" y="2395110"/>
              <a:chExt cx="1914328" cy="2002986"/>
            </a:xfrm>
          </p:grpSpPr>
          <p:sp>
            <p:nvSpPr>
              <p:cNvPr id="118" name="Round Diagonal Corner Rectangle 117"/>
              <p:cNvSpPr/>
              <p:nvPr/>
            </p:nvSpPr>
            <p:spPr>
              <a:xfrm>
                <a:off x="823262" y="2395110"/>
                <a:ext cx="1914328" cy="2002986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grpSp>
            <p:nvGrpSpPr>
              <p:cNvPr id="119" name="Group 118"/>
              <p:cNvGrpSpPr/>
              <p:nvPr/>
            </p:nvGrpSpPr>
            <p:grpSpPr>
              <a:xfrm>
                <a:off x="904258" y="2491861"/>
                <a:ext cx="1752336" cy="1809484"/>
                <a:chOff x="884969" y="2458561"/>
                <a:chExt cx="1752336" cy="1809484"/>
              </a:xfrm>
            </p:grpSpPr>
            <p:grpSp>
              <p:nvGrpSpPr>
                <p:cNvPr id="120" name="Group 119"/>
                <p:cNvGrpSpPr/>
                <p:nvPr/>
              </p:nvGrpSpPr>
              <p:grpSpPr>
                <a:xfrm>
                  <a:off x="884969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1" name="Group 120"/>
                <p:cNvGrpSpPr/>
                <p:nvPr/>
              </p:nvGrpSpPr>
              <p:grpSpPr>
                <a:xfrm>
                  <a:off x="1333755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2" name="Group 121"/>
                <p:cNvGrpSpPr/>
                <p:nvPr/>
              </p:nvGrpSpPr>
              <p:grpSpPr>
                <a:xfrm>
                  <a:off x="1782540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3" name="Group 122"/>
                <p:cNvGrpSpPr/>
                <p:nvPr/>
              </p:nvGrpSpPr>
              <p:grpSpPr>
                <a:xfrm>
                  <a:off x="2231325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4" name="Group 123"/>
                <p:cNvGrpSpPr/>
                <p:nvPr/>
              </p:nvGrpSpPr>
              <p:grpSpPr>
                <a:xfrm>
                  <a:off x="884969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5" name="Group 124"/>
                <p:cNvGrpSpPr/>
                <p:nvPr/>
              </p:nvGrpSpPr>
              <p:grpSpPr>
                <a:xfrm>
                  <a:off x="1333755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6" name="Group 125"/>
                <p:cNvGrpSpPr/>
                <p:nvPr/>
              </p:nvGrpSpPr>
              <p:grpSpPr>
                <a:xfrm>
                  <a:off x="1782540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7" name="Group 126"/>
                <p:cNvGrpSpPr/>
                <p:nvPr/>
              </p:nvGrpSpPr>
              <p:grpSpPr>
                <a:xfrm>
                  <a:off x="2231325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8" name="Group 127"/>
                <p:cNvGrpSpPr/>
                <p:nvPr/>
              </p:nvGrpSpPr>
              <p:grpSpPr>
                <a:xfrm>
                  <a:off x="884969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9" name="Group 128"/>
                <p:cNvGrpSpPr/>
                <p:nvPr/>
              </p:nvGrpSpPr>
              <p:grpSpPr>
                <a:xfrm>
                  <a:off x="1333755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0" name="Group 129"/>
                <p:cNvGrpSpPr/>
                <p:nvPr/>
              </p:nvGrpSpPr>
              <p:grpSpPr>
                <a:xfrm>
                  <a:off x="1782540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1" name="Group 130"/>
                <p:cNvGrpSpPr/>
                <p:nvPr/>
              </p:nvGrpSpPr>
              <p:grpSpPr>
                <a:xfrm>
                  <a:off x="2231325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2" name="Group 131"/>
                <p:cNvGrpSpPr/>
                <p:nvPr/>
              </p:nvGrpSpPr>
              <p:grpSpPr>
                <a:xfrm>
                  <a:off x="884969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3" name="Group 132"/>
                <p:cNvGrpSpPr/>
                <p:nvPr/>
              </p:nvGrpSpPr>
              <p:grpSpPr>
                <a:xfrm>
                  <a:off x="1333755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4" name="Group 133"/>
                <p:cNvGrpSpPr/>
                <p:nvPr/>
              </p:nvGrpSpPr>
              <p:grpSpPr>
                <a:xfrm>
                  <a:off x="1782540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3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3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5" name="Group 134"/>
                <p:cNvGrpSpPr/>
                <p:nvPr/>
              </p:nvGrpSpPr>
              <p:grpSpPr>
                <a:xfrm>
                  <a:off x="2231325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3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3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</p:grpSp>
        </p:grpSp>
        <p:grpSp>
          <p:nvGrpSpPr>
            <p:cNvPr id="90" name="Group 89"/>
            <p:cNvGrpSpPr/>
            <p:nvPr/>
          </p:nvGrpSpPr>
          <p:grpSpPr>
            <a:xfrm>
              <a:off x="1013273" y="1065562"/>
              <a:ext cx="3778027" cy="3487508"/>
              <a:chOff x="1495490" y="1832272"/>
              <a:chExt cx="1914328" cy="2002986"/>
            </a:xfrm>
          </p:grpSpPr>
          <p:sp>
            <p:nvSpPr>
              <p:cNvPr id="96" name="Round Diagonal Corner Rectangle 95"/>
              <p:cNvSpPr/>
              <p:nvPr/>
            </p:nvSpPr>
            <p:spPr>
              <a:xfrm>
                <a:off x="1495490" y="1832272"/>
                <a:ext cx="1914328" cy="2002986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grpSp>
            <p:nvGrpSpPr>
              <p:cNvPr id="97" name="Group 96"/>
              <p:cNvGrpSpPr/>
              <p:nvPr/>
            </p:nvGrpSpPr>
            <p:grpSpPr>
              <a:xfrm>
                <a:off x="1571547" y="1947128"/>
                <a:ext cx="1762214" cy="1773274"/>
                <a:chOff x="1576486" y="1934992"/>
                <a:chExt cx="1762214" cy="1773274"/>
              </a:xfrm>
            </p:grpSpPr>
            <p:grpSp>
              <p:nvGrpSpPr>
                <p:cNvPr id="98" name="Group 97"/>
                <p:cNvGrpSpPr/>
                <p:nvPr/>
              </p:nvGrpSpPr>
              <p:grpSpPr>
                <a:xfrm>
                  <a:off x="1576486" y="1934992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114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5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6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7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99" name="Group 98"/>
                <p:cNvGrpSpPr/>
                <p:nvPr/>
              </p:nvGrpSpPr>
              <p:grpSpPr>
                <a:xfrm>
                  <a:off x="1576486" y="2390757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110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1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2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3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00" name="Group 99"/>
                <p:cNvGrpSpPr/>
                <p:nvPr/>
              </p:nvGrpSpPr>
              <p:grpSpPr>
                <a:xfrm>
                  <a:off x="1576486" y="2846522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106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7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8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9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01" name="Group 100"/>
                <p:cNvGrpSpPr/>
                <p:nvPr/>
              </p:nvGrpSpPr>
              <p:grpSpPr>
                <a:xfrm>
                  <a:off x="1576486" y="3302286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102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3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4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5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</p:grpSp>
        </p:grpSp>
        <p:cxnSp>
          <p:nvCxnSpPr>
            <p:cNvPr id="91" name="Straight Connector 90"/>
            <p:cNvCxnSpPr/>
            <p:nvPr/>
          </p:nvCxnSpPr>
          <p:spPr>
            <a:xfrm>
              <a:off x="4791301" y="2809316"/>
              <a:ext cx="520167" cy="0"/>
            </a:xfrm>
            <a:prstGeom prst="line">
              <a:avLst/>
            </a:prstGeom>
            <a:ln w="5715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/>
            <p:cNvCxnSpPr/>
            <p:nvPr/>
          </p:nvCxnSpPr>
          <p:spPr>
            <a:xfrm>
              <a:off x="6823935" y="2809316"/>
              <a:ext cx="562308" cy="0"/>
            </a:xfrm>
            <a:prstGeom prst="line">
              <a:avLst/>
            </a:prstGeom>
            <a:ln w="5715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3" name="Group 92"/>
            <p:cNvGrpSpPr/>
            <p:nvPr/>
          </p:nvGrpSpPr>
          <p:grpSpPr>
            <a:xfrm>
              <a:off x="5311467" y="2111233"/>
              <a:ext cx="1512467" cy="1396163"/>
              <a:chOff x="3984638" y="1583425"/>
              <a:chExt cx="1134646" cy="1047122"/>
            </a:xfrm>
          </p:grpSpPr>
          <p:sp>
            <p:nvSpPr>
              <p:cNvPr id="94" name="Round Diagonal Corner Rectangle 93"/>
              <p:cNvSpPr/>
              <p:nvPr/>
            </p:nvSpPr>
            <p:spPr>
              <a:xfrm>
                <a:off x="3984638" y="1583425"/>
                <a:ext cx="1134646" cy="1047122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sp>
            <p:nvSpPr>
              <p:cNvPr id="95" name="Freeform 94"/>
              <p:cNvSpPr/>
              <p:nvPr/>
            </p:nvSpPr>
            <p:spPr>
              <a:xfrm>
                <a:off x="4108954" y="1693740"/>
                <a:ext cx="875235" cy="826492"/>
              </a:xfrm>
              <a:custGeom>
                <a:avLst/>
                <a:gdLst>
                  <a:gd name="connsiteX0" fmla="*/ 437712 w 875235"/>
                  <a:gd name="connsiteY0" fmla="*/ 753602 h 826492"/>
                  <a:gd name="connsiteX1" fmla="*/ 414852 w 875235"/>
                  <a:gd name="connsiteY1" fmla="*/ 776462 h 826492"/>
                  <a:gd name="connsiteX2" fmla="*/ 437712 w 875235"/>
                  <a:gd name="connsiteY2" fmla="*/ 799322 h 826492"/>
                  <a:gd name="connsiteX3" fmla="*/ 460572 w 875235"/>
                  <a:gd name="connsiteY3" fmla="*/ 776462 h 826492"/>
                  <a:gd name="connsiteX4" fmla="*/ 437712 w 875235"/>
                  <a:gd name="connsiteY4" fmla="*/ 753602 h 826492"/>
                  <a:gd name="connsiteX5" fmla="*/ 488486 w 875235"/>
                  <a:gd name="connsiteY5" fmla="*/ 726187 h 826492"/>
                  <a:gd name="connsiteX6" fmla="*/ 465626 w 875235"/>
                  <a:gd name="connsiteY6" fmla="*/ 749047 h 826492"/>
                  <a:gd name="connsiteX7" fmla="*/ 488486 w 875235"/>
                  <a:gd name="connsiteY7" fmla="*/ 771907 h 826492"/>
                  <a:gd name="connsiteX8" fmla="*/ 511346 w 875235"/>
                  <a:gd name="connsiteY8" fmla="*/ 749047 h 826492"/>
                  <a:gd name="connsiteX9" fmla="*/ 488486 w 875235"/>
                  <a:gd name="connsiteY9" fmla="*/ 726187 h 826492"/>
                  <a:gd name="connsiteX10" fmla="*/ 386938 w 875235"/>
                  <a:gd name="connsiteY10" fmla="*/ 726187 h 826492"/>
                  <a:gd name="connsiteX11" fmla="*/ 364078 w 875235"/>
                  <a:gd name="connsiteY11" fmla="*/ 749047 h 826492"/>
                  <a:gd name="connsiteX12" fmla="*/ 386938 w 875235"/>
                  <a:gd name="connsiteY12" fmla="*/ 771907 h 826492"/>
                  <a:gd name="connsiteX13" fmla="*/ 409798 w 875235"/>
                  <a:gd name="connsiteY13" fmla="*/ 749047 h 826492"/>
                  <a:gd name="connsiteX14" fmla="*/ 386938 w 875235"/>
                  <a:gd name="connsiteY14" fmla="*/ 726187 h 826492"/>
                  <a:gd name="connsiteX15" fmla="*/ 437712 w 875235"/>
                  <a:gd name="connsiteY15" fmla="*/ 696400 h 826492"/>
                  <a:gd name="connsiteX16" fmla="*/ 414852 w 875235"/>
                  <a:gd name="connsiteY16" fmla="*/ 719260 h 826492"/>
                  <a:gd name="connsiteX17" fmla="*/ 437712 w 875235"/>
                  <a:gd name="connsiteY17" fmla="*/ 742120 h 826492"/>
                  <a:gd name="connsiteX18" fmla="*/ 460572 w 875235"/>
                  <a:gd name="connsiteY18" fmla="*/ 719260 h 826492"/>
                  <a:gd name="connsiteX19" fmla="*/ 437712 w 875235"/>
                  <a:gd name="connsiteY19" fmla="*/ 696400 h 826492"/>
                  <a:gd name="connsiteX20" fmla="*/ 488486 w 875235"/>
                  <a:gd name="connsiteY20" fmla="*/ 665784 h 826492"/>
                  <a:gd name="connsiteX21" fmla="*/ 465626 w 875235"/>
                  <a:gd name="connsiteY21" fmla="*/ 688644 h 826492"/>
                  <a:gd name="connsiteX22" fmla="*/ 488486 w 875235"/>
                  <a:gd name="connsiteY22" fmla="*/ 711504 h 826492"/>
                  <a:gd name="connsiteX23" fmla="*/ 511346 w 875235"/>
                  <a:gd name="connsiteY23" fmla="*/ 688644 h 826492"/>
                  <a:gd name="connsiteX24" fmla="*/ 488486 w 875235"/>
                  <a:gd name="connsiteY24" fmla="*/ 665784 h 826492"/>
                  <a:gd name="connsiteX25" fmla="*/ 386938 w 875235"/>
                  <a:gd name="connsiteY25" fmla="*/ 665784 h 826492"/>
                  <a:gd name="connsiteX26" fmla="*/ 364078 w 875235"/>
                  <a:gd name="connsiteY26" fmla="*/ 688644 h 826492"/>
                  <a:gd name="connsiteX27" fmla="*/ 386938 w 875235"/>
                  <a:gd name="connsiteY27" fmla="*/ 711504 h 826492"/>
                  <a:gd name="connsiteX28" fmla="*/ 409798 w 875235"/>
                  <a:gd name="connsiteY28" fmla="*/ 688644 h 826492"/>
                  <a:gd name="connsiteX29" fmla="*/ 386938 w 875235"/>
                  <a:gd name="connsiteY29" fmla="*/ 665784 h 826492"/>
                  <a:gd name="connsiteX30" fmla="*/ 437712 w 875235"/>
                  <a:gd name="connsiteY30" fmla="*/ 639199 h 826492"/>
                  <a:gd name="connsiteX31" fmla="*/ 414852 w 875235"/>
                  <a:gd name="connsiteY31" fmla="*/ 662059 h 826492"/>
                  <a:gd name="connsiteX32" fmla="*/ 437712 w 875235"/>
                  <a:gd name="connsiteY32" fmla="*/ 684919 h 826492"/>
                  <a:gd name="connsiteX33" fmla="*/ 460572 w 875235"/>
                  <a:gd name="connsiteY33" fmla="*/ 662059 h 826492"/>
                  <a:gd name="connsiteX34" fmla="*/ 437712 w 875235"/>
                  <a:gd name="connsiteY34" fmla="*/ 639199 h 826492"/>
                  <a:gd name="connsiteX35" fmla="*/ 765165 w 875235"/>
                  <a:gd name="connsiteY35" fmla="*/ 449417 h 826492"/>
                  <a:gd name="connsiteX36" fmla="*/ 742305 w 875235"/>
                  <a:gd name="connsiteY36" fmla="*/ 472277 h 826492"/>
                  <a:gd name="connsiteX37" fmla="*/ 765165 w 875235"/>
                  <a:gd name="connsiteY37" fmla="*/ 495137 h 826492"/>
                  <a:gd name="connsiteX38" fmla="*/ 788025 w 875235"/>
                  <a:gd name="connsiteY38" fmla="*/ 472277 h 826492"/>
                  <a:gd name="connsiteX39" fmla="*/ 765165 w 875235"/>
                  <a:gd name="connsiteY39" fmla="*/ 449417 h 826492"/>
                  <a:gd name="connsiteX40" fmla="*/ 437712 w 875235"/>
                  <a:gd name="connsiteY40" fmla="*/ 449417 h 826492"/>
                  <a:gd name="connsiteX41" fmla="*/ 414852 w 875235"/>
                  <a:gd name="connsiteY41" fmla="*/ 472277 h 826492"/>
                  <a:gd name="connsiteX42" fmla="*/ 437712 w 875235"/>
                  <a:gd name="connsiteY42" fmla="*/ 495137 h 826492"/>
                  <a:gd name="connsiteX43" fmla="*/ 460572 w 875235"/>
                  <a:gd name="connsiteY43" fmla="*/ 472277 h 826492"/>
                  <a:gd name="connsiteX44" fmla="*/ 437712 w 875235"/>
                  <a:gd name="connsiteY44" fmla="*/ 449417 h 826492"/>
                  <a:gd name="connsiteX45" fmla="*/ 104693 w 875235"/>
                  <a:gd name="connsiteY45" fmla="*/ 449417 h 826492"/>
                  <a:gd name="connsiteX46" fmla="*/ 81833 w 875235"/>
                  <a:gd name="connsiteY46" fmla="*/ 472277 h 826492"/>
                  <a:gd name="connsiteX47" fmla="*/ 104693 w 875235"/>
                  <a:gd name="connsiteY47" fmla="*/ 495137 h 826492"/>
                  <a:gd name="connsiteX48" fmla="*/ 127553 w 875235"/>
                  <a:gd name="connsiteY48" fmla="*/ 472277 h 826492"/>
                  <a:gd name="connsiteX49" fmla="*/ 104693 w 875235"/>
                  <a:gd name="connsiteY49" fmla="*/ 449417 h 826492"/>
                  <a:gd name="connsiteX50" fmla="*/ 815266 w 875235"/>
                  <a:gd name="connsiteY50" fmla="*/ 425491 h 826492"/>
                  <a:gd name="connsiteX51" fmla="*/ 792406 w 875235"/>
                  <a:gd name="connsiteY51" fmla="*/ 448351 h 826492"/>
                  <a:gd name="connsiteX52" fmla="*/ 815266 w 875235"/>
                  <a:gd name="connsiteY52" fmla="*/ 471211 h 826492"/>
                  <a:gd name="connsiteX53" fmla="*/ 838126 w 875235"/>
                  <a:gd name="connsiteY53" fmla="*/ 448351 h 826492"/>
                  <a:gd name="connsiteX54" fmla="*/ 815266 w 875235"/>
                  <a:gd name="connsiteY54" fmla="*/ 425491 h 826492"/>
                  <a:gd name="connsiteX55" fmla="*/ 713718 w 875235"/>
                  <a:gd name="connsiteY55" fmla="*/ 425491 h 826492"/>
                  <a:gd name="connsiteX56" fmla="*/ 690858 w 875235"/>
                  <a:gd name="connsiteY56" fmla="*/ 448351 h 826492"/>
                  <a:gd name="connsiteX57" fmla="*/ 713718 w 875235"/>
                  <a:gd name="connsiteY57" fmla="*/ 471211 h 826492"/>
                  <a:gd name="connsiteX58" fmla="*/ 736578 w 875235"/>
                  <a:gd name="connsiteY58" fmla="*/ 448351 h 826492"/>
                  <a:gd name="connsiteX59" fmla="*/ 713718 w 875235"/>
                  <a:gd name="connsiteY59" fmla="*/ 425491 h 826492"/>
                  <a:gd name="connsiteX60" fmla="*/ 488486 w 875235"/>
                  <a:gd name="connsiteY60" fmla="*/ 425491 h 826492"/>
                  <a:gd name="connsiteX61" fmla="*/ 465626 w 875235"/>
                  <a:gd name="connsiteY61" fmla="*/ 448351 h 826492"/>
                  <a:gd name="connsiteX62" fmla="*/ 488486 w 875235"/>
                  <a:gd name="connsiteY62" fmla="*/ 471211 h 826492"/>
                  <a:gd name="connsiteX63" fmla="*/ 511346 w 875235"/>
                  <a:gd name="connsiteY63" fmla="*/ 448351 h 826492"/>
                  <a:gd name="connsiteX64" fmla="*/ 488486 w 875235"/>
                  <a:gd name="connsiteY64" fmla="*/ 425491 h 826492"/>
                  <a:gd name="connsiteX65" fmla="*/ 386938 w 875235"/>
                  <a:gd name="connsiteY65" fmla="*/ 425491 h 826492"/>
                  <a:gd name="connsiteX66" fmla="*/ 364078 w 875235"/>
                  <a:gd name="connsiteY66" fmla="*/ 448351 h 826492"/>
                  <a:gd name="connsiteX67" fmla="*/ 386938 w 875235"/>
                  <a:gd name="connsiteY67" fmla="*/ 471211 h 826492"/>
                  <a:gd name="connsiteX68" fmla="*/ 409798 w 875235"/>
                  <a:gd name="connsiteY68" fmla="*/ 448351 h 826492"/>
                  <a:gd name="connsiteX69" fmla="*/ 386938 w 875235"/>
                  <a:gd name="connsiteY69" fmla="*/ 425491 h 826492"/>
                  <a:gd name="connsiteX70" fmla="*/ 160771 w 875235"/>
                  <a:gd name="connsiteY70" fmla="*/ 425491 h 826492"/>
                  <a:gd name="connsiteX71" fmla="*/ 137911 w 875235"/>
                  <a:gd name="connsiteY71" fmla="*/ 448351 h 826492"/>
                  <a:gd name="connsiteX72" fmla="*/ 160771 w 875235"/>
                  <a:gd name="connsiteY72" fmla="*/ 471211 h 826492"/>
                  <a:gd name="connsiteX73" fmla="*/ 183631 w 875235"/>
                  <a:gd name="connsiteY73" fmla="*/ 448351 h 826492"/>
                  <a:gd name="connsiteX74" fmla="*/ 160771 w 875235"/>
                  <a:gd name="connsiteY74" fmla="*/ 425491 h 826492"/>
                  <a:gd name="connsiteX75" fmla="*/ 59223 w 875235"/>
                  <a:gd name="connsiteY75" fmla="*/ 425491 h 826492"/>
                  <a:gd name="connsiteX76" fmla="*/ 36363 w 875235"/>
                  <a:gd name="connsiteY76" fmla="*/ 448351 h 826492"/>
                  <a:gd name="connsiteX77" fmla="*/ 59223 w 875235"/>
                  <a:gd name="connsiteY77" fmla="*/ 471211 h 826492"/>
                  <a:gd name="connsiteX78" fmla="*/ 82083 w 875235"/>
                  <a:gd name="connsiteY78" fmla="*/ 448351 h 826492"/>
                  <a:gd name="connsiteX79" fmla="*/ 59223 w 875235"/>
                  <a:gd name="connsiteY79" fmla="*/ 425491 h 826492"/>
                  <a:gd name="connsiteX80" fmla="*/ 763819 w 875235"/>
                  <a:gd name="connsiteY80" fmla="*/ 393660 h 826492"/>
                  <a:gd name="connsiteX81" fmla="*/ 740959 w 875235"/>
                  <a:gd name="connsiteY81" fmla="*/ 416520 h 826492"/>
                  <a:gd name="connsiteX82" fmla="*/ 763819 w 875235"/>
                  <a:gd name="connsiteY82" fmla="*/ 439380 h 826492"/>
                  <a:gd name="connsiteX83" fmla="*/ 786679 w 875235"/>
                  <a:gd name="connsiteY83" fmla="*/ 416520 h 826492"/>
                  <a:gd name="connsiteX84" fmla="*/ 763819 w 875235"/>
                  <a:gd name="connsiteY84" fmla="*/ 393660 h 826492"/>
                  <a:gd name="connsiteX85" fmla="*/ 437712 w 875235"/>
                  <a:gd name="connsiteY85" fmla="*/ 393660 h 826492"/>
                  <a:gd name="connsiteX86" fmla="*/ 414852 w 875235"/>
                  <a:gd name="connsiteY86" fmla="*/ 416520 h 826492"/>
                  <a:gd name="connsiteX87" fmla="*/ 437712 w 875235"/>
                  <a:gd name="connsiteY87" fmla="*/ 439380 h 826492"/>
                  <a:gd name="connsiteX88" fmla="*/ 460572 w 875235"/>
                  <a:gd name="connsiteY88" fmla="*/ 416520 h 826492"/>
                  <a:gd name="connsiteX89" fmla="*/ 437712 w 875235"/>
                  <a:gd name="connsiteY89" fmla="*/ 393660 h 826492"/>
                  <a:gd name="connsiteX90" fmla="*/ 104266 w 875235"/>
                  <a:gd name="connsiteY90" fmla="*/ 393660 h 826492"/>
                  <a:gd name="connsiteX91" fmla="*/ 81406 w 875235"/>
                  <a:gd name="connsiteY91" fmla="*/ 416520 h 826492"/>
                  <a:gd name="connsiteX92" fmla="*/ 104266 w 875235"/>
                  <a:gd name="connsiteY92" fmla="*/ 439380 h 826492"/>
                  <a:gd name="connsiteX93" fmla="*/ 127126 w 875235"/>
                  <a:gd name="connsiteY93" fmla="*/ 416520 h 826492"/>
                  <a:gd name="connsiteX94" fmla="*/ 104266 w 875235"/>
                  <a:gd name="connsiteY94" fmla="*/ 393660 h 826492"/>
                  <a:gd name="connsiteX95" fmla="*/ 815266 w 875235"/>
                  <a:gd name="connsiteY95" fmla="*/ 365088 h 826492"/>
                  <a:gd name="connsiteX96" fmla="*/ 792406 w 875235"/>
                  <a:gd name="connsiteY96" fmla="*/ 387948 h 826492"/>
                  <a:gd name="connsiteX97" fmla="*/ 815266 w 875235"/>
                  <a:gd name="connsiteY97" fmla="*/ 410808 h 826492"/>
                  <a:gd name="connsiteX98" fmla="*/ 838126 w 875235"/>
                  <a:gd name="connsiteY98" fmla="*/ 387948 h 826492"/>
                  <a:gd name="connsiteX99" fmla="*/ 815266 w 875235"/>
                  <a:gd name="connsiteY99" fmla="*/ 365088 h 826492"/>
                  <a:gd name="connsiteX100" fmla="*/ 713718 w 875235"/>
                  <a:gd name="connsiteY100" fmla="*/ 365088 h 826492"/>
                  <a:gd name="connsiteX101" fmla="*/ 690858 w 875235"/>
                  <a:gd name="connsiteY101" fmla="*/ 387948 h 826492"/>
                  <a:gd name="connsiteX102" fmla="*/ 713718 w 875235"/>
                  <a:gd name="connsiteY102" fmla="*/ 410808 h 826492"/>
                  <a:gd name="connsiteX103" fmla="*/ 736578 w 875235"/>
                  <a:gd name="connsiteY103" fmla="*/ 387948 h 826492"/>
                  <a:gd name="connsiteX104" fmla="*/ 713718 w 875235"/>
                  <a:gd name="connsiteY104" fmla="*/ 365088 h 826492"/>
                  <a:gd name="connsiteX105" fmla="*/ 488486 w 875235"/>
                  <a:gd name="connsiteY105" fmla="*/ 365088 h 826492"/>
                  <a:gd name="connsiteX106" fmla="*/ 465626 w 875235"/>
                  <a:gd name="connsiteY106" fmla="*/ 387948 h 826492"/>
                  <a:gd name="connsiteX107" fmla="*/ 488486 w 875235"/>
                  <a:gd name="connsiteY107" fmla="*/ 410808 h 826492"/>
                  <a:gd name="connsiteX108" fmla="*/ 511346 w 875235"/>
                  <a:gd name="connsiteY108" fmla="*/ 387948 h 826492"/>
                  <a:gd name="connsiteX109" fmla="*/ 488486 w 875235"/>
                  <a:gd name="connsiteY109" fmla="*/ 365088 h 826492"/>
                  <a:gd name="connsiteX110" fmla="*/ 386938 w 875235"/>
                  <a:gd name="connsiteY110" fmla="*/ 365088 h 826492"/>
                  <a:gd name="connsiteX111" fmla="*/ 364078 w 875235"/>
                  <a:gd name="connsiteY111" fmla="*/ 387948 h 826492"/>
                  <a:gd name="connsiteX112" fmla="*/ 386938 w 875235"/>
                  <a:gd name="connsiteY112" fmla="*/ 410808 h 826492"/>
                  <a:gd name="connsiteX113" fmla="*/ 409798 w 875235"/>
                  <a:gd name="connsiteY113" fmla="*/ 387948 h 826492"/>
                  <a:gd name="connsiteX114" fmla="*/ 386938 w 875235"/>
                  <a:gd name="connsiteY114" fmla="*/ 365088 h 826492"/>
                  <a:gd name="connsiteX115" fmla="*/ 160771 w 875235"/>
                  <a:gd name="connsiteY115" fmla="*/ 365088 h 826492"/>
                  <a:gd name="connsiteX116" fmla="*/ 137911 w 875235"/>
                  <a:gd name="connsiteY116" fmla="*/ 387948 h 826492"/>
                  <a:gd name="connsiteX117" fmla="*/ 160771 w 875235"/>
                  <a:gd name="connsiteY117" fmla="*/ 410808 h 826492"/>
                  <a:gd name="connsiteX118" fmla="*/ 183631 w 875235"/>
                  <a:gd name="connsiteY118" fmla="*/ 387948 h 826492"/>
                  <a:gd name="connsiteX119" fmla="*/ 160771 w 875235"/>
                  <a:gd name="connsiteY119" fmla="*/ 365088 h 826492"/>
                  <a:gd name="connsiteX120" fmla="*/ 59223 w 875235"/>
                  <a:gd name="connsiteY120" fmla="*/ 365088 h 826492"/>
                  <a:gd name="connsiteX121" fmla="*/ 36363 w 875235"/>
                  <a:gd name="connsiteY121" fmla="*/ 387948 h 826492"/>
                  <a:gd name="connsiteX122" fmla="*/ 59223 w 875235"/>
                  <a:gd name="connsiteY122" fmla="*/ 410808 h 826492"/>
                  <a:gd name="connsiteX123" fmla="*/ 82083 w 875235"/>
                  <a:gd name="connsiteY123" fmla="*/ 387948 h 826492"/>
                  <a:gd name="connsiteX124" fmla="*/ 59223 w 875235"/>
                  <a:gd name="connsiteY124" fmla="*/ 365088 h 826492"/>
                  <a:gd name="connsiteX125" fmla="*/ 765165 w 875235"/>
                  <a:gd name="connsiteY125" fmla="*/ 335014 h 826492"/>
                  <a:gd name="connsiteX126" fmla="*/ 742305 w 875235"/>
                  <a:gd name="connsiteY126" fmla="*/ 357874 h 826492"/>
                  <a:gd name="connsiteX127" fmla="*/ 765165 w 875235"/>
                  <a:gd name="connsiteY127" fmla="*/ 380734 h 826492"/>
                  <a:gd name="connsiteX128" fmla="*/ 788025 w 875235"/>
                  <a:gd name="connsiteY128" fmla="*/ 357874 h 826492"/>
                  <a:gd name="connsiteX129" fmla="*/ 765165 w 875235"/>
                  <a:gd name="connsiteY129" fmla="*/ 335014 h 826492"/>
                  <a:gd name="connsiteX130" fmla="*/ 437712 w 875235"/>
                  <a:gd name="connsiteY130" fmla="*/ 335014 h 826492"/>
                  <a:gd name="connsiteX131" fmla="*/ 414852 w 875235"/>
                  <a:gd name="connsiteY131" fmla="*/ 357874 h 826492"/>
                  <a:gd name="connsiteX132" fmla="*/ 437712 w 875235"/>
                  <a:gd name="connsiteY132" fmla="*/ 380734 h 826492"/>
                  <a:gd name="connsiteX133" fmla="*/ 460572 w 875235"/>
                  <a:gd name="connsiteY133" fmla="*/ 357874 h 826492"/>
                  <a:gd name="connsiteX134" fmla="*/ 437712 w 875235"/>
                  <a:gd name="connsiteY134" fmla="*/ 335014 h 826492"/>
                  <a:gd name="connsiteX135" fmla="*/ 104693 w 875235"/>
                  <a:gd name="connsiteY135" fmla="*/ 335014 h 826492"/>
                  <a:gd name="connsiteX136" fmla="*/ 81833 w 875235"/>
                  <a:gd name="connsiteY136" fmla="*/ 357874 h 826492"/>
                  <a:gd name="connsiteX137" fmla="*/ 104693 w 875235"/>
                  <a:gd name="connsiteY137" fmla="*/ 380734 h 826492"/>
                  <a:gd name="connsiteX138" fmla="*/ 127553 w 875235"/>
                  <a:gd name="connsiteY138" fmla="*/ 357874 h 826492"/>
                  <a:gd name="connsiteX139" fmla="*/ 104693 w 875235"/>
                  <a:gd name="connsiteY139" fmla="*/ 335014 h 826492"/>
                  <a:gd name="connsiteX140" fmla="*/ 437712 w 875235"/>
                  <a:gd name="connsiteY140" fmla="*/ 138633 h 826492"/>
                  <a:gd name="connsiteX141" fmla="*/ 414852 w 875235"/>
                  <a:gd name="connsiteY141" fmla="*/ 161493 h 826492"/>
                  <a:gd name="connsiteX142" fmla="*/ 437712 w 875235"/>
                  <a:gd name="connsiteY142" fmla="*/ 184353 h 826492"/>
                  <a:gd name="connsiteX143" fmla="*/ 460572 w 875235"/>
                  <a:gd name="connsiteY143" fmla="*/ 161493 h 826492"/>
                  <a:gd name="connsiteX144" fmla="*/ 437712 w 875235"/>
                  <a:gd name="connsiteY144" fmla="*/ 138633 h 826492"/>
                  <a:gd name="connsiteX145" fmla="*/ 488486 w 875235"/>
                  <a:gd name="connsiteY145" fmla="*/ 113932 h 826492"/>
                  <a:gd name="connsiteX146" fmla="*/ 465626 w 875235"/>
                  <a:gd name="connsiteY146" fmla="*/ 136792 h 826492"/>
                  <a:gd name="connsiteX147" fmla="*/ 488486 w 875235"/>
                  <a:gd name="connsiteY147" fmla="*/ 159652 h 826492"/>
                  <a:gd name="connsiteX148" fmla="*/ 511346 w 875235"/>
                  <a:gd name="connsiteY148" fmla="*/ 136792 h 826492"/>
                  <a:gd name="connsiteX149" fmla="*/ 488486 w 875235"/>
                  <a:gd name="connsiteY149" fmla="*/ 113932 h 826492"/>
                  <a:gd name="connsiteX150" fmla="*/ 386938 w 875235"/>
                  <a:gd name="connsiteY150" fmla="*/ 113932 h 826492"/>
                  <a:gd name="connsiteX151" fmla="*/ 364078 w 875235"/>
                  <a:gd name="connsiteY151" fmla="*/ 136792 h 826492"/>
                  <a:gd name="connsiteX152" fmla="*/ 386938 w 875235"/>
                  <a:gd name="connsiteY152" fmla="*/ 159652 h 826492"/>
                  <a:gd name="connsiteX153" fmla="*/ 409798 w 875235"/>
                  <a:gd name="connsiteY153" fmla="*/ 136792 h 826492"/>
                  <a:gd name="connsiteX154" fmla="*/ 386938 w 875235"/>
                  <a:gd name="connsiteY154" fmla="*/ 113932 h 826492"/>
                  <a:gd name="connsiteX155" fmla="*/ 437712 w 875235"/>
                  <a:gd name="connsiteY155" fmla="*/ 81407 h 826492"/>
                  <a:gd name="connsiteX156" fmla="*/ 414852 w 875235"/>
                  <a:gd name="connsiteY156" fmla="*/ 104267 h 826492"/>
                  <a:gd name="connsiteX157" fmla="*/ 437712 w 875235"/>
                  <a:gd name="connsiteY157" fmla="*/ 127127 h 826492"/>
                  <a:gd name="connsiteX158" fmla="*/ 460572 w 875235"/>
                  <a:gd name="connsiteY158" fmla="*/ 104267 h 826492"/>
                  <a:gd name="connsiteX159" fmla="*/ 437712 w 875235"/>
                  <a:gd name="connsiteY159" fmla="*/ 81407 h 826492"/>
                  <a:gd name="connsiteX160" fmla="*/ 488486 w 875235"/>
                  <a:gd name="connsiteY160" fmla="*/ 53529 h 826492"/>
                  <a:gd name="connsiteX161" fmla="*/ 465626 w 875235"/>
                  <a:gd name="connsiteY161" fmla="*/ 76389 h 826492"/>
                  <a:gd name="connsiteX162" fmla="*/ 488486 w 875235"/>
                  <a:gd name="connsiteY162" fmla="*/ 99249 h 826492"/>
                  <a:gd name="connsiteX163" fmla="*/ 511346 w 875235"/>
                  <a:gd name="connsiteY163" fmla="*/ 76389 h 826492"/>
                  <a:gd name="connsiteX164" fmla="*/ 488486 w 875235"/>
                  <a:gd name="connsiteY164" fmla="*/ 53529 h 826492"/>
                  <a:gd name="connsiteX165" fmla="*/ 386938 w 875235"/>
                  <a:gd name="connsiteY165" fmla="*/ 53529 h 826492"/>
                  <a:gd name="connsiteX166" fmla="*/ 364078 w 875235"/>
                  <a:gd name="connsiteY166" fmla="*/ 76389 h 826492"/>
                  <a:gd name="connsiteX167" fmla="*/ 386938 w 875235"/>
                  <a:gd name="connsiteY167" fmla="*/ 99249 h 826492"/>
                  <a:gd name="connsiteX168" fmla="*/ 409798 w 875235"/>
                  <a:gd name="connsiteY168" fmla="*/ 76389 h 826492"/>
                  <a:gd name="connsiteX169" fmla="*/ 386938 w 875235"/>
                  <a:gd name="connsiteY169" fmla="*/ 53529 h 826492"/>
                  <a:gd name="connsiteX170" fmla="*/ 437712 w 875235"/>
                  <a:gd name="connsiteY170" fmla="*/ 24230 h 826492"/>
                  <a:gd name="connsiteX171" fmla="*/ 414852 w 875235"/>
                  <a:gd name="connsiteY171" fmla="*/ 47090 h 826492"/>
                  <a:gd name="connsiteX172" fmla="*/ 437712 w 875235"/>
                  <a:gd name="connsiteY172" fmla="*/ 69950 h 826492"/>
                  <a:gd name="connsiteX173" fmla="*/ 460572 w 875235"/>
                  <a:gd name="connsiteY173" fmla="*/ 47090 h 826492"/>
                  <a:gd name="connsiteX174" fmla="*/ 437712 w 875235"/>
                  <a:gd name="connsiteY174" fmla="*/ 24230 h 826492"/>
                  <a:gd name="connsiteX175" fmla="*/ 437617 w 875235"/>
                  <a:gd name="connsiteY175" fmla="*/ 0 h 826492"/>
                  <a:gd name="connsiteX176" fmla="*/ 545922 w 875235"/>
                  <a:gd name="connsiteY176" fmla="*/ 108305 h 826492"/>
                  <a:gd name="connsiteX177" fmla="*/ 479774 w 875235"/>
                  <a:gd name="connsiteY177" fmla="*/ 208099 h 826492"/>
                  <a:gd name="connsiteX178" fmla="*/ 477170 w 875235"/>
                  <a:gd name="connsiteY178" fmla="*/ 208624 h 826492"/>
                  <a:gd name="connsiteX179" fmla="*/ 477170 w 875235"/>
                  <a:gd name="connsiteY179" fmla="*/ 312925 h 826492"/>
                  <a:gd name="connsiteX180" fmla="*/ 479774 w 875235"/>
                  <a:gd name="connsiteY180" fmla="*/ 313451 h 826492"/>
                  <a:gd name="connsiteX181" fmla="*/ 537411 w 875235"/>
                  <a:gd name="connsiteY181" fmla="*/ 371087 h 826492"/>
                  <a:gd name="connsiteX182" fmla="*/ 537655 w 875235"/>
                  <a:gd name="connsiteY182" fmla="*/ 372297 h 826492"/>
                  <a:gd name="connsiteX183" fmla="*/ 666891 w 875235"/>
                  <a:gd name="connsiteY183" fmla="*/ 372297 h 826492"/>
                  <a:gd name="connsiteX184" fmla="*/ 667135 w 875235"/>
                  <a:gd name="connsiteY184" fmla="*/ 371088 h 826492"/>
                  <a:gd name="connsiteX185" fmla="*/ 766930 w 875235"/>
                  <a:gd name="connsiteY185" fmla="*/ 304940 h 826492"/>
                  <a:gd name="connsiteX186" fmla="*/ 875235 w 875235"/>
                  <a:gd name="connsiteY186" fmla="*/ 413246 h 826492"/>
                  <a:gd name="connsiteX187" fmla="*/ 766930 w 875235"/>
                  <a:gd name="connsiteY187" fmla="*/ 521551 h 826492"/>
                  <a:gd name="connsiteX188" fmla="*/ 667135 w 875235"/>
                  <a:gd name="connsiteY188" fmla="*/ 455403 h 826492"/>
                  <a:gd name="connsiteX189" fmla="*/ 666328 w 875235"/>
                  <a:gd name="connsiteY189" fmla="*/ 451404 h 826492"/>
                  <a:gd name="connsiteX190" fmla="*/ 538218 w 875235"/>
                  <a:gd name="connsiteY190" fmla="*/ 451404 h 826492"/>
                  <a:gd name="connsiteX191" fmla="*/ 537411 w 875235"/>
                  <a:gd name="connsiteY191" fmla="*/ 455402 h 826492"/>
                  <a:gd name="connsiteX192" fmla="*/ 479774 w 875235"/>
                  <a:gd name="connsiteY192" fmla="*/ 513039 h 826492"/>
                  <a:gd name="connsiteX193" fmla="*/ 477170 w 875235"/>
                  <a:gd name="connsiteY193" fmla="*/ 513565 h 826492"/>
                  <a:gd name="connsiteX194" fmla="*/ 477170 w 875235"/>
                  <a:gd name="connsiteY194" fmla="*/ 617868 h 826492"/>
                  <a:gd name="connsiteX195" fmla="*/ 479774 w 875235"/>
                  <a:gd name="connsiteY195" fmla="*/ 618393 h 826492"/>
                  <a:gd name="connsiteX196" fmla="*/ 545922 w 875235"/>
                  <a:gd name="connsiteY196" fmla="*/ 718187 h 826492"/>
                  <a:gd name="connsiteX197" fmla="*/ 437617 w 875235"/>
                  <a:gd name="connsiteY197" fmla="*/ 826492 h 826492"/>
                  <a:gd name="connsiteX198" fmla="*/ 329312 w 875235"/>
                  <a:gd name="connsiteY198" fmla="*/ 718187 h 826492"/>
                  <a:gd name="connsiteX199" fmla="*/ 395460 w 875235"/>
                  <a:gd name="connsiteY199" fmla="*/ 618393 h 826492"/>
                  <a:gd name="connsiteX200" fmla="*/ 398064 w 875235"/>
                  <a:gd name="connsiteY200" fmla="*/ 617868 h 826492"/>
                  <a:gd name="connsiteX201" fmla="*/ 398064 w 875235"/>
                  <a:gd name="connsiteY201" fmla="*/ 513565 h 826492"/>
                  <a:gd name="connsiteX202" fmla="*/ 395460 w 875235"/>
                  <a:gd name="connsiteY202" fmla="*/ 513039 h 826492"/>
                  <a:gd name="connsiteX203" fmla="*/ 337823 w 875235"/>
                  <a:gd name="connsiteY203" fmla="*/ 455402 h 826492"/>
                  <a:gd name="connsiteX204" fmla="*/ 337016 w 875235"/>
                  <a:gd name="connsiteY204" fmla="*/ 451404 h 826492"/>
                  <a:gd name="connsiteX205" fmla="*/ 208906 w 875235"/>
                  <a:gd name="connsiteY205" fmla="*/ 451404 h 826492"/>
                  <a:gd name="connsiteX206" fmla="*/ 208099 w 875235"/>
                  <a:gd name="connsiteY206" fmla="*/ 455403 h 826492"/>
                  <a:gd name="connsiteX207" fmla="*/ 108305 w 875235"/>
                  <a:gd name="connsiteY207" fmla="*/ 521551 h 826492"/>
                  <a:gd name="connsiteX208" fmla="*/ 0 w 875235"/>
                  <a:gd name="connsiteY208" fmla="*/ 413246 h 826492"/>
                  <a:gd name="connsiteX209" fmla="*/ 108305 w 875235"/>
                  <a:gd name="connsiteY209" fmla="*/ 304940 h 826492"/>
                  <a:gd name="connsiteX210" fmla="*/ 208099 w 875235"/>
                  <a:gd name="connsiteY210" fmla="*/ 371088 h 826492"/>
                  <a:gd name="connsiteX211" fmla="*/ 208343 w 875235"/>
                  <a:gd name="connsiteY211" fmla="*/ 372297 h 826492"/>
                  <a:gd name="connsiteX212" fmla="*/ 337579 w 875235"/>
                  <a:gd name="connsiteY212" fmla="*/ 372297 h 826492"/>
                  <a:gd name="connsiteX213" fmla="*/ 337823 w 875235"/>
                  <a:gd name="connsiteY213" fmla="*/ 371087 h 826492"/>
                  <a:gd name="connsiteX214" fmla="*/ 395460 w 875235"/>
                  <a:gd name="connsiteY214" fmla="*/ 313451 h 826492"/>
                  <a:gd name="connsiteX215" fmla="*/ 398064 w 875235"/>
                  <a:gd name="connsiteY215" fmla="*/ 312925 h 826492"/>
                  <a:gd name="connsiteX216" fmla="*/ 398064 w 875235"/>
                  <a:gd name="connsiteY216" fmla="*/ 208624 h 826492"/>
                  <a:gd name="connsiteX217" fmla="*/ 395460 w 875235"/>
                  <a:gd name="connsiteY217" fmla="*/ 208099 h 826492"/>
                  <a:gd name="connsiteX218" fmla="*/ 329312 w 875235"/>
                  <a:gd name="connsiteY218" fmla="*/ 108305 h 826492"/>
                  <a:gd name="connsiteX219" fmla="*/ 437617 w 875235"/>
                  <a:gd name="connsiteY219" fmla="*/ 0 h 826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875235" h="826492">
                    <a:moveTo>
                      <a:pt x="437712" y="753602"/>
                    </a:moveTo>
                    <a:cubicBezTo>
                      <a:pt x="425087" y="753602"/>
                      <a:pt x="414852" y="763837"/>
                      <a:pt x="414852" y="776462"/>
                    </a:cubicBezTo>
                    <a:cubicBezTo>
                      <a:pt x="414852" y="789087"/>
                      <a:pt x="425087" y="799322"/>
                      <a:pt x="437712" y="799322"/>
                    </a:cubicBezTo>
                    <a:cubicBezTo>
                      <a:pt x="450337" y="799322"/>
                      <a:pt x="460572" y="789087"/>
                      <a:pt x="460572" y="776462"/>
                    </a:cubicBezTo>
                    <a:cubicBezTo>
                      <a:pt x="460572" y="763837"/>
                      <a:pt x="450337" y="753602"/>
                      <a:pt x="437712" y="753602"/>
                    </a:cubicBezTo>
                    <a:close/>
                    <a:moveTo>
                      <a:pt x="488486" y="726187"/>
                    </a:moveTo>
                    <a:cubicBezTo>
                      <a:pt x="475861" y="726187"/>
                      <a:pt x="465626" y="736422"/>
                      <a:pt x="465626" y="749047"/>
                    </a:cubicBezTo>
                    <a:cubicBezTo>
                      <a:pt x="465626" y="761672"/>
                      <a:pt x="475861" y="771907"/>
                      <a:pt x="488486" y="771907"/>
                    </a:cubicBezTo>
                    <a:cubicBezTo>
                      <a:pt x="501111" y="771907"/>
                      <a:pt x="511346" y="761672"/>
                      <a:pt x="511346" y="749047"/>
                    </a:cubicBezTo>
                    <a:cubicBezTo>
                      <a:pt x="511346" y="736422"/>
                      <a:pt x="501111" y="726187"/>
                      <a:pt x="488486" y="726187"/>
                    </a:cubicBezTo>
                    <a:close/>
                    <a:moveTo>
                      <a:pt x="386938" y="726187"/>
                    </a:moveTo>
                    <a:cubicBezTo>
                      <a:pt x="374313" y="726187"/>
                      <a:pt x="364078" y="736422"/>
                      <a:pt x="364078" y="749047"/>
                    </a:cubicBezTo>
                    <a:cubicBezTo>
                      <a:pt x="364078" y="761672"/>
                      <a:pt x="374313" y="771907"/>
                      <a:pt x="386938" y="771907"/>
                    </a:cubicBezTo>
                    <a:cubicBezTo>
                      <a:pt x="399563" y="771907"/>
                      <a:pt x="409798" y="761672"/>
                      <a:pt x="409798" y="749047"/>
                    </a:cubicBezTo>
                    <a:cubicBezTo>
                      <a:pt x="409798" y="736422"/>
                      <a:pt x="399563" y="726187"/>
                      <a:pt x="386938" y="726187"/>
                    </a:cubicBezTo>
                    <a:close/>
                    <a:moveTo>
                      <a:pt x="437712" y="696400"/>
                    </a:moveTo>
                    <a:cubicBezTo>
                      <a:pt x="425087" y="696400"/>
                      <a:pt x="414852" y="706635"/>
                      <a:pt x="414852" y="719260"/>
                    </a:cubicBezTo>
                    <a:cubicBezTo>
                      <a:pt x="414852" y="731885"/>
                      <a:pt x="425087" y="742120"/>
                      <a:pt x="437712" y="742120"/>
                    </a:cubicBezTo>
                    <a:cubicBezTo>
                      <a:pt x="450337" y="742120"/>
                      <a:pt x="460572" y="731885"/>
                      <a:pt x="460572" y="719260"/>
                    </a:cubicBezTo>
                    <a:cubicBezTo>
                      <a:pt x="460572" y="706635"/>
                      <a:pt x="450337" y="696400"/>
                      <a:pt x="437712" y="696400"/>
                    </a:cubicBezTo>
                    <a:close/>
                    <a:moveTo>
                      <a:pt x="488486" y="665784"/>
                    </a:moveTo>
                    <a:cubicBezTo>
                      <a:pt x="475861" y="665784"/>
                      <a:pt x="465626" y="676019"/>
                      <a:pt x="465626" y="688644"/>
                    </a:cubicBezTo>
                    <a:cubicBezTo>
                      <a:pt x="465626" y="701269"/>
                      <a:pt x="475861" y="711504"/>
                      <a:pt x="488486" y="711504"/>
                    </a:cubicBezTo>
                    <a:cubicBezTo>
                      <a:pt x="501111" y="711504"/>
                      <a:pt x="511346" y="701269"/>
                      <a:pt x="511346" y="688644"/>
                    </a:cubicBezTo>
                    <a:cubicBezTo>
                      <a:pt x="511346" y="676019"/>
                      <a:pt x="501111" y="665784"/>
                      <a:pt x="488486" y="665784"/>
                    </a:cubicBezTo>
                    <a:close/>
                    <a:moveTo>
                      <a:pt x="386938" y="665784"/>
                    </a:moveTo>
                    <a:cubicBezTo>
                      <a:pt x="374313" y="665784"/>
                      <a:pt x="364078" y="676019"/>
                      <a:pt x="364078" y="688644"/>
                    </a:cubicBezTo>
                    <a:cubicBezTo>
                      <a:pt x="364078" y="701269"/>
                      <a:pt x="374313" y="711504"/>
                      <a:pt x="386938" y="711504"/>
                    </a:cubicBezTo>
                    <a:cubicBezTo>
                      <a:pt x="399563" y="711504"/>
                      <a:pt x="409798" y="701269"/>
                      <a:pt x="409798" y="688644"/>
                    </a:cubicBezTo>
                    <a:cubicBezTo>
                      <a:pt x="409798" y="676019"/>
                      <a:pt x="399563" y="665784"/>
                      <a:pt x="386938" y="665784"/>
                    </a:cubicBezTo>
                    <a:close/>
                    <a:moveTo>
                      <a:pt x="437712" y="639199"/>
                    </a:moveTo>
                    <a:cubicBezTo>
                      <a:pt x="425087" y="639199"/>
                      <a:pt x="414852" y="649434"/>
                      <a:pt x="414852" y="662059"/>
                    </a:cubicBezTo>
                    <a:cubicBezTo>
                      <a:pt x="414852" y="674684"/>
                      <a:pt x="425087" y="684919"/>
                      <a:pt x="437712" y="684919"/>
                    </a:cubicBezTo>
                    <a:cubicBezTo>
                      <a:pt x="450337" y="684919"/>
                      <a:pt x="460572" y="674684"/>
                      <a:pt x="460572" y="662059"/>
                    </a:cubicBezTo>
                    <a:cubicBezTo>
                      <a:pt x="460572" y="649434"/>
                      <a:pt x="450337" y="639199"/>
                      <a:pt x="437712" y="639199"/>
                    </a:cubicBezTo>
                    <a:close/>
                    <a:moveTo>
                      <a:pt x="765165" y="449417"/>
                    </a:moveTo>
                    <a:cubicBezTo>
                      <a:pt x="752540" y="449417"/>
                      <a:pt x="742305" y="459652"/>
                      <a:pt x="742305" y="472277"/>
                    </a:cubicBezTo>
                    <a:cubicBezTo>
                      <a:pt x="742305" y="484902"/>
                      <a:pt x="752540" y="495137"/>
                      <a:pt x="765165" y="495137"/>
                    </a:cubicBezTo>
                    <a:cubicBezTo>
                      <a:pt x="777790" y="495137"/>
                      <a:pt x="788025" y="484902"/>
                      <a:pt x="788025" y="472277"/>
                    </a:cubicBezTo>
                    <a:cubicBezTo>
                      <a:pt x="788025" y="459652"/>
                      <a:pt x="777790" y="449417"/>
                      <a:pt x="765165" y="449417"/>
                    </a:cubicBezTo>
                    <a:close/>
                    <a:moveTo>
                      <a:pt x="437712" y="449417"/>
                    </a:moveTo>
                    <a:cubicBezTo>
                      <a:pt x="425087" y="449417"/>
                      <a:pt x="414852" y="459652"/>
                      <a:pt x="414852" y="472277"/>
                    </a:cubicBezTo>
                    <a:cubicBezTo>
                      <a:pt x="414852" y="484902"/>
                      <a:pt x="425087" y="495137"/>
                      <a:pt x="437712" y="495137"/>
                    </a:cubicBezTo>
                    <a:cubicBezTo>
                      <a:pt x="450337" y="495137"/>
                      <a:pt x="460572" y="484902"/>
                      <a:pt x="460572" y="472277"/>
                    </a:cubicBezTo>
                    <a:cubicBezTo>
                      <a:pt x="460572" y="459652"/>
                      <a:pt x="450337" y="449417"/>
                      <a:pt x="437712" y="449417"/>
                    </a:cubicBezTo>
                    <a:close/>
                    <a:moveTo>
                      <a:pt x="104693" y="449417"/>
                    </a:moveTo>
                    <a:cubicBezTo>
                      <a:pt x="92068" y="449417"/>
                      <a:pt x="81833" y="459652"/>
                      <a:pt x="81833" y="472277"/>
                    </a:cubicBezTo>
                    <a:cubicBezTo>
                      <a:pt x="81833" y="484902"/>
                      <a:pt x="92068" y="495137"/>
                      <a:pt x="104693" y="495137"/>
                    </a:cubicBezTo>
                    <a:cubicBezTo>
                      <a:pt x="117318" y="495137"/>
                      <a:pt x="127553" y="484902"/>
                      <a:pt x="127553" y="472277"/>
                    </a:cubicBezTo>
                    <a:cubicBezTo>
                      <a:pt x="127553" y="459652"/>
                      <a:pt x="117318" y="449417"/>
                      <a:pt x="104693" y="449417"/>
                    </a:cubicBezTo>
                    <a:close/>
                    <a:moveTo>
                      <a:pt x="815266" y="425491"/>
                    </a:moveTo>
                    <a:cubicBezTo>
                      <a:pt x="802641" y="425491"/>
                      <a:pt x="792406" y="435726"/>
                      <a:pt x="792406" y="448351"/>
                    </a:cubicBezTo>
                    <a:cubicBezTo>
                      <a:pt x="792406" y="460976"/>
                      <a:pt x="802641" y="471211"/>
                      <a:pt x="815266" y="471211"/>
                    </a:cubicBezTo>
                    <a:cubicBezTo>
                      <a:pt x="827891" y="471211"/>
                      <a:pt x="838126" y="460976"/>
                      <a:pt x="838126" y="448351"/>
                    </a:cubicBezTo>
                    <a:cubicBezTo>
                      <a:pt x="838126" y="435726"/>
                      <a:pt x="827891" y="425491"/>
                      <a:pt x="815266" y="425491"/>
                    </a:cubicBezTo>
                    <a:close/>
                    <a:moveTo>
                      <a:pt x="713718" y="425491"/>
                    </a:moveTo>
                    <a:cubicBezTo>
                      <a:pt x="701093" y="425491"/>
                      <a:pt x="690858" y="435726"/>
                      <a:pt x="690858" y="448351"/>
                    </a:cubicBezTo>
                    <a:cubicBezTo>
                      <a:pt x="690858" y="460976"/>
                      <a:pt x="701093" y="471211"/>
                      <a:pt x="713718" y="471211"/>
                    </a:cubicBezTo>
                    <a:cubicBezTo>
                      <a:pt x="726343" y="471211"/>
                      <a:pt x="736578" y="460976"/>
                      <a:pt x="736578" y="448351"/>
                    </a:cubicBezTo>
                    <a:cubicBezTo>
                      <a:pt x="736578" y="435726"/>
                      <a:pt x="726343" y="425491"/>
                      <a:pt x="713718" y="425491"/>
                    </a:cubicBezTo>
                    <a:close/>
                    <a:moveTo>
                      <a:pt x="488486" y="425491"/>
                    </a:moveTo>
                    <a:cubicBezTo>
                      <a:pt x="475861" y="425491"/>
                      <a:pt x="465626" y="435726"/>
                      <a:pt x="465626" y="448351"/>
                    </a:cubicBezTo>
                    <a:cubicBezTo>
                      <a:pt x="465626" y="460976"/>
                      <a:pt x="475861" y="471211"/>
                      <a:pt x="488486" y="471211"/>
                    </a:cubicBezTo>
                    <a:cubicBezTo>
                      <a:pt x="501111" y="471211"/>
                      <a:pt x="511346" y="460976"/>
                      <a:pt x="511346" y="448351"/>
                    </a:cubicBezTo>
                    <a:cubicBezTo>
                      <a:pt x="511346" y="435726"/>
                      <a:pt x="501111" y="425491"/>
                      <a:pt x="488486" y="425491"/>
                    </a:cubicBezTo>
                    <a:close/>
                    <a:moveTo>
                      <a:pt x="386938" y="425491"/>
                    </a:moveTo>
                    <a:cubicBezTo>
                      <a:pt x="374313" y="425491"/>
                      <a:pt x="364078" y="435726"/>
                      <a:pt x="364078" y="448351"/>
                    </a:cubicBezTo>
                    <a:cubicBezTo>
                      <a:pt x="364078" y="460976"/>
                      <a:pt x="374313" y="471211"/>
                      <a:pt x="386938" y="471211"/>
                    </a:cubicBezTo>
                    <a:cubicBezTo>
                      <a:pt x="399563" y="471211"/>
                      <a:pt x="409798" y="460976"/>
                      <a:pt x="409798" y="448351"/>
                    </a:cubicBezTo>
                    <a:cubicBezTo>
                      <a:pt x="409798" y="435726"/>
                      <a:pt x="399563" y="425491"/>
                      <a:pt x="386938" y="425491"/>
                    </a:cubicBezTo>
                    <a:close/>
                    <a:moveTo>
                      <a:pt x="160771" y="425491"/>
                    </a:moveTo>
                    <a:cubicBezTo>
                      <a:pt x="148146" y="425491"/>
                      <a:pt x="137911" y="435726"/>
                      <a:pt x="137911" y="448351"/>
                    </a:cubicBezTo>
                    <a:cubicBezTo>
                      <a:pt x="137911" y="460976"/>
                      <a:pt x="148146" y="471211"/>
                      <a:pt x="160771" y="471211"/>
                    </a:cubicBezTo>
                    <a:cubicBezTo>
                      <a:pt x="173396" y="471211"/>
                      <a:pt x="183631" y="460976"/>
                      <a:pt x="183631" y="448351"/>
                    </a:cubicBezTo>
                    <a:cubicBezTo>
                      <a:pt x="183631" y="435726"/>
                      <a:pt x="173396" y="425491"/>
                      <a:pt x="160771" y="425491"/>
                    </a:cubicBezTo>
                    <a:close/>
                    <a:moveTo>
                      <a:pt x="59223" y="425491"/>
                    </a:moveTo>
                    <a:cubicBezTo>
                      <a:pt x="46598" y="425491"/>
                      <a:pt x="36363" y="435726"/>
                      <a:pt x="36363" y="448351"/>
                    </a:cubicBezTo>
                    <a:cubicBezTo>
                      <a:pt x="36363" y="460976"/>
                      <a:pt x="46598" y="471211"/>
                      <a:pt x="59223" y="471211"/>
                    </a:cubicBezTo>
                    <a:cubicBezTo>
                      <a:pt x="71848" y="471211"/>
                      <a:pt x="82083" y="460976"/>
                      <a:pt x="82083" y="448351"/>
                    </a:cubicBezTo>
                    <a:cubicBezTo>
                      <a:pt x="82083" y="435726"/>
                      <a:pt x="71848" y="425491"/>
                      <a:pt x="59223" y="425491"/>
                    </a:cubicBezTo>
                    <a:close/>
                    <a:moveTo>
                      <a:pt x="763819" y="393660"/>
                    </a:moveTo>
                    <a:cubicBezTo>
                      <a:pt x="751194" y="393660"/>
                      <a:pt x="740959" y="403895"/>
                      <a:pt x="740959" y="416520"/>
                    </a:cubicBezTo>
                    <a:cubicBezTo>
                      <a:pt x="740959" y="429145"/>
                      <a:pt x="751194" y="439380"/>
                      <a:pt x="763819" y="439380"/>
                    </a:cubicBezTo>
                    <a:cubicBezTo>
                      <a:pt x="776444" y="439380"/>
                      <a:pt x="786679" y="429145"/>
                      <a:pt x="786679" y="416520"/>
                    </a:cubicBezTo>
                    <a:cubicBezTo>
                      <a:pt x="786679" y="403895"/>
                      <a:pt x="776444" y="393660"/>
                      <a:pt x="763819" y="393660"/>
                    </a:cubicBezTo>
                    <a:close/>
                    <a:moveTo>
                      <a:pt x="437712" y="393660"/>
                    </a:moveTo>
                    <a:cubicBezTo>
                      <a:pt x="425087" y="393660"/>
                      <a:pt x="414852" y="403895"/>
                      <a:pt x="414852" y="416520"/>
                    </a:cubicBezTo>
                    <a:cubicBezTo>
                      <a:pt x="414852" y="429145"/>
                      <a:pt x="425087" y="439380"/>
                      <a:pt x="437712" y="439380"/>
                    </a:cubicBezTo>
                    <a:cubicBezTo>
                      <a:pt x="450337" y="439380"/>
                      <a:pt x="460572" y="429145"/>
                      <a:pt x="460572" y="416520"/>
                    </a:cubicBezTo>
                    <a:cubicBezTo>
                      <a:pt x="460572" y="403895"/>
                      <a:pt x="450337" y="393660"/>
                      <a:pt x="437712" y="393660"/>
                    </a:cubicBezTo>
                    <a:close/>
                    <a:moveTo>
                      <a:pt x="104266" y="393660"/>
                    </a:moveTo>
                    <a:cubicBezTo>
                      <a:pt x="91641" y="393660"/>
                      <a:pt x="81406" y="403895"/>
                      <a:pt x="81406" y="416520"/>
                    </a:cubicBezTo>
                    <a:cubicBezTo>
                      <a:pt x="81406" y="429145"/>
                      <a:pt x="91641" y="439380"/>
                      <a:pt x="104266" y="439380"/>
                    </a:cubicBezTo>
                    <a:cubicBezTo>
                      <a:pt x="116891" y="439380"/>
                      <a:pt x="127126" y="429145"/>
                      <a:pt x="127126" y="416520"/>
                    </a:cubicBezTo>
                    <a:cubicBezTo>
                      <a:pt x="127126" y="403895"/>
                      <a:pt x="116891" y="393660"/>
                      <a:pt x="104266" y="393660"/>
                    </a:cubicBezTo>
                    <a:close/>
                    <a:moveTo>
                      <a:pt x="815266" y="365088"/>
                    </a:moveTo>
                    <a:cubicBezTo>
                      <a:pt x="802641" y="365088"/>
                      <a:pt x="792406" y="375323"/>
                      <a:pt x="792406" y="387948"/>
                    </a:cubicBezTo>
                    <a:cubicBezTo>
                      <a:pt x="792406" y="400573"/>
                      <a:pt x="802641" y="410808"/>
                      <a:pt x="815266" y="410808"/>
                    </a:cubicBezTo>
                    <a:cubicBezTo>
                      <a:pt x="827891" y="410808"/>
                      <a:pt x="838126" y="400573"/>
                      <a:pt x="838126" y="387948"/>
                    </a:cubicBezTo>
                    <a:cubicBezTo>
                      <a:pt x="838126" y="375323"/>
                      <a:pt x="827891" y="365088"/>
                      <a:pt x="815266" y="365088"/>
                    </a:cubicBezTo>
                    <a:close/>
                    <a:moveTo>
                      <a:pt x="713718" y="365088"/>
                    </a:moveTo>
                    <a:cubicBezTo>
                      <a:pt x="701093" y="365088"/>
                      <a:pt x="690858" y="375323"/>
                      <a:pt x="690858" y="387948"/>
                    </a:cubicBezTo>
                    <a:cubicBezTo>
                      <a:pt x="690858" y="400573"/>
                      <a:pt x="701093" y="410808"/>
                      <a:pt x="713718" y="410808"/>
                    </a:cubicBezTo>
                    <a:cubicBezTo>
                      <a:pt x="726343" y="410808"/>
                      <a:pt x="736578" y="400573"/>
                      <a:pt x="736578" y="387948"/>
                    </a:cubicBezTo>
                    <a:cubicBezTo>
                      <a:pt x="736578" y="375323"/>
                      <a:pt x="726343" y="365088"/>
                      <a:pt x="713718" y="365088"/>
                    </a:cubicBezTo>
                    <a:close/>
                    <a:moveTo>
                      <a:pt x="488486" y="365088"/>
                    </a:moveTo>
                    <a:cubicBezTo>
                      <a:pt x="475861" y="365088"/>
                      <a:pt x="465626" y="375323"/>
                      <a:pt x="465626" y="387948"/>
                    </a:cubicBezTo>
                    <a:cubicBezTo>
                      <a:pt x="465626" y="400573"/>
                      <a:pt x="475861" y="410808"/>
                      <a:pt x="488486" y="410808"/>
                    </a:cubicBezTo>
                    <a:cubicBezTo>
                      <a:pt x="501111" y="410808"/>
                      <a:pt x="511346" y="400573"/>
                      <a:pt x="511346" y="387948"/>
                    </a:cubicBezTo>
                    <a:cubicBezTo>
                      <a:pt x="511346" y="375323"/>
                      <a:pt x="501111" y="365088"/>
                      <a:pt x="488486" y="365088"/>
                    </a:cubicBezTo>
                    <a:close/>
                    <a:moveTo>
                      <a:pt x="386938" y="365088"/>
                    </a:moveTo>
                    <a:cubicBezTo>
                      <a:pt x="374313" y="365088"/>
                      <a:pt x="364078" y="375323"/>
                      <a:pt x="364078" y="387948"/>
                    </a:cubicBezTo>
                    <a:cubicBezTo>
                      <a:pt x="364078" y="400573"/>
                      <a:pt x="374313" y="410808"/>
                      <a:pt x="386938" y="410808"/>
                    </a:cubicBezTo>
                    <a:cubicBezTo>
                      <a:pt x="399563" y="410808"/>
                      <a:pt x="409798" y="400573"/>
                      <a:pt x="409798" y="387948"/>
                    </a:cubicBezTo>
                    <a:cubicBezTo>
                      <a:pt x="409798" y="375323"/>
                      <a:pt x="399563" y="365088"/>
                      <a:pt x="386938" y="365088"/>
                    </a:cubicBezTo>
                    <a:close/>
                    <a:moveTo>
                      <a:pt x="160771" y="365088"/>
                    </a:moveTo>
                    <a:cubicBezTo>
                      <a:pt x="148146" y="365088"/>
                      <a:pt x="137911" y="375323"/>
                      <a:pt x="137911" y="387948"/>
                    </a:cubicBezTo>
                    <a:cubicBezTo>
                      <a:pt x="137911" y="400573"/>
                      <a:pt x="148146" y="410808"/>
                      <a:pt x="160771" y="410808"/>
                    </a:cubicBezTo>
                    <a:cubicBezTo>
                      <a:pt x="173396" y="410808"/>
                      <a:pt x="183631" y="400573"/>
                      <a:pt x="183631" y="387948"/>
                    </a:cubicBezTo>
                    <a:cubicBezTo>
                      <a:pt x="183631" y="375323"/>
                      <a:pt x="173396" y="365088"/>
                      <a:pt x="160771" y="365088"/>
                    </a:cubicBezTo>
                    <a:close/>
                    <a:moveTo>
                      <a:pt x="59223" y="365088"/>
                    </a:moveTo>
                    <a:cubicBezTo>
                      <a:pt x="46598" y="365088"/>
                      <a:pt x="36363" y="375323"/>
                      <a:pt x="36363" y="387948"/>
                    </a:cubicBezTo>
                    <a:cubicBezTo>
                      <a:pt x="36363" y="400573"/>
                      <a:pt x="46598" y="410808"/>
                      <a:pt x="59223" y="410808"/>
                    </a:cubicBezTo>
                    <a:cubicBezTo>
                      <a:pt x="71848" y="410808"/>
                      <a:pt x="82083" y="400573"/>
                      <a:pt x="82083" y="387948"/>
                    </a:cubicBezTo>
                    <a:cubicBezTo>
                      <a:pt x="82083" y="375323"/>
                      <a:pt x="71848" y="365088"/>
                      <a:pt x="59223" y="365088"/>
                    </a:cubicBezTo>
                    <a:close/>
                    <a:moveTo>
                      <a:pt x="765165" y="335014"/>
                    </a:moveTo>
                    <a:cubicBezTo>
                      <a:pt x="752540" y="335014"/>
                      <a:pt x="742305" y="345249"/>
                      <a:pt x="742305" y="357874"/>
                    </a:cubicBezTo>
                    <a:cubicBezTo>
                      <a:pt x="742305" y="370499"/>
                      <a:pt x="752540" y="380734"/>
                      <a:pt x="765165" y="380734"/>
                    </a:cubicBezTo>
                    <a:cubicBezTo>
                      <a:pt x="777790" y="380734"/>
                      <a:pt x="788025" y="370499"/>
                      <a:pt x="788025" y="357874"/>
                    </a:cubicBezTo>
                    <a:cubicBezTo>
                      <a:pt x="788025" y="345249"/>
                      <a:pt x="777790" y="335014"/>
                      <a:pt x="765165" y="335014"/>
                    </a:cubicBezTo>
                    <a:close/>
                    <a:moveTo>
                      <a:pt x="437712" y="335014"/>
                    </a:moveTo>
                    <a:cubicBezTo>
                      <a:pt x="425087" y="335014"/>
                      <a:pt x="414852" y="345249"/>
                      <a:pt x="414852" y="357874"/>
                    </a:cubicBezTo>
                    <a:cubicBezTo>
                      <a:pt x="414852" y="370499"/>
                      <a:pt x="425087" y="380734"/>
                      <a:pt x="437712" y="380734"/>
                    </a:cubicBezTo>
                    <a:cubicBezTo>
                      <a:pt x="450337" y="380734"/>
                      <a:pt x="460572" y="370499"/>
                      <a:pt x="460572" y="357874"/>
                    </a:cubicBezTo>
                    <a:cubicBezTo>
                      <a:pt x="460572" y="345249"/>
                      <a:pt x="450337" y="335014"/>
                      <a:pt x="437712" y="335014"/>
                    </a:cubicBezTo>
                    <a:close/>
                    <a:moveTo>
                      <a:pt x="104693" y="335014"/>
                    </a:moveTo>
                    <a:cubicBezTo>
                      <a:pt x="92068" y="335014"/>
                      <a:pt x="81833" y="345249"/>
                      <a:pt x="81833" y="357874"/>
                    </a:cubicBezTo>
                    <a:cubicBezTo>
                      <a:pt x="81833" y="370499"/>
                      <a:pt x="92068" y="380734"/>
                      <a:pt x="104693" y="380734"/>
                    </a:cubicBezTo>
                    <a:cubicBezTo>
                      <a:pt x="117318" y="380734"/>
                      <a:pt x="127553" y="370499"/>
                      <a:pt x="127553" y="357874"/>
                    </a:cubicBezTo>
                    <a:cubicBezTo>
                      <a:pt x="127553" y="345249"/>
                      <a:pt x="117318" y="335014"/>
                      <a:pt x="104693" y="335014"/>
                    </a:cubicBezTo>
                    <a:close/>
                    <a:moveTo>
                      <a:pt x="437712" y="138633"/>
                    </a:moveTo>
                    <a:cubicBezTo>
                      <a:pt x="425087" y="138633"/>
                      <a:pt x="414852" y="148868"/>
                      <a:pt x="414852" y="161493"/>
                    </a:cubicBezTo>
                    <a:cubicBezTo>
                      <a:pt x="414852" y="174118"/>
                      <a:pt x="425087" y="184353"/>
                      <a:pt x="437712" y="184353"/>
                    </a:cubicBezTo>
                    <a:cubicBezTo>
                      <a:pt x="450337" y="184353"/>
                      <a:pt x="460572" y="174118"/>
                      <a:pt x="460572" y="161493"/>
                    </a:cubicBezTo>
                    <a:cubicBezTo>
                      <a:pt x="460572" y="148868"/>
                      <a:pt x="450337" y="138633"/>
                      <a:pt x="437712" y="138633"/>
                    </a:cubicBezTo>
                    <a:close/>
                    <a:moveTo>
                      <a:pt x="488486" y="113932"/>
                    </a:moveTo>
                    <a:cubicBezTo>
                      <a:pt x="475861" y="113932"/>
                      <a:pt x="465626" y="124167"/>
                      <a:pt x="465626" y="136792"/>
                    </a:cubicBezTo>
                    <a:cubicBezTo>
                      <a:pt x="465626" y="149417"/>
                      <a:pt x="475861" y="159652"/>
                      <a:pt x="488486" y="159652"/>
                    </a:cubicBezTo>
                    <a:cubicBezTo>
                      <a:pt x="501111" y="159652"/>
                      <a:pt x="511346" y="149417"/>
                      <a:pt x="511346" y="136792"/>
                    </a:cubicBezTo>
                    <a:cubicBezTo>
                      <a:pt x="511346" y="124167"/>
                      <a:pt x="501111" y="113932"/>
                      <a:pt x="488486" y="113932"/>
                    </a:cubicBezTo>
                    <a:close/>
                    <a:moveTo>
                      <a:pt x="386938" y="113932"/>
                    </a:moveTo>
                    <a:cubicBezTo>
                      <a:pt x="374313" y="113932"/>
                      <a:pt x="364078" y="124167"/>
                      <a:pt x="364078" y="136792"/>
                    </a:cubicBezTo>
                    <a:cubicBezTo>
                      <a:pt x="364078" y="149417"/>
                      <a:pt x="374313" y="159652"/>
                      <a:pt x="386938" y="159652"/>
                    </a:cubicBezTo>
                    <a:cubicBezTo>
                      <a:pt x="399563" y="159652"/>
                      <a:pt x="409798" y="149417"/>
                      <a:pt x="409798" y="136792"/>
                    </a:cubicBezTo>
                    <a:cubicBezTo>
                      <a:pt x="409798" y="124167"/>
                      <a:pt x="399563" y="113932"/>
                      <a:pt x="386938" y="113932"/>
                    </a:cubicBezTo>
                    <a:close/>
                    <a:moveTo>
                      <a:pt x="437712" y="81407"/>
                    </a:moveTo>
                    <a:cubicBezTo>
                      <a:pt x="425087" y="81407"/>
                      <a:pt x="414852" y="91642"/>
                      <a:pt x="414852" y="104267"/>
                    </a:cubicBezTo>
                    <a:cubicBezTo>
                      <a:pt x="414852" y="116892"/>
                      <a:pt x="425087" y="127127"/>
                      <a:pt x="437712" y="127127"/>
                    </a:cubicBezTo>
                    <a:cubicBezTo>
                      <a:pt x="450337" y="127127"/>
                      <a:pt x="460572" y="116892"/>
                      <a:pt x="460572" y="104267"/>
                    </a:cubicBezTo>
                    <a:cubicBezTo>
                      <a:pt x="460572" y="91642"/>
                      <a:pt x="450337" y="81407"/>
                      <a:pt x="437712" y="81407"/>
                    </a:cubicBezTo>
                    <a:close/>
                    <a:moveTo>
                      <a:pt x="488486" y="53529"/>
                    </a:moveTo>
                    <a:cubicBezTo>
                      <a:pt x="475861" y="53529"/>
                      <a:pt x="465626" y="63764"/>
                      <a:pt x="465626" y="76389"/>
                    </a:cubicBezTo>
                    <a:cubicBezTo>
                      <a:pt x="465626" y="89014"/>
                      <a:pt x="475861" y="99249"/>
                      <a:pt x="488486" y="99249"/>
                    </a:cubicBezTo>
                    <a:cubicBezTo>
                      <a:pt x="501111" y="99249"/>
                      <a:pt x="511346" y="89014"/>
                      <a:pt x="511346" y="76389"/>
                    </a:cubicBezTo>
                    <a:cubicBezTo>
                      <a:pt x="511346" y="63764"/>
                      <a:pt x="501111" y="53529"/>
                      <a:pt x="488486" y="53529"/>
                    </a:cubicBezTo>
                    <a:close/>
                    <a:moveTo>
                      <a:pt x="386938" y="53529"/>
                    </a:moveTo>
                    <a:cubicBezTo>
                      <a:pt x="374313" y="53529"/>
                      <a:pt x="364078" y="63764"/>
                      <a:pt x="364078" y="76389"/>
                    </a:cubicBezTo>
                    <a:cubicBezTo>
                      <a:pt x="364078" y="89014"/>
                      <a:pt x="374313" y="99249"/>
                      <a:pt x="386938" y="99249"/>
                    </a:cubicBezTo>
                    <a:cubicBezTo>
                      <a:pt x="399563" y="99249"/>
                      <a:pt x="409798" y="89014"/>
                      <a:pt x="409798" y="76389"/>
                    </a:cubicBezTo>
                    <a:cubicBezTo>
                      <a:pt x="409798" y="63764"/>
                      <a:pt x="399563" y="53529"/>
                      <a:pt x="386938" y="53529"/>
                    </a:cubicBezTo>
                    <a:close/>
                    <a:moveTo>
                      <a:pt x="437712" y="24230"/>
                    </a:moveTo>
                    <a:cubicBezTo>
                      <a:pt x="425087" y="24230"/>
                      <a:pt x="414852" y="34465"/>
                      <a:pt x="414852" y="47090"/>
                    </a:cubicBezTo>
                    <a:cubicBezTo>
                      <a:pt x="414852" y="59715"/>
                      <a:pt x="425087" y="69950"/>
                      <a:pt x="437712" y="69950"/>
                    </a:cubicBezTo>
                    <a:cubicBezTo>
                      <a:pt x="450337" y="69950"/>
                      <a:pt x="460572" y="59715"/>
                      <a:pt x="460572" y="47090"/>
                    </a:cubicBezTo>
                    <a:cubicBezTo>
                      <a:pt x="460572" y="34465"/>
                      <a:pt x="450337" y="24230"/>
                      <a:pt x="437712" y="24230"/>
                    </a:cubicBezTo>
                    <a:close/>
                    <a:moveTo>
                      <a:pt x="437617" y="0"/>
                    </a:moveTo>
                    <a:cubicBezTo>
                      <a:pt x="497432" y="0"/>
                      <a:pt x="545922" y="48490"/>
                      <a:pt x="545922" y="108305"/>
                    </a:cubicBezTo>
                    <a:cubicBezTo>
                      <a:pt x="545922" y="153166"/>
                      <a:pt x="518647" y="191657"/>
                      <a:pt x="479774" y="208099"/>
                    </a:cubicBezTo>
                    <a:lnTo>
                      <a:pt x="477170" y="208624"/>
                    </a:lnTo>
                    <a:lnTo>
                      <a:pt x="477170" y="312925"/>
                    </a:lnTo>
                    <a:lnTo>
                      <a:pt x="479774" y="313451"/>
                    </a:lnTo>
                    <a:cubicBezTo>
                      <a:pt x="505689" y="324412"/>
                      <a:pt x="526449" y="345172"/>
                      <a:pt x="537411" y="371087"/>
                    </a:cubicBezTo>
                    <a:lnTo>
                      <a:pt x="537655" y="372297"/>
                    </a:lnTo>
                    <a:lnTo>
                      <a:pt x="666891" y="372297"/>
                    </a:lnTo>
                    <a:lnTo>
                      <a:pt x="667135" y="371088"/>
                    </a:lnTo>
                    <a:cubicBezTo>
                      <a:pt x="683577" y="332216"/>
                      <a:pt x="722068" y="304940"/>
                      <a:pt x="766930" y="304940"/>
                    </a:cubicBezTo>
                    <a:cubicBezTo>
                      <a:pt x="826745" y="304940"/>
                      <a:pt x="875235" y="353430"/>
                      <a:pt x="875235" y="413246"/>
                    </a:cubicBezTo>
                    <a:cubicBezTo>
                      <a:pt x="875235" y="473061"/>
                      <a:pt x="826745" y="521551"/>
                      <a:pt x="766930" y="521551"/>
                    </a:cubicBezTo>
                    <a:cubicBezTo>
                      <a:pt x="722068" y="521551"/>
                      <a:pt x="683577" y="494276"/>
                      <a:pt x="667135" y="455403"/>
                    </a:cubicBezTo>
                    <a:lnTo>
                      <a:pt x="666328" y="451404"/>
                    </a:lnTo>
                    <a:lnTo>
                      <a:pt x="538218" y="451404"/>
                    </a:lnTo>
                    <a:lnTo>
                      <a:pt x="537411" y="455402"/>
                    </a:lnTo>
                    <a:cubicBezTo>
                      <a:pt x="526449" y="481317"/>
                      <a:pt x="505689" y="502078"/>
                      <a:pt x="479774" y="513039"/>
                    </a:cubicBezTo>
                    <a:lnTo>
                      <a:pt x="477170" y="513565"/>
                    </a:lnTo>
                    <a:lnTo>
                      <a:pt x="477170" y="617868"/>
                    </a:lnTo>
                    <a:lnTo>
                      <a:pt x="479774" y="618393"/>
                    </a:lnTo>
                    <a:cubicBezTo>
                      <a:pt x="518647" y="634835"/>
                      <a:pt x="545922" y="673326"/>
                      <a:pt x="545922" y="718187"/>
                    </a:cubicBezTo>
                    <a:cubicBezTo>
                      <a:pt x="545922" y="778002"/>
                      <a:pt x="497432" y="826492"/>
                      <a:pt x="437617" y="826492"/>
                    </a:cubicBezTo>
                    <a:cubicBezTo>
                      <a:pt x="377802" y="826492"/>
                      <a:pt x="329312" y="778002"/>
                      <a:pt x="329312" y="718187"/>
                    </a:cubicBezTo>
                    <a:cubicBezTo>
                      <a:pt x="329312" y="673326"/>
                      <a:pt x="356588" y="634835"/>
                      <a:pt x="395460" y="618393"/>
                    </a:cubicBezTo>
                    <a:lnTo>
                      <a:pt x="398064" y="617868"/>
                    </a:lnTo>
                    <a:lnTo>
                      <a:pt x="398064" y="513565"/>
                    </a:lnTo>
                    <a:lnTo>
                      <a:pt x="395460" y="513039"/>
                    </a:lnTo>
                    <a:cubicBezTo>
                      <a:pt x="369545" y="502078"/>
                      <a:pt x="348784" y="481317"/>
                      <a:pt x="337823" y="455402"/>
                    </a:cubicBezTo>
                    <a:lnTo>
                      <a:pt x="337016" y="451404"/>
                    </a:lnTo>
                    <a:lnTo>
                      <a:pt x="208906" y="451404"/>
                    </a:lnTo>
                    <a:lnTo>
                      <a:pt x="208099" y="455403"/>
                    </a:lnTo>
                    <a:cubicBezTo>
                      <a:pt x="191657" y="494276"/>
                      <a:pt x="153167" y="521551"/>
                      <a:pt x="108305" y="521551"/>
                    </a:cubicBezTo>
                    <a:cubicBezTo>
                      <a:pt x="48490" y="521551"/>
                      <a:pt x="0" y="473061"/>
                      <a:pt x="0" y="413246"/>
                    </a:cubicBezTo>
                    <a:cubicBezTo>
                      <a:pt x="0" y="353430"/>
                      <a:pt x="48490" y="304940"/>
                      <a:pt x="108305" y="304940"/>
                    </a:cubicBezTo>
                    <a:cubicBezTo>
                      <a:pt x="153167" y="304940"/>
                      <a:pt x="191657" y="332216"/>
                      <a:pt x="208099" y="371088"/>
                    </a:cubicBezTo>
                    <a:lnTo>
                      <a:pt x="208343" y="372297"/>
                    </a:lnTo>
                    <a:lnTo>
                      <a:pt x="337579" y="372297"/>
                    </a:lnTo>
                    <a:lnTo>
                      <a:pt x="337823" y="371087"/>
                    </a:lnTo>
                    <a:cubicBezTo>
                      <a:pt x="348784" y="345172"/>
                      <a:pt x="369545" y="324412"/>
                      <a:pt x="395460" y="313451"/>
                    </a:cubicBezTo>
                    <a:lnTo>
                      <a:pt x="398064" y="312925"/>
                    </a:lnTo>
                    <a:lnTo>
                      <a:pt x="398064" y="208624"/>
                    </a:lnTo>
                    <a:lnTo>
                      <a:pt x="395460" y="208099"/>
                    </a:lnTo>
                    <a:cubicBezTo>
                      <a:pt x="356588" y="191657"/>
                      <a:pt x="329312" y="153166"/>
                      <a:pt x="329312" y="108305"/>
                    </a:cubicBezTo>
                    <a:cubicBezTo>
                      <a:pt x="329312" y="48490"/>
                      <a:pt x="377802" y="0"/>
                      <a:pt x="43761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68" name="Round Diagonal Corner Rectangle 167"/>
          <p:cNvSpPr/>
          <p:nvPr/>
        </p:nvSpPr>
        <p:spPr>
          <a:xfrm flipH="1">
            <a:off x="4636661" y="1759001"/>
            <a:ext cx="4572000" cy="1255594"/>
          </a:xfrm>
          <a:prstGeom prst="round2DiagRect">
            <a:avLst/>
          </a:prstGeom>
          <a:noFill/>
        </p:spPr>
        <p:txBody>
          <a:bodyPr wrap="square" lIns="18288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4000" b="1" dirty="0">
                <a:solidFill>
                  <a:schemeClr val="bg2">
                    <a:lumMod val="50000"/>
                  </a:schemeClr>
                </a:solidFill>
              </a:rPr>
              <a:t>Data at </a:t>
            </a:r>
            <a:r>
              <a:rPr lang="en-US" sz="4000" b="1" dirty="0" smtClean="0">
                <a:solidFill>
                  <a:schemeClr val="bg2">
                    <a:lumMod val="50000"/>
                  </a:schemeClr>
                </a:solidFill>
              </a:rPr>
              <a:t>rest</a:t>
            </a:r>
            <a:endParaRPr lang="hi-IN" sz="4000" b="1" dirty="0" err="1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69" name="Round Diagonal Corner Rectangle 168"/>
          <p:cNvSpPr/>
          <p:nvPr/>
        </p:nvSpPr>
        <p:spPr>
          <a:xfrm flipH="1">
            <a:off x="4636661" y="3251482"/>
            <a:ext cx="4572000" cy="1255594"/>
          </a:xfrm>
          <a:prstGeom prst="round2DiagRect">
            <a:avLst/>
          </a:prstGeom>
          <a:noFill/>
        </p:spPr>
        <p:txBody>
          <a:bodyPr wrap="square" lIns="18288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4000" b="1" dirty="0">
                <a:solidFill>
                  <a:schemeClr val="bg2">
                    <a:lumMod val="50000"/>
                  </a:schemeClr>
                </a:solidFill>
              </a:rPr>
              <a:t>Data in motion</a:t>
            </a:r>
            <a:endParaRPr lang="hi-IN" sz="4000" b="1" dirty="0" err="1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70" name="Round Diagonal Corner Rectangle 169"/>
          <p:cNvSpPr/>
          <p:nvPr/>
        </p:nvSpPr>
        <p:spPr>
          <a:xfrm flipH="1">
            <a:off x="4636661" y="4743964"/>
            <a:ext cx="4572000" cy="1255594"/>
          </a:xfrm>
          <a:prstGeom prst="round2DiagRect">
            <a:avLst/>
          </a:prstGeom>
          <a:noFill/>
        </p:spPr>
        <p:txBody>
          <a:bodyPr wrap="square" lIns="18288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4000" b="1" dirty="0">
                <a:solidFill>
                  <a:schemeClr val="bg2">
                    <a:lumMod val="50000"/>
                  </a:schemeClr>
                </a:solidFill>
              </a:rPr>
              <a:t>Data in use</a:t>
            </a:r>
            <a:endParaRPr lang="hi-IN" sz="4000" b="1" dirty="0" err="1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179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Detect: </a:t>
            </a:r>
            <a:r>
              <a:rPr lang="en-US" dirty="0" smtClean="0"/>
              <a:t>Detect malicious actions</a:t>
            </a:r>
            <a:endParaRPr lang="hi-IN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Some examples  of detection “in The Machine”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3547" y="735095"/>
            <a:ext cx="1205837" cy="243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Content Placeholder 2"/>
          <p:cNvSpPr txBox="1">
            <a:spLocks/>
          </p:cNvSpPr>
          <p:nvPr/>
        </p:nvSpPr>
        <p:spPr>
          <a:xfrm rot="10800000">
            <a:off x="854607" y="2447926"/>
            <a:ext cx="2547777" cy="2181224"/>
          </a:xfrm>
          <a:prstGeom prst="round1Rect">
            <a:avLst/>
          </a:prstGeom>
          <a:solidFill>
            <a:schemeClr val="bg2"/>
          </a:solidFill>
        </p:spPr>
        <p:txBody>
          <a:bodyPr vert="horz" lIns="137160" tIns="1280160" rIns="137160" bIns="13716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 flipH="1">
            <a:off x="3514072" y="2447926"/>
            <a:ext cx="2526084" cy="2181224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2"/>
          </a:solidFill>
        </p:spPr>
        <p:txBody>
          <a:bodyPr vert="horz" lIns="137160" tIns="1280160" rIns="137160" bIns="13716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 smtClean="0">
                <a:solidFill>
                  <a:schemeClr val="accent1"/>
                </a:solidFill>
              </a:rPr>
              <a:t>Detect firmware and </a:t>
            </a:r>
            <a:r>
              <a:rPr lang="en-US" b="1" dirty="0">
                <a:solidFill>
                  <a:schemeClr val="accent1"/>
                </a:solidFill>
              </a:rPr>
              <a:t>kernel tampering</a:t>
            </a: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 flipH="1">
            <a:off x="6151844" y="2447926"/>
            <a:ext cx="2526084" cy="2181224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2"/>
          </a:solidFill>
        </p:spPr>
        <p:txBody>
          <a:bodyPr vert="horz" lIns="137160" tIns="1280160" rIns="137160" bIns="13716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>
                <a:solidFill>
                  <a:schemeClr val="accent1"/>
                </a:solidFill>
              </a:rPr>
              <a:t>Runtime monitoring for malware detection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8789617" y="2447926"/>
            <a:ext cx="2584399" cy="2181224"/>
          </a:xfrm>
          <a:prstGeom prst="round1Rect">
            <a:avLst/>
          </a:prstGeom>
          <a:solidFill>
            <a:schemeClr val="bg2"/>
          </a:solidFill>
        </p:spPr>
        <p:txBody>
          <a:bodyPr vert="horz" lIns="137160" tIns="1280160" rIns="137160" bIns="13716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>
                <a:solidFill>
                  <a:schemeClr val="accent1"/>
                </a:solidFill>
              </a:rPr>
              <a:t>Monitoring for data leakage</a:t>
            </a:r>
          </a:p>
        </p:txBody>
      </p:sp>
      <p:sp>
        <p:nvSpPr>
          <p:cNvPr id="14" name="Freeform 5"/>
          <p:cNvSpPr>
            <a:spLocks noEditPoints="1"/>
          </p:cNvSpPr>
          <p:nvPr/>
        </p:nvSpPr>
        <p:spPr bwMode="auto">
          <a:xfrm>
            <a:off x="9751641" y="2863636"/>
            <a:ext cx="602034" cy="607712"/>
          </a:xfrm>
          <a:custGeom>
            <a:avLst/>
            <a:gdLst>
              <a:gd name="T0" fmla="*/ 426 w 426"/>
              <a:gd name="T1" fmla="*/ 138 h 426"/>
              <a:gd name="T2" fmla="*/ 426 w 426"/>
              <a:gd name="T3" fmla="*/ 138 h 426"/>
              <a:gd name="T4" fmla="*/ 425 w 426"/>
              <a:gd name="T5" fmla="*/ 131 h 426"/>
              <a:gd name="T6" fmla="*/ 424 w 426"/>
              <a:gd name="T7" fmla="*/ 126 h 426"/>
              <a:gd name="T8" fmla="*/ 420 w 426"/>
              <a:gd name="T9" fmla="*/ 120 h 426"/>
              <a:gd name="T10" fmla="*/ 416 w 426"/>
              <a:gd name="T11" fmla="*/ 116 h 426"/>
              <a:gd name="T12" fmla="*/ 412 w 426"/>
              <a:gd name="T13" fmla="*/ 112 h 426"/>
              <a:gd name="T14" fmla="*/ 407 w 426"/>
              <a:gd name="T15" fmla="*/ 108 h 426"/>
              <a:gd name="T16" fmla="*/ 401 w 426"/>
              <a:gd name="T17" fmla="*/ 107 h 426"/>
              <a:gd name="T18" fmla="*/ 395 w 426"/>
              <a:gd name="T19" fmla="*/ 106 h 426"/>
              <a:gd name="T20" fmla="*/ 395 w 426"/>
              <a:gd name="T21" fmla="*/ 106 h 426"/>
              <a:gd name="T22" fmla="*/ 394 w 426"/>
              <a:gd name="T23" fmla="*/ 106 h 426"/>
              <a:gd name="T24" fmla="*/ 394 w 426"/>
              <a:gd name="T25" fmla="*/ 106 h 426"/>
              <a:gd name="T26" fmla="*/ 394 w 426"/>
              <a:gd name="T27" fmla="*/ 106 h 426"/>
              <a:gd name="T28" fmla="*/ 319 w 426"/>
              <a:gd name="T29" fmla="*/ 106 h 426"/>
              <a:gd name="T30" fmla="*/ 319 w 426"/>
              <a:gd name="T31" fmla="*/ 213 h 426"/>
              <a:gd name="T32" fmla="*/ 213 w 426"/>
              <a:gd name="T33" fmla="*/ 213 h 426"/>
              <a:gd name="T34" fmla="*/ 213 w 426"/>
              <a:gd name="T35" fmla="*/ 106 h 426"/>
              <a:gd name="T36" fmla="*/ 107 w 426"/>
              <a:gd name="T37" fmla="*/ 106 h 426"/>
              <a:gd name="T38" fmla="*/ 107 w 426"/>
              <a:gd name="T39" fmla="*/ 213 h 426"/>
              <a:gd name="T40" fmla="*/ 213 w 426"/>
              <a:gd name="T41" fmla="*/ 213 h 426"/>
              <a:gd name="T42" fmla="*/ 213 w 426"/>
              <a:gd name="T43" fmla="*/ 320 h 426"/>
              <a:gd name="T44" fmla="*/ 107 w 426"/>
              <a:gd name="T45" fmla="*/ 320 h 426"/>
              <a:gd name="T46" fmla="*/ 107 w 426"/>
              <a:gd name="T47" fmla="*/ 393 h 426"/>
              <a:gd name="T48" fmla="*/ 107 w 426"/>
              <a:gd name="T49" fmla="*/ 393 h 426"/>
              <a:gd name="T50" fmla="*/ 107 w 426"/>
              <a:gd name="T51" fmla="*/ 394 h 426"/>
              <a:gd name="T52" fmla="*/ 107 w 426"/>
              <a:gd name="T53" fmla="*/ 394 h 426"/>
              <a:gd name="T54" fmla="*/ 107 w 426"/>
              <a:gd name="T55" fmla="*/ 396 h 426"/>
              <a:gd name="T56" fmla="*/ 107 w 426"/>
              <a:gd name="T57" fmla="*/ 396 h 426"/>
              <a:gd name="T58" fmla="*/ 108 w 426"/>
              <a:gd name="T59" fmla="*/ 402 h 426"/>
              <a:gd name="T60" fmla="*/ 110 w 426"/>
              <a:gd name="T61" fmla="*/ 408 h 426"/>
              <a:gd name="T62" fmla="*/ 112 w 426"/>
              <a:gd name="T63" fmla="*/ 412 h 426"/>
              <a:gd name="T64" fmla="*/ 116 w 426"/>
              <a:gd name="T65" fmla="*/ 417 h 426"/>
              <a:gd name="T66" fmla="*/ 121 w 426"/>
              <a:gd name="T67" fmla="*/ 421 h 426"/>
              <a:gd name="T68" fmla="*/ 125 w 426"/>
              <a:gd name="T69" fmla="*/ 423 h 426"/>
              <a:gd name="T70" fmla="*/ 131 w 426"/>
              <a:gd name="T71" fmla="*/ 425 h 426"/>
              <a:gd name="T72" fmla="*/ 137 w 426"/>
              <a:gd name="T73" fmla="*/ 426 h 426"/>
              <a:gd name="T74" fmla="*/ 137 w 426"/>
              <a:gd name="T75" fmla="*/ 426 h 426"/>
              <a:gd name="T76" fmla="*/ 139 w 426"/>
              <a:gd name="T77" fmla="*/ 426 h 426"/>
              <a:gd name="T78" fmla="*/ 139 w 426"/>
              <a:gd name="T79" fmla="*/ 426 h 426"/>
              <a:gd name="T80" fmla="*/ 140 w 426"/>
              <a:gd name="T81" fmla="*/ 426 h 426"/>
              <a:gd name="T82" fmla="*/ 426 w 426"/>
              <a:gd name="T83" fmla="*/ 426 h 426"/>
              <a:gd name="T84" fmla="*/ 426 w 426"/>
              <a:gd name="T85" fmla="*/ 139 h 426"/>
              <a:gd name="T86" fmla="*/ 426 w 426"/>
              <a:gd name="T87" fmla="*/ 139 h 426"/>
              <a:gd name="T88" fmla="*/ 426 w 426"/>
              <a:gd name="T89" fmla="*/ 139 h 426"/>
              <a:gd name="T90" fmla="*/ 426 w 426"/>
              <a:gd name="T91" fmla="*/ 139 h 426"/>
              <a:gd name="T92" fmla="*/ 426 w 426"/>
              <a:gd name="T93" fmla="*/ 138 h 426"/>
              <a:gd name="T94" fmla="*/ 426 w 426"/>
              <a:gd name="T95" fmla="*/ 138 h 426"/>
              <a:gd name="T96" fmla="*/ 107 w 426"/>
              <a:gd name="T97" fmla="*/ 213 h 426"/>
              <a:gd name="T98" fmla="*/ 0 w 426"/>
              <a:gd name="T99" fmla="*/ 213 h 426"/>
              <a:gd name="T100" fmla="*/ 0 w 426"/>
              <a:gd name="T101" fmla="*/ 320 h 426"/>
              <a:gd name="T102" fmla="*/ 107 w 426"/>
              <a:gd name="T103" fmla="*/ 320 h 426"/>
              <a:gd name="T104" fmla="*/ 107 w 426"/>
              <a:gd name="T105" fmla="*/ 213 h 426"/>
              <a:gd name="T106" fmla="*/ 0 w 426"/>
              <a:gd name="T107" fmla="*/ 0 h 426"/>
              <a:gd name="T108" fmla="*/ 0 w 426"/>
              <a:gd name="T109" fmla="*/ 106 h 426"/>
              <a:gd name="T110" fmla="*/ 107 w 426"/>
              <a:gd name="T111" fmla="*/ 106 h 426"/>
              <a:gd name="T112" fmla="*/ 107 w 426"/>
              <a:gd name="T113" fmla="*/ 0 h 426"/>
              <a:gd name="T114" fmla="*/ 0 w 426"/>
              <a:gd name="T115" fmla="*/ 0 h 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26" h="426">
                <a:moveTo>
                  <a:pt x="426" y="138"/>
                </a:moveTo>
                <a:lnTo>
                  <a:pt x="426" y="138"/>
                </a:lnTo>
                <a:lnTo>
                  <a:pt x="425" y="131"/>
                </a:lnTo>
                <a:lnTo>
                  <a:pt x="424" y="126"/>
                </a:lnTo>
                <a:lnTo>
                  <a:pt x="420" y="120"/>
                </a:lnTo>
                <a:lnTo>
                  <a:pt x="416" y="116"/>
                </a:lnTo>
                <a:lnTo>
                  <a:pt x="412" y="112"/>
                </a:lnTo>
                <a:lnTo>
                  <a:pt x="407" y="108"/>
                </a:lnTo>
                <a:lnTo>
                  <a:pt x="401" y="107"/>
                </a:lnTo>
                <a:lnTo>
                  <a:pt x="395" y="106"/>
                </a:lnTo>
                <a:lnTo>
                  <a:pt x="395" y="106"/>
                </a:lnTo>
                <a:lnTo>
                  <a:pt x="394" y="106"/>
                </a:lnTo>
                <a:lnTo>
                  <a:pt x="394" y="106"/>
                </a:lnTo>
                <a:lnTo>
                  <a:pt x="394" y="106"/>
                </a:lnTo>
                <a:lnTo>
                  <a:pt x="319" y="106"/>
                </a:lnTo>
                <a:lnTo>
                  <a:pt x="319" y="213"/>
                </a:lnTo>
                <a:lnTo>
                  <a:pt x="213" y="213"/>
                </a:lnTo>
                <a:lnTo>
                  <a:pt x="213" y="106"/>
                </a:lnTo>
                <a:lnTo>
                  <a:pt x="107" y="106"/>
                </a:lnTo>
                <a:lnTo>
                  <a:pt x="107" y="213"/>
                </a:lnTo>
                <a:lnTo>
                  <a:pt x="213" y="213"/>
                </a:lnTo>
                <a:lnTo>
                  <a:pt x="213" y="320"/>
                </a:lnTo>
                <a:lnTo>
                  <a:pt x="107" y="320"/>
                </a:lnTo>
                <a:lnTo>
                  <a:pt x="107" y="393"/>
                </a:lnTo>
                <a:lnTo>
                  <a:pt x="107" y="393"/>
                </a:lnTo>
                <a:lnTo>
                  <a:pt x="107" y="394"/>
                </a:lnTo>
                <a:lnTo>
                  <a:pt x="107" y="394"/>
                </a:lnTo>
                <a:lnTo>
                  <a:pt x="107" y="396"/>
                </a:lnTo>
                <a:lnTo>
                  <a:pt x="107" y="396"/>
                </a:lnTo>
                <a:lnTo>
                  <a:pt x="108" y="402"/>
                </a:lnTo>
                <a:lnTo>
                  <a:pt x="110" y="408"/>
                </a:lnTo>
                <a:lnTo>
                  <a:pt x="112" y="412"/>
                </a:lnTo>
                <a:lnTo>
                  <a:pt x="116" y="417"/>
                </a:lnTo>
                <a:lnTo>
                  <a:pt x="121" y="421"/>
                </a:lnTo>
                <a:lnTo>
                  <a:pt x="125" y="423"/>
                </a:lnTo>
                <a:lnTo>
                  <a:pt x="131" y="425"/>
                </a:lnTo>
                <a:lnTo>
                  <a:pt x="137" y="426"/>
                </a:lnTo>
                <a:lnTo>
                  <a:pt x="137" y="426"/>
                </a:lnTo>
                <a:lnTo>
                  <a:pt x="139" y="426"/>
                </a:lnTo>
                <a:lnTo>
                  <a:pt x="139" y="426"/>
                </a:lnTo>
                <a:lnTo>
                  <a:pt x="140" y="426"/>
                </a:lnTo>
                <a:lnTo>
                  <a:pt x="426" y="426"/>
                </a:lnTo>
                <a:lnTo>
                  <a:pt x="426" y="139"/>
                </a:lnTo>
                <a:lnTo>
                  <a:pt x="426" y="139"/>
                </a:lnTo>
                <a:lnTo>
                  <a:pt x="426" y="139"/>
                </a:lnTo>
                <a:lnTo>
                  <a:pt x="426" y="139"/>
                </a:lnTo>
                <a:lnTo>
                  <a:pt x="426" y="138"/>
                </a:lnTo>
                <a:lnTo>
                  <a:pt x="426" y="138"/>
                </a:lnTo>
                <a:close/>
                <a:moveTo>
                  <a:pt x="107" y="213"/>
                </a:moveTo>
                <a:lnTo>
                  <a:pt x="0" y="213"/>
                </a:lnTo>
                <a:lnTo>
                  <a:pt x="0" y="320"/>
                </a:lnTo>
                <a:lnTo>
                  <a:pt x="107" y="320"/>
                </a:lnTo>
                <a:lnTo>
                  <a:pt x="107" y="213"/>
                </a:lnTo>
                <a:close/>
                <a:moveTo>
                  <a:pt x="0" y="0"/>
                </a:moveTo>
                <a:lnTo>
                  <a:pt x="0" y="106"/>
                </a:lnTo>
                <a:lnTo>
                  <a:pt x="107" y="106"/>
                </a:lnTo>
                <a:lnTo>
                  <a:pt x="107" y="0"/>
                </a:lnTo>
                <a:lnTo>
                  <a:pt x="0" y="0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5" name="Group 4"/>
          <p:cNvGrpSpPr>
            <a:grpSpLocks noChangeAspect="1"/>
          </p:cNvGrpSpPr>
          <p:nvPr/>
        </p:nvGrpSpPr>
        <p:grpSpPr bwMode="auto">
          <a:xfrm>
            <a:off x="7002181" y="2787882"/>
            <a:ext cx="825410" cy="759220"/>
            <a:chOff x="3036" y="1185"/>
            <a:chExt cx="212" cy="195"/>
          </a:xfrm>
        </p:grpSpPr>
        <p:sp>
          <p:nvSpPr>
            <p:cNvPr id="16" name="Freeform 5"/>
            <p:cNvSpPr>
              <a:spLocks noEditPoints="1"/>
            </p:cNvSpPr>
            <p:nvPr/>
          </p:nvSpPr>
          <p:spPr bwMode="auto">
            <a:xfrm>
              <a:off x="3036" y="1185"/>
              <a:ext cx="196" cy="195"/>
            </a:xfrm>
            <a:custGeom>
              <a:avLst/>
              <a:gdLst>
                <a:gd name="T0" fmla="*/ 137 w 390"/>
                <a:gd name="T1" fmla="*/ 11 h 391"/>
                <a:gd name="T2" fmla="*/ 83 w 390"/>
                <a:gd name="T3" fmla="*/ 1 h 391"/>
                <a:gd name="T4" fmla="*/ 106 w 390"/>
                <a:gd name="T5" fmla="*/ 58 h 391"/>
                <a:gd name="T6" fmla="*/ 116 w 390"/>
                <a:gd name="T7" fmla="*/ 82 h 391"/>
                <a:gd name="T8" fmla="*/ 106 w 390"/>
                <a:gd name="T9" fmla="*/ 107 h 391"/>
                <a:gd name="T10" fmla="*/ 89 w 390"/>
                <a:gd name="T11" fmla="*/ 116 h 391"/>
                <a:gd name="T12" fmla="*/ 63 w 390"/>
                <a:gd name="T13" fmla="*/ 111 h 391"/>
                <a:gd name="T14" fmla="*/ 3 w 390"/>
                <a:gd name="T15" fmla="*/ 70 h 391"/>
                <a:gd name="T16" fmla="*/ 4 w 390"/>
                <a:gd name="T17" fmla="*/ 124 h 391"/>
                <a:gd name="T18" fmla="*/ 27 w 390"/>
                <a:gd name="T19" fmla="*/ 161 h 391"/>
                <a:gd name="T20" fmla="*/ 69 w 390"/>
                <a:gd name="T21" fmla="*/ 186 h 391"/>
                <a:gd name="T22" fmla="*/ 117 w 390"/>
                <a:gd name="T23" fmla="*/ 186 h 391"/>
                <a:gd name="T24" fmla="*/ 159 w 390"/>
                <a:gd name="T25" fmla="*/ 206 h 391"/>
                <a:gd name="T26" fmla="*/ 155 w 390"/>
                <a:gd name="T27" fmla="*/ 203 h 391"/>
                <a:gd name="T28" fmla="*/ 148 w 390"/>
                <a:gd name="T29" fmla="*/ 196 h 391"/>
                <a:gd name="T30" fmla="*/ 143 w 390"/>
                <a:gd name="T31" fmla="*/ 178 h 391"/>
                <a:gd name="T32" fmla="*/ 151 w 390"/>
                <a:gd name="T33" fmla="*/ 150 h 391"/>
                <a:gd name="T34" fmla="*/ 164 w 390"/>
                <a:gd name="T35" fmla="*/ 138 h 391"/>
                <a:gd name="T36" fmla="*/ 186 w 390"/>
                <a:gd name="T37" fmla="*/ 117 h 391"/>
                <a:gd name="T38" fmla="*/ 187 w 390"/>
                <a:gd name="T39" fmla="*/ 81 h 391"/>
                <a:gd name="T40" fmla="*/ 169 w 390"/>
                <a:gd name="T41" fmla="*/ 38 h 391"/>
                <a:gd name="T42" fmla="*/ 256 w 390"/>
                <a:gd name="T43" fmla="*/ 187 h 391"/>
                <a:gd name="T44" fmla="*/ 207 w 390"/>
                <a:gd name="T45" fmla="*/ 206 h 391"/>
                <a:gd name="T46" fmla="*/ 202 w 390"/>
                <a:gd name="T47" fmla="*/ 210 h 391"/>
                <a:gd name="T48" fmla="*/ 208 w 390"/>
                <a:gd name="T49" fmla="*/ 215 h 391"/>
                <a:gd name="T50" fmla="*/ 215 w 390"/>
                <a:gd name="T51" fmla="*/ 219 h 391"/>
                <a:gd name="T52" fmla="*/ 241 w 390"/>
                <a:gd name="T53" fmla="*/ 230 h 391"/>
                <a:gd name="T54" fmla="*/ 251 w 390"/>
                <a:gd name="T55" fmla="*/ 247 h 391"/>
                <a:gd name="T56" fmla="*/ 266 w 390"/>
                <a:gd name="T57" fmla="*/ 261 h 391"/>
                <a:gd name="T58" fmla="*/ 276 w 390"/>
                <a:gd name="T59" fmla="*/ 282 h 391"/>
                <a:gd name="T60" fmla="*/ 281 w 390"/>
                <a:gd name="T61" fmla="*/ 294 h 391"/>
                <a:gd name="T62" fmla="*/ 294 w 390"/>
                <a:gd name="T63" fmla="*/ 319 h 391"/>
                <a:gd name="T64" fmla="*/ 290 w 390"/>
                <a:gd name="T65" fmla="*/ 338 h 391"/>
                <a:gd name="T66" fmla="*/ 307 w 390"/>
                <a:gd name="T67" fmla="*/ 376 h 391"/>
                <a:gd name="T68" fmla="*/ 342 w 390"/>
                <a:gd name="T69" fmla="*/ 391 h 391"/>
                <a:gd name="T70" fmla="*/ 368 w 390"/>
                <a:gd name="T71" fmla="*/ 382 h 391"/>
                <a:gd name="T72" fmla="*/ 386 w 390"/>
                <a:gd name="T73" fmla="*/ 361 h 391"/>
                <a:gd name="T74" fmla="*/ 386 w 390"/>
                <a:gd name="T75" fmla="*/ 323 h 391"/>
                <a:gd name="T76" fmla="*/ 357 w 390"/>
                <a:gd name="T77" fmla="*/ 356 h 391"/>
                <a:gd name="T78" fmla="*/ 345 w 390"/>
                <a:gd name="T79" fmla="*/ 363 h 391"/>
                <a:gd name="T80" fmla="*/ 330 w 390"/>
                <a:gd name="T81" fmla="*/ 360 h 391"/>
                <a:gd name="T82" fmla="*/ 321 w 390"/>
                <a:gd name="T83" fmla="*/ 350 h 391"/>
                <a:gd name="T84" fmla="*/ 321 w 390"/>
                <a:gd name="T85" fmla="*/ 334 h 391"/>
                <a:gd name="T86" fmla="*/ 330 w 390"/>
                <a:gd name="T87" fmla="*/ 324 h 391"/>
                <a:gd name="T88" fmla="*/ 345 w 390"/>
                <a:gd name="T89" fmla="*/ 321 h 391"/>
                <a:gd name="T90" fmla="*/ 357 w 390"/>
                <a:gd name="T91" fmla="*/ 326 h 391"/>
                <a:gd name="T92" fmla="*/ 362 w 390"/>
                <a:gd name="T93" fmla="*/ 341 h 391"/>
                <a:gd name="T94" fmla="*/ 357 w 390"/>
                <a:gd name="T95" fmla="*/ 35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90" h="391">
                  <a:moveTo>
                    <a:pt x="161" y="28"/>
                  </a:moveTo>
                  <a:lnTo>
                    <a:pt x="161" y="28"/>
                  </a:lnTo>
                  <a:lnTo>
                    <a:pt x="149" y="18"/>
                  </a:lnTo>
                  <a:lnTo>
                    <a:pt x="137" y="11"/>
                  </a:lnTo>
                  <a:lnTo>
                    <a:pt x="124" y="6"/>
                  </a:lnTo>
                  <a:lnTo>
                    <a:pt x="110" y="2"/>
                  </a:lnTo>
                  <a:lnTo>
                    <a:pt x="97" y="0"/>
                  </a:lnTo>
                  <a:lnTo>
                    <a:pt x="83" y="1"/>
                  </a:lnTo>
                  <a:lnTo>
                    <a:pt x="69" y="3"/>
                  </a:lnTo>
                  <a:lnTo>
                    <a:pt x="56" y="9"/>
                  </a:lnTo>
                  <a:lnTo>
                    <a:pt x="106" y="58"/>
                  </a:lnTo>
                  <a:lnTo>
                    <a:pt x="106" y="58"/>
                  </a:lnTo>
                  <a:lnTo>
                    <a:pt x="110" y="64"/>
                  </a:lnTo>
                  <a:lnTo>
                    <a:pt x="114" y="69"/>
                  </a:lnTo>
                  <a:lnTo>
                    <a:pt x="116" y="76"/>
                  </a:lnTo>
                  <a:lnTo>
                    <a:pt x="116" y="82"/>
                  </a:lnTo>
                  <a:lnTo>
                    <a:pt x="116" y="89"/>
                  </a:lnTo>
                  <a:lnTo>
                    <a:pt x="114" y="95"/>
                  </a:lnTo>
                  <a:lnTo>
                    <a:pt x="110" y="102"/>
                  </a:lnTo>
                  <a:lnTo>
                    <a:pt x="106" y="107"/>
                  </a:lnTo>
                  <a:lnTo>
                    <a:pt x="106" y="107"/>
                  </a:lnTo>
                  <a:lnTo>
                    <a:pt x="101" y="111"/>
                  </a:lnTo>
                  <a:lnTo>
                    <a:pt x="95" y="115"/>
                  </a:lnTo>
                  <a:lnTo>
                    <a:pt x="89" y="116"/>
                  </a:lnTo>
                  <a:lnTo>
                    <a:pt x="82" y="117"/>
                  </a:lnTo>
                  <a:lnTo>
                    <a:pt x="76" y="116"/>
                  </a:lnTo>
                  <a:lnTo>
                    <a:pt x="69" y="115"/>
                  </a:lnTo>
                  <a:lnTo>
                    <a:pt x="63" y="111"/>
                  </a:lnTo>
                  <a:lnTo>
                    <a:pt x="57" y="107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3" y="70"/>
                  </a:lnTo>
                  <a:lnTo>
                    <a:pt x="0" y="83"/>
                  </a:lnTo>
                  <a:lnTo>
                    <a:pt x="0" y="97"/>
                  </a:lnTo>
                  <a:lnTo>
                    <a:pt x="1" y="111"/>
                  </a:lnTo>
                  <a:lnTo>
                    <a:pt x="4" y="124"/>
                  </a:lnTo>
                  <a:lnTo>
                    <a:pt x="10" y="138"/>
                  </a:lnTo>
                  <a:lnTo>
                    <a:pt x="17" y="150"/>
                  </a:lnTo>
                  <a:lnTo>
                    <a:pt x="27" y="161"/>
                  </a:lnTo>
                  <a:lnTo>
                    <a:pt x="27" y="161"/>
                  </a:lnTo>
                  <a:lnTo>
                    <a:pt x="37" y="170"/>
                  </a:lnTo>
                  <a:lnTo>
                    <a:pt x="46" y="176"/>
                  </a:lnTo>
                  <a:lnTo>
                    <a:pt x="58" y="182"/>
                  </a:lnTo>
                  <a:lnTo>
                    <a:pt x="69" y="186"/>
                  </a:lnTo>
                  <a:lnTo>
                    <a:pt x="81" y="188"/>
                  </a:lnTo>
                  <a:lnTo>
                    <a:pt x="93" y="189"/>
                  </a:lnTo>
                  <a:lnTo>
                    <a:pt x="105" y="188"/>
                  </a:lnTo>
                  <a:lnTo>
                    <a:pt x="117" y="186"/>
                  </a:lnTo>
                  <a:lnTo>
                    <a:pt x="147" y="217"/>
                  </a:lnTo>
                  <a:lnTo>
                    <a:pt x="154" y="212"/>
                  </a:lnTo>
                  <a:lnTo>
                    <a:pt x="154" y="212"/>
                  </a:lnTo>
                  <a:lnTo>
                    <a:pt x="159" y="206"/>
                  </a:lnTo>
                  <a:lnTo>
                    <a:pt x="159" y="206"/>
                  </a:lnTo>
                  <a:lnTo>
                    <a:pt x="156" y="204"/>
                  </a:lnTo>
                  <a:lnTo>
                    <a:pt x="156" y="204"/>
                  </a:lnTo>
                  <a:lnTo>
                    <a:pt x="155" y="203"/>
                  </a:lnTo>
                  <a:lnTo>
                    <a:pt x="155" y="203"/>
                  </a:lnTo>
                  <a:lnTo>
                    <a:pt x="155" y="203"/>
                  </a:lnTo>
                  <a:lnTo>
                    <a:pt x="148" y="196"/>
                  </a:lnTo>
                  <a:lnTo>
                    <a:pt x="148" y="196"/>
                  </a:lnTo>
                  <a:lnTo>
                    <a:pt x="146" y="190"/>
                  </a:lnTo>
                  <a:lnTo>
                    <a:pt x="144" y="184"/>
                  </a:lnTo>
                  <a:lnTo>
                    <a:pt x="144" y="184"/>
                  </a:lnTo>
                  <a:lnTo>
                    <a:pt x="143" y="178"/>
                  </a:lnTo>
                  <a:lnTo>
                    <a:pt x="143" y="174"/>
                  </a:lnTo>
                  <a:lnTo>
                    <a:pt x="145" y="164"/>
                  </a:lnTo>
                  <a:lnTo>
                    <a:pt x="148" y="155"/>
                  </a:lnTo>
                  <a:lnTo>
                    <a:pt x="151" y="150"/>
                  </a:lnTo>
                  <a:lnTo>
                    <a:pt x="155" y="147"/>
                  </a:lnTo>
                  <a:lnTo>
                    <a:pt x="155" y="147"/>
                  </a:lnTo>
                  <a:lnTo>
                    <a:pt x="155" y="146"/>
                  </a:lnTo>
                  <a:lnTo>
                    <a:pt x="164" y="138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86" y="117"/>
                  </a:lnTo>
                  <a:lnTo>
                    <a:pt x="186" y="117"/>
                  </a:lnTo>
                  <a:lnTo>
                    <a:pt x="186" y="117"/>
                  </a:lnTo>
                  <a:lnTo>
                    <a:pt x="187" y="105"/>
                  </a:lnTo>
                  <a:lnTo>
                    <a:pt x="188" y="93"/>
                  </a:lnTo>
                  <a:lnTo>
                    <a:pt x="187" y="81"/>
                  </a:lnTo>
                  <a:lnTo>
                    <a:pt x="185" y="70"/>
                  </a:lnTo>
                  <a:lnTo>
                    <a:pt x="181" y="58"/>
                  </a:lnTo>
                  <a:lnTo>
                    <a:pt x="176" y="48"/>
                  </a:lnTo>
                  <a:lnTo>
                    <a:pt x="169" y="38"/>
                  </a:lnTo>
                  <a:lnTo>
                    <a:pt x="161" y="28"/>
                  </a:lnTo>
                  <a:lnTo>
                    <a:pt x="161" y="28"/>
                  </a:lnTo>
                  <a:close/>
                  <a:moveTo>
                    <a:pt x="376" y="307"/>
                  </a:moveTo>
                  <a:lnTo>
                    <a:pt x="256" y="187"/>
                  </a:lnTo>
                  <a:lnTo>
                    <a:pt x="227" y="187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07" y="206"/>
                  </a:lnTo>
                  <a:lnTo>
                    <a:pt x="201" y="210"/>
                  </a:lnTo>
                  <a:lnTo>
                    <a:pt x="201" y="210"/>
                  </a:lnTo>
                  <a:lnTo>
                    <a:pt x="202" y="210"/>
                  </a:lnTo>
                  <a:lnTo>
                    <a:pt x="202" y="210"/>
                  </a:lnTo>
                  <a:lnTo>
                    <a:pt x="203" y="211"/>
                  </a:lnTo>
                  <a:lnTo>
                    <a:pt x="204" y="212"/>
                  </a:lnTo>
                  <a:lnTo>
                    <a:pt x="204" y="212"/>
                  </a:lnTo>
                  <a:lnTo>
                    <a:pt x="208" y="215"/>
                  </a:lnTo>
                  <a:lnTo>
                    <a:pt x="211" y="220"/>
                  </a:lnTo>
                  <a:lnTo>
                    <a:pt x="211" y="220"/>
                  </a:lnTo>
                  <a:lnTo>
                    <a:pt x="215" y="219"/>
                  </a:lnTo>
                  <a:lnTo>
                    <a:pt x="215" y="219"/>
                  </a:lnTo>
                  <a:lnTo>
                    <a:pt x="223" y="220"/>
                  </a:lnTo>
                  <a:lnTo>
                    <a:pt x="229" y="223"/>
                  </a:lnTo>
                  <a:lnTo>
                    <a:pt x="236" y="226"/>
                  </a:lnTo>
                  <a:lnTo>
                    <a:pt x="241" y="230"/>
                  </a:lnTo>
                  <a:lnTo>
                    <a:pt x="241" y="230"/>
                  </a:lnTo>
                  <a:lnTo>
                    <a:pt x="245" y="235"/>
                  </a:lnTo>
                  <a:lnTo>
                    <a:pt x="249" y="241"/>
                  </a:lnTo>
                  <a:lnTo>
                    <a:pt x="251" y="247"/>
                  </a:lnTo>
                  <a:lnTo>
                    <a:pt x="252" y="253"/>
                  </a:lnTo>
                  <a:lnTo>
                    <a:pt x="252" y="253"/>
                  </a:lnTo>
                  <a:lnTo>
                    <a:pt x="259" y="256"/>
                  </a:lnTo>
                  <a:lnTo>
                    <a:pt x="266" y="261"/>
                  </a:lnTo>
                  <a:lnTo>
                    <a:pt x="266" y="261"/>
                  </a:lnTo>
                  <a:lnTo>
                    <a:pt x="270" y="268"/>
                  </a:lnTo>
                  <a:lnTo>
                    <a:pt x="274" y="275"/>
                  </a:lnTo>
                  <a:lnTo>
                    <a:pt x="276" y="282"/>
                  </a:lnTo>
                  <a:lnTo>
                    <a:pt x="276" y="289"/>
                  </a:lnTo>
                  <a:lnTo>
                    <a:pt x="276" y="289"/>
                  </a:lnTo>
                  <a:lnTo>
                    <a:pt x="281" y="294"/>
                  </a:lnTo>
                  <a:lnTo>
                    <a:pt x="281" y="294"/>
                  </a:lnTo>
                  <a:lnTo>
                    <a:pt x="287" y="299"/>
                  </a:lnTo>
                  <a:lnTo>
                    <a:pt x="290" y="305"/>
                  </a:lnTo>
                  <a:lnTo>
                    <a:pt x="293" y="311"/>
                  </a:lnTo>
                  <a:lnTo>
                    <a:pt x="294" y="319"/>
                  </a:lnTo>
                  <a:lnTo>
                    <a:pt x="294" y="319"/>
                  </a:lnTo>
                  <a:lnTo>
                    <a:pt x="294" y="325"/>
                  </a:lnTo>
                  <a:lnTo>
                    <a:pt x="293" y="332"/>
                  </a:lnTo>
                  <a:lnTo>
                    <a:pt x="290" y="338"/>
                  </a:lnTo>
                  <a:lnTo>
                    <a:pt x="285" y="345"/>
                  </a:lnTo>
                  <a:lnTo>
                    <a:pt x="281" y="351"/>
                  </a:lnTo>
                  <a:lnTo>
                    <a:pt x="307" y="376"/>
                  </a:lnTo>
                  <a:lnTo>
                    <a:pt x="307" y="376"/>
                  </a:lnTo>
                  <a:lnTo>
                    <a:pt x="315" y="382"/>
                  </a:lnTo>
                  <a:lnTo>
                    <a:pt x="322" y="387"/>
                  </a:lnTo>
                  <a:lnTo>
                    <a:pt x="332" y="390"/>
                  </a:lnTo>
                  <a:lnTo>
                    <a:pt x="342" y="391"/>
                  </a:lnTo>
                  <a:lnTo>
                    <a:pt x="342" y="391"/>
                  </a:lnTo>
                  <a:lnTo>
                    <a:pt x="350" y="390"/>
                  </a:lnTo>
                  <a:lnTo>
                    <a:pt x="360" y="387"/>
                  </a:lnTo>
                  <a:lnTo>
                    <a:pt x="368" y="382"/>
                  </a:lnTo>
                  <a:lnTo>
                    <a:pt x="376" y="376"/>
                  </a:lnTo>
                  <a:lnTo>
                    <a:pt x="376" y="376"/>
                  </a:lnTo>
                  <a:lnTo>
                    <a:pt x="382" y="368"/>
                  </a:lnTo>
                  <a:lnTo>
                    <a:pt x="386" y="361"/>
                  </a:lnTo>
                  <a:lnTo>
                    <a:pt x="389" y="351"/>
                  </a:lnTo>
                  <a:lnTo>
                    <a:pt x="390" y="341"/>
                  </a:lnTo>
                  <a:lnTo>
                    <a:pt x="389" y="333"/>
                  </a:lnTo>
                  <a:lnTo>
                    <a:pt x="386" y="323"/>
                  </a:lnTo>
                  <a:lnTo>
                    <a:pt x="382" y="315"/>
                  </a:lnTo>
                  <a:lnTo>
                    <a:pt x="376" y="307"/>
                  </a:lnTo>
                  <a:lnTo>
                    <a:pt x="376" y="307"/>
                  </a:lnTo>
                  <a:close/>
                  <a:moveTo>
                    <a:pt x="357" y="356"/>
                  </a:moveTo>
                  <a:lnTo>
                    <a:pt x="357" y="356"/>
                  </a:lnTo>
                  <a:lnTo>
                    <a:pt x="352" y="360"/>
                  </a:lnTo>
                  <a:lnTo>
                    <a:pt x="349" y="362"/>
                  </a:lnTo>
                  <a:lnTo>
                    <a:pt x="345" y="363"/>
                  </a:lnTo>
                  <a:lnTo>
                    <a:pt x="342" y="363"/>
                  </a:lnTo>
                  <a:lnTo>
                    <a:pt x="337" y="363"/>
                  </a:lnTo>
                  <a:lnTo>
                    <a:pt x="333" y="362"/>
                  </a:lnTo>
                  <a:lnTo>
                    <a:pt x="330" y="360"/>
                  </a:lnTo>
                  <a:lnTo>
                    <a:pt x="327" y="356"/>
                  </a:lnTo>
                  <a:lnTo>
                    <a:pt x="327" y="356"/>
                  </a:lnTo>
                  <a:lnTo>
                    <a:pt x="323" y="353"/>
                  </a:lnTo>
                  <a:lnTo>
                    <a:pt x="321" y="350"/>
                  </a:lnTo>
                  <a:lnTo>
                    <a:pt x="320" y="346"/>
                  </a:lnTo>
                  <a:lnTo>
                    <a:pt x="320" y="341"/>
                  </a:lnTo>
                  <a:lnTo>
                    <a:pt x="320" y="338"/>
                  </a:lnTo>
                  <a:lnTo>
                    <a:pt x="321" y="334"/>
                  </a:lnTo>
                  <a:lnTo>
                    <a:pt x="323" y="330"/>
                  </a:lnTo>
                  <a:lnTo>
                    <a:pt x="327" y="326"/>
                  </a:lnTo>
                  <a:lnTo>
                    <a:pt x="327" y="326"/>
                  </a:lnTo>
                  <a:lnTo>
                    <a:pt x="330" y="324"/>
                  </a:lnTo>
                  <a:lnTo>
                    <a:pt x="333" y="322"/>
                  </a:lnTo>
                  <a:lnTo>
                    <a:pt x="337" y="321"/>
                  </a:lnTo>
                  <a:lnTo>
                    <a:pt x="342" y="321"/>
                  </a:lnTo>
                  <a:lnTo>
                    <a:pt x="345" y="321"/>
                  </a:lnTo>
                  <a:lnTo>
                    <a:pt x="349" y="322"/>
                  </a:lnTo>
                  <a:lnTo>
                    <a:pt x="352" y="324"/>
                  </a:lnTo>
                  <a:lnTo>
                    <a:pt x="357" y="326"/>
                  </a:lnTo>
                  <a:lnTo>
                    <a:pt x="357" y="326"/>
                  </a:lnTo>
                  <a:lnTo>
                    <a:pt x="359" y="330"/>
                  </a:lnTo>
                  <a:lnTo>
                    <a:pt x="361" y="334"/>
                  </a:lnTo>
                  <a:lnTo>
                    <a:pt x="362" y="338"/>
                  </a:lnTo>
                  <a:lnTo>
                    <a:pt x="362" y="341"/>
                  </a:lnTo>
                  <a:lnTo>
                    <a:pt x="362" y="346"/>
                  </a:lnTo>
                  <a:lnTo>
                    <a:pt x="361" y="350"/>
                  </a:lnTo>
                  <a:lnTo>
                    <a:pt x="359" y="353"/>
                  </a:lnTo>
                  <a:lnTo>
                    <a:pt x="357" y="356"/>
                  </a:lnTo>
                  <a:lnTo>
                    <a:pt x="357" y="356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auto">
            <a:xfrm>
              <a:off x="3105" y="1294"/>
              <a:ext cx="70" cy="71"/>
            </a:xfrm>
            <a:custGeom>
              <a:avLst/>
              <a:gdLst>
                <a:gd name="T0" fmla="*/ 133 w 140"/>
                <a:gd name="T1" fmla="*/ 89 h 144"/>
                <a:gd name="T2" fmla="*/ 127 w 140"/>
                <a:gd name="T3" fmla="*/ 85 h 144"/>
                <a:gd name="T4" fmla="*/ 119 w 140"/>
                <a:gd name="T5" fmla="*/ 84 h 144"/>
                <a:gd name="T6" fmla="*/ 117 w 140"/>
                <a:gd name="T7" fmla="*/ 81 h 144"/>
                <a:gd name="T8" fmla="*/ 119 w 140"/>
                <a:gd name="T9" fmla="*/ 78 h 144"/>
                <a:gd name="T10" fmla="*/ 121 w 140"/>
                <a:gd name="T11" fmla="*/ 68 h 144"/>
                <a:gd name="T12" fmla="*/ 118 w 140"/>
                <a:gd name="T13" fmla="*/ 59 h 144"/>
                <a:gd name="T14" fmla="*/ 116 w 140"/>
                <a:gd name="T15" fmla="*/ 56 h 144"/>
                <a:gd name="T16" fmla="*/ 107 w 140"/>
                <a:gd name="T17" fmla="*/ 51 h 144"/>
                <a:gd name="T18" fmla="*/ 97 w 140"/>
                <a:gd name="T19" fmla="*/ 52 h 144"/>
                <a:gd name="T20" fmla="*/ 94 w 140"/>
                <a:gd name="T21" fmla="*/ 48 h 144"/>
                <a:gd name="T22" fmla="*/ 97 w 140"/>
                <a:gd name="T23" fmla="*/ 42 h 144"/>
                <a:gd name="T24" fmla="*/ 95 w 140"/>
                <a:gd name="T25" fmla="*/ 29 h 144"/>
                <a:gd name="T26" fmla="*/ 92 w 140"/>
                <a:gd name="T27" fmla="*/ 24 h 144"/>
                <a:gd name="T28" fmla="*/ 86 w 140"/>
                <a:gd name="T29" fmla="*/ 21 h 144"/>
                <a:gd name="T30" fmla="*/ 78 w 140"/>
                <a:gd name="T31" fmla="*/ 19 h 144"/>
                <a:gd name="T32" fmla="*/ 75 w 140"/>
                <a:gd name="T33" fmla="*/ 20 h 144"/>
                <a:gd name="T34" fmla="*/ 68 w 140"/>
                <a:gd name="T35" fmla="*/ 22 h 144"/>
                <a:gd name="T36" fmla="*/ 57 w 140"/>
                <a:gd name="T37" fmla="*/ 34 h 144"/>
                <a:gd name="T38" fmla="*/ 60 w 140"/>
                <a:gd name="T39" fmla="*/ 24 h 144"/>
                <a:gd name="T40" fmla="*/ 60 w 140"/>
                <a:gd name="T41" fmla="*/ 14 h 144"/>
                <a:gd name="T42" fmla="*/ 54 w 140"/>
                <a:gd name="T43" fmla="*/ 6 h 144"/>
                <a:gd name="T44" fmla="*/ 54 w 140"/>
                <a:gd name="T45" fmla="*/ 5 h 144"/>
                <a:gd name="T46" fmla="*/ 45 w 140"/>
                <a:gd name="T47" fmla="*/ 0 h 144"/>
                <a:gd name="T48" fmla="*/ 41 w 140"/>
                <a:gd name="T49" fmla="*/ 0 h 144"/>
                <a:gd name="T50" fmla="*/ 37 w 140"/>
                <a:gd name="T51" fmla="*/ 0 h 144"/>
                <a:gd name="T52" fmla="*/ 28 w 140"/>
                <a:gd name="T53" fmla="*/ 6 h 144"/>
                <a:gd name="T54" fmla="*/ 6 w 140"/>
                <a:gd name="T55" fmla="*/ 28 h 144"/>
                <a:gd name="T56" fmla="*/ 5 w 140"/>
                <a:gd name="T57" fmla="*/ 30 h 144"/>
                <a:gd name="T58" fmla="*/ 1 w 140"/>
                <a:gd name="T59" fmla="*/ 36 h 144"/>
                <a:gd name="T60" fmla="*/ 2 w 140"/>
                <a:gd name="T61" fmla="*/ 49 h 144"/>
                <a:gd name="T62" fmla="*/ 6 w 140"/>
                <a:gd name="T63" fmla="*/ 54 h 144"/>
                <a:gd name="T64" fmla="*/ 15 w 140"/>
                <a:gd name="T65" fmla="*/ 60 h 144"/>
                <a:gd name="T66" fmla="*/ 27 w 140"/>
                <a:gd name="T67" fmla="*/ 57 h 144"/>
                <a:gd name="T68" fmla="*/ 31 w 140"/>
                <a:gd name="T69" fmla="*/ 61 h 144"/>
                <a:gd name="T70" fmla="*/ 28 w 140"/>
                <a:gd name="T71" fmla="*/ 66 h 144"/>
                <a:gd name="T72" fmla="*/ 31 w 140"/>
                <a:gd name="T73" fmla="*/ 78 h 144"/>
                <a:gd name="T74" fmla="*/ 34 w 140"/>
                <a:gd name="T75" fmla="*/ 82 h 144"/>
                <a:gd name="T76" fmla="*/ 44 w 140"/>
                <a:gd name="T77" fmla="*/ 88 h 144"/>
                <a:gd name="T78" fmla="*/ 55 w 140"/>
                <a:gd name="T79" fmla="*/ 85 h 144"/>
                <a:gd name="T80" fmla="*/ 59 w 140"/>
                <a:gd name="T81" fmla="*/ 89 h 144"/>
                <a:gd name="T82" fmla="*/ 57 w 140"/>
                <a:gd name="T83" fmla="*/ 94 h 144"/>
                <a:gd name="T84" fmla="*/ 59 w 140"/>
                <a:gd name="T85" fmla="*/ 106 h 144"/>
                <a:gd name="T86" fmla="*/ 62 w 140"/>
                <a:gd name="T87" fmla="*/ 110 h 144"/>
                <a:gd name="T88" fmla="*/ 72 w 140"/>
                <a:gd name="T89" fmla="*/ 116 h 144"/>
                <a:gd name="T90" fmla="*/ 84 w 140"/>
                <a:gd name="T91" fmla="*/ 114 h 144"/>
                <a:gd name="T92" fmla="*/ 86 w 140"/>
                <a:gd name="T93" fmla="*/ 117 h 144"/>
                <a:gd name="T94" fmla="*/ 85 w 140"/>
                <a:gd name="T95" fmla="*/ 123 h 144"/>
                <a:gd name="T96" fmla="*/ 87 w 140"/>
                <a:gd name="T97" fmla="*/ 134 h 144"/>
                <a:gd name="T98" fmla="*/ 91 w 140"/>
                <a:gd name="T99" fmla="*/ 139 h 144"/>
                <a:gd name="T100" fmla="*/ 103 w 140"/>
                <a:gd name="T101" fmla="*/ 144 h 144"/>
                <a:gd name="T102" fmla="*/ 107 w 140"/>
                <a:gd name="T103" fmla="*/ 144 h 144"/>
                <a:gd name="T104" fmla="*/ 114 w 140"/>
                <a:gd name="T105" fmla="*/ 141 h 144"/>
                <a:gd name="T106" fmla="*/ 117 w 140"/>
                <a:gd name="T107" fmla="*/ 137 h 144"/>
                <a:gd name="T108" fmla="*/ 135 w 140"/>
                <a:gd name="T109" fmla="*/ 116 h 144"/>
                <a:gd name="T110" fmla="*/ 139 w 140"/>
                <a:gd name="T111" fmla="*/ 109 h 144"/>
                <a:gd name="T112" fmla="*/ 140 w 140"/>
                <a:gd name="T113" fmla="*/ 102 h 144"/>
                <a:gd name="T114" fmla="*/ 140 w 140"/>
                <a:gd name="T115" fmla="*/ 98 h 144"/>
                <a:gd name="T116" fmla="*/ 135 w 140"/>
                <a:gd name="T117" fmla="*/ 92 h 144"/>
                <a:gd name="T118" fmla="*/ 133 w 140"/>
                <a:gd name="T119" fmla="*/ 8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0" h="144">
                  <a:moveTo>
                    <a:pt x="133" y="89"/>
                  </a:moveTo>
                  <a:lnTo>
                    <a:pt x="133" y="89"/>
                  </a:lnTo>
                  <a:lnTo>
                    <a:pt x="130" y="87"/>
                  </a:lnTo>
                  <a:lnTo>
                    <a:pt x="127" y="85"/>
                  </a:lnTo>
                  <a:lnTo>
                    <a:pt x="124" y="84"/>
                  </a:lnTo>
                  <a:lnTo>
                    <a:pt x="119" y="84"/>
                  </a:lnTo>
                  <a:lnTo>
                    <a:pt x="114" y="85"/>
                  </a:lnTo>
                  <a:lnTo>
                    <a:pt x="117" y="81"/>
                  </a:lnTo>
                  <a:lnTo>
                    <a:pt x="117" y="81"/>
                  </a:lnTo>
                  <a:lnTo>
                    <a:pt x="119" y="78"/>
                  </a:lnTo>
                  <a:lnTo>
                    <a:pt x="120" y="75"/>
                  </a:lnTo>
                  <a:lnTo>
                    <a:pt x="121" y="68"/>
                  </a:lnTo>
                  <a:lnTo>
                    <a:pt x="120" y="62"/>
                  </a:lnTo>
                  <a:lnTo>
                    <a:pt x="118" y="59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2" y="53"/>
                  </a:lnTo>
                  <a:lnTo>
                    <a:pt x="107" y="51"/>
                  </a:lnTo>
                  <a:lnTo>
                    <a:pt x="102" y="51"/>
                  </a:lnTo>
                  <a:lnTo>
                    <a:pt x="97" y="52"/>
                  </a:lnTo>
                  <a:lnTo>
                    <a:pt x="90" y="54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7" y="42"/>
                  </a:lnTo>
                  <a:lnTo>
                    <a:pt x="98" y="36"/>
                  </a:lnTo>
                  <a:lnTo>
                    <a:pt x="95" y="29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89" y="22"/>
                  </a:lnTo>
                  <a:lnTo>
                    <a:pt x="86" y="21"/>
                  </a:lnTo>
                  <a:lnTo>
                    <a:pt x="82" y="20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5" y="20"/>
                  </a:lnTo>
                  <a:lnTo>
                    <a:pt x="72" y="21"/>
                  </a:lnTo>
                  <a:lnTo>
                    <a:pt x="68" y="22"/>
                  </a:lnTo>
                  <a:lnTo>
                    <a:pt x="65" y="24"/>
                  </a:lnTo>
                  <a:lnTo>
                    <a:pt x="57" y="3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0"/>
                  </a:lnTo>
                  <a:lnTo>
                    <a:pt x="60" y="14"/>
                  </a:lnTo>
                  <a:lnTo>
                    <a:pt x="58" y="10"/>
                  </a:lnTo>
                  <a:lnTo>
                    <a:pt x="54" y="6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48" y="1"/>
                  </a:lnTo>
                  <a:lnTo>
                    <a:pt x="45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3" y="2"/>
                  </a:lnTo>
                  <a:lnTo>
                    <a:pt x="28" y="6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5" y="29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1" y="36"/>
                  </a:lnTo>
                  <a:lnTo>
                    <a:pt x="0" y="42"/>
                  </a:lnTo>
                  <a:lnTo>
                    <a:pt x="2" y="49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10" y="57"/>
                  </a:lnTo>
                  <a:lnTo>
                    <a:pt x="15" y="60"/>
                  </a:lnTo>
                  <a:lnTo>
                    <a:pt x="22" y="60"/>
                  </a:lnTo>
                  <a:lnTo>
                    <a:pt x="27" y="57"/>
                  </a:lnTo>
                  <a:lnTo>
                    <a:pt x="34" y="55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28" y="66"/>
                  </a:lnTo>
                  <a:lnTo>
                    <a:pt x="28" y="73"/>
                  </a:lnTo>
                  <a:lnTo>
                    <a:pt x="31" y="78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8" y="85"/>
                  </a:lnTo>
                  <a:lnTo>
                    <a:pt x="44" y="88"/>
                  </a:lnTo>
                  <a:lnTo>
                    <a:pt x="49" y="88"/>
                  </a:lnTo>
                  <a:lnTo>
                    <a:pt x="55" y="85"/>
                  </a:lnTo>
                  <a:lnTo>
                    <a:pt x="61" y="83"/>
                  </a:lnTo>
                  <a:lnTo>
                    <a:pt x="59" y="89"/>
                  </a:lnTo>
                  <a:lnTo>
                    <a:pt x="59" y="89"/>
                  </a:lnTo>
                  <a:lnTo>
                    <a:pt x="57" y="94"/>
                  </a:lnTo>
                  <a:lnTo>
                    <a:pt x="57" y="101"/>
                  </a:lnTo>
                  <a:lnTo>
                    <a:pt x="59" y="106"/>
                  </a:lnTo>
                  <a:lnTo>
                    <a:pt x="62" y="110"/>
                  </a:lnTo>
                  <a:lnTo>
                    <a:pt x="62" y="110"/>
                  </a:lnTo>
                  <a:lnTo>
                    <a:pt x="66" y="114"/>
                  </a:lnTo>
                  <a:lnTo>
                    <a:pt x="72" y="116"/>
                  </a:lnTo>
                  <a:lnTo>
                    <a:pt x="77" y="116"/>
                  </a:lnTo>
                  <a:lnTo>
                    <a:pt x="84" y="114"/>
                  </a:lnTo>
                  <a:lnTo>
                    <a:pt x="89" y="111"/>
                  </a:lnTo>
                  <a:lnTo>
                    <a:pt x="86" y="117"/>
                  </a:lnTo>
                  <a:lnTo>
                    <a:pt x="86" y="117"/>
                  </a:lnTo>
                  <a:lnTo>
                    <a:pt x="85" y="123"/>
                  </a:lnTo>
                  <a:lnTo>
                    <a:pt x="85" y="129"/>
                  </a:lnTo>
                  <a:lnTo>
                    <a:pt x="87" y="134"/>
                  </a:lnTo>
                  <a:lnTo>
                    <a:pt x="91" y="139"/>
                  </a:lnTo>
                  <a:lnTo>
                    <a:pt x="91" y="139"/>
                  </a:lnTo>
                  <a:lnTo>
                    <a:pt x="97" y="143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7" y="144"/>
                  </a:lnTo>
                  <a:lnTo>
                    <a:pt x="111" y="142"/>
                  </a:lnTo>
                  <a:lnTo>
                    <a:pt x="114" y="141"/>
                  </a:lnTo>
                  <a:lnTo>
                    <a:pt x="117" y="137"/>
                  </a:lnTo>
                  <a:lnTo>
                    <a:pt x="117" y="137"/>
                  </a:lnTo>
                  <a:lnTo>
                    <a:pt x="135" y="116"/>
                  </a:lnTo>
                  <a:lnTo>
                    <a:pt x="135" y="116"/>
                  </a:lnTo>
                  <a:lnTo>
                    <a:pt x="138" y="112"/>
                  </a:lnTo>
                  <a:lnTo>
                    <a:pt x="139" y="109"/>
                  </a:lnTo>
                  <a:lnTo>
                    <a:pt x="140" y="105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40" y="98"/>
                  </a:lnTo>
                  <a:lnTo>
                    <a:pt x="138" y="94"/>
                  </a:lnTo>
                  <a:lnTo>
                    <a:pt x="135" y="92"/>
                  </a:lnTo>
                  <a:lnTo>
                    <a:pt x="133" y="89"/>
                  </a:lnTo>
                  <a:lnTo>
                    <a:pt x="133" y="89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3117" y="1220"/>
              <a:ext cx="131" cy="87"/>
            </a:xfrm>
            <a:custGeom>
              <a:avLst/>
              <a:gdLst>
                <a:gd name="T0" fmla="*/ 257 w 264"/>
                <a:gd name="T1" fmla="*/ 66 h 175"/>
                <a:gd name="T2" fmla="*/ 191 w 264"/>
                <a:gd name="T3" fmla="*/ 0 h 175"/>
                <a:gd name="T4" fmla="*/ 135 w 264"/>
                <a:gd name="T5" fmla="*/ 55 h 175"/>
                <a:gd name="T6" fmla="*/ 134 w 264"/>
                <a:gd name="T7" fmla="*/ 55 h 175"/>
                <a:gd name="T8" fmla="*/ 134 w 264"/>
                <a:gd name="T9" fmla="*/ 55 h 175"/>
                <a:gd name="T10" fmla="*/ 134 w 264"/>
                <a:gd name="T11" fmla="*/ 55 h 175"/>
                <a:gd name="T12" fmla="*/ 134 w 264"/>
                <a:gd name="T13" fmla="*/ 55 h 175"/>
                <a:gd name="T14" fmla="*/ 133 w 264"/>
                <a:gd name="T15" fmla="*/ 55 h 175"/>
                <a:gd name="T16" fmla="*/ 51 w 264"/>
                <a:gd name="T17" fmla="*/ 55 h 175"/>
                <a:gd name="T18" fmla="*/ 51 w 264"/>
                <a:gd name="T19" fmla="*/ 55 h 175"/>
                <a:gd name="T20" fmla="*/ 47 w 264"/>
                <a:gd name="T21" fmla="*/ 56 h 175"/>
                <a:gd name="T22" fmla="*/ 42 w 264"/>
                <a:gd name="T23" fmla="*/ 58 h 175"/>
                <a:gd name="T24" fmla="*/ 38 w 264"/>
                <a:gd name="T25" fmla="*/ 60 h 175"/>
                <a:gd name="T26" fmla="*/ 35 w 264"/>
                <a:gd name="T27" fmla="*/ 62 h 175"/>
                <a:gd name="T28" fmla="*/ 16 w 264"/>
                <a:gd name="T29" fmla="*/ 81 h 175"/>
                <a:gd name="T30" fmla="*/ 7 w 264"/>
                <a:gd name="T31" fmla="*/ 89 h 175"/>
                <a:gd name="T32" fmla="*/ 7 w 264"/>
                <a:gd name="T33" fmla="*/ 89 h 175"/>
                <a:gd name="T34" fmla="*/ 3 w 264"/>
                <a:gd name="T35" fmla="*/ 93 h 175"/>
                <a:gd name="T36" fmla="*/ 1 w 264"/>
                <a:gd name="T37" fmla="*/ 99 h 175"/>
                <a:gd name="T38" fmla="*/ 0 w 264"/>
                <a:gd name="T39" fmla="*/ 104 h 175"/>
                <a:gd name="T40" fmla="*/ 1 w 264"/>
                <a:gd name="T41" fmla="*/ 109 h 175"/>
                <a:gd name="T42" fmla="*/ 1 w 264"/>
                <a:gd name="T43" fmla="*/ 109 h 175"/>
                <a:gd name="T44" fmla="*/ 3 w 264"/>
                <a:gd name="T45" fmla="*/ 116 h 175"/>
                <a:gd name="T46" fmla="*/ 3 w 264"/>
                <a:gd name="T47" fmla="*/ 116 h 175"/>
                <a:gd name="T48" fmla="*/ 7 w 264"/>
                <a:gd name="T49" fmla="*/ 120 h 175"/>
                <a:gd name="T50" fmla="*/ 8 w 264"/>
                <a:gd name="T51" fmla="*/ 121 h 175"/>
                <a:gd name="T52" fmla="*/ 8 w 264"/>
                <a:gd name="T53" fmla="*/ 121 h 175"/>
                <a:gd name="T54" fmla="*/ 11 w 264"/>
                <a:gd name="T55" fmla="*/ 123 h 175"/>
                <a:gd name="T56" fmla="*/ 14 w 264"/>
                <a:gd name="T57" fmla="*/ 126 h 175"/>
                <a:gd name="T58" fmla="*/ 18 w 264"/>
                <a:gd name="T59" fmla="*/ 127 h 175"/>
                <a:gd name="T60" fmla="*/ 23 w 264"/>
                <a:gd name="T61" fmla="*/ 127 h 175"/>
                <a:gd name="T62" fmla="*/ 23 w 264"/>
                <a:gd name="T63" fmla="*/ 127 h 175"/>
                <a:gd name="T64" fmla="*/ 24 w 264"/>
                <a:gd name="T65" fmla="*/ 127 h 175"/>
                <a:gd name="T66" fmla="*/ 25 w 264"/>
                <a:gd name="T67" fmla="*/ 127 h 175"/>
                <a:gd name="T68" fmla="*/ 25 w 264"/>
                <a:gd name="T69" fmla="*/ 127 h 175"/>
                <a:gd name="T70" fmla="*/ 32 w 264"/>
                <a:gd name="T71" fmla="*/ 124 h 175"/>
                <a:gd name="T72" fmla="*/ 36 w 264"/>
                <a:gd name="T73" fmla="*/ 122 h 175"/>
                <a:gd name="T74" fmla="*/ 38 w 264"/>
                <a:gd name="T75" fmla="*/ 120 h 175"/>
                <a:gd name="T76" fmla="*/ 59 w 264"/>
                <a:gd name="T77" fmla="*/ 100 h 175"/>
                <a:gd name="T78" fmla="*/ 106 w 264"/>
                <a:gd name="T79" fmla="*/ 100 h 175"/>
                <a:gd name="T80" fmla="*/ 123 w 264"/>
                <a:gd name="T81" fmla="*/ 116 h 175"/>
                <a:gd name="T82" fmla="*/ 183 w 264"/>
                <a:gd name="T83" fmla="*/ 175 h 175"/>
                <a:gd name="T84" fmla="*/ 257 w 264"/>
                <a:gd name="T85" fmla="*/ 102 h 175"/>
                <a:gd name="T86" fmla="*/ 257 w 264"/>
                <a:gd name="T87" fmla="*/ 102 h 175"/>
                <a:gd name="T88" fmla="*/ 260 w 264"/>
                <a:gd name="T89" fmla="*/ 97 h 175"/>
                <a:gd name="T90" fmla="*/ 263 w 264"/>
                <a:gd name="T91" fmla="*/ 93 h 175"/>
                <a:gd name="T92" fmla="*/ 264 w 264"/>
                <a:gd name="T93" fmla="*/ 89 h 175"/>
                <a:gd name="T94" fmla="*/ 264 w 264"/>
                <a:gd name="T95" fmla="*/ 83 h 175"/>
                <a:gd name="T96" fmla="*/ 264 w 264"/>
                <a:gd name="T97" fmla="*/ 79 h 175"/>
                <a:gd name="T98" fmla="*/ 263 w 264"/>
                <a:gd name="T99" fmla="*/ 74 h 175"/>
                <a:gd name="T100" fmla="*/ 260 w 264"/>
                <a:gd name="T101" fmla="*/ 69 h 175"/>
                <a:gd name="T102" fmla="*/ 257 w 264"/>
                <a:gd name="T103" fmla="*/ 66 h 175"/>
                <a:gd name="T104" fmla="*/ 257 w 264"/>
                <a:gd name="T105" fmla="*/ 66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64" h="175">
                  <a:moveTo>
                    <a:pt x="257" y="66"/>
                  </a:moveTo>
                  <a:lnTo>
                    <a:pt x="191" y="0"/>
                  </a:lnTo>
                  <a:lnTo>
                    <a:pt x="135" y="55"/>
                  </a:lnTo>
                  <a:lnTo>
                    <a:pt x="134" y="55"/>
                  </a:lnTo>
                  <a:lnTo>
                    <a:pt x="134" y="55"/>
                  </a:lnTo>
                  <a:lnTo>
                    <a:pt x="134" y="55"/>
                  </a:lnTo>
                  <a:lnTo>
                    <a:pt x="134" y="55"/>
                  </a:lnTo>
                  <a:lnTo>
                    <a:pt x="133" y="55"/>
                  </a:lnTo>
                  <a:lnTo>
                    <a:pt x="51" y="55"/>
                  </a:lnTo>
                  <a:lnTo>
                    <a:pt x="51" y="55"/>
                  </a:lnTo>
                  <a:lnTo>
                    <a:pt x="47" y="56"/>
                  </a:lnTo>
                  <a:lnTo>
                    <a:pt x="42" y="58"/>
                  </a:lnTo>
                  <a:lnTo>
                    <a:pt x="38" y="60"/>
                  </a:lnTo>
                  <a:lnTo>
                    <a:pt x="35" y="62"/>
                  </a:lnTo>
                  <a:lnTo>
                    <a:pt x="16" y="81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3" y="93"/>
                  </a:lnTo>
                  <a:lnTo>
                    <a:pt x="1" y="99"/>
                  </a:lnTo>
                  <a:lnTo>
                    <a:pt x="0" y="104"/>
                  </a:lnTo>
                  <a:lnTo>
                    <a:pt x="1" y="109"/>
                  </a:lnTo>
                  <a:lnTo>
                    <a:pt x="1" y="109"/>
                  </a:lnTo>
                  <a:lnTo>
                    <a:pt x="3" y="116"/>
                  </a:lnTo>
                  <a:lnTo>
                    <a:pt x="3" y="116"/>
                  </a:lnTo>
                  <a:lnTo>
                    <a:pt x="7" y="120"/>
                  </a:lnTo>
                  <a:lnTo>
                    <a:pt x="8" y="121"/>
                  </a:lnTo>
                  <a:lnTo>
                    <a:pt x="8" y="121"/>
                  </a:lnTo>
                  <a:lnTo>
                    <a:pt x="11" y="123"/>
                  </a:lnTo>
                  <a:lnTo>
                    <a:pt x="14" y="126"/>
                  </a:lnTo>
                  <a:lnTo>
                    <a:pt x="18" y="127"/>
                  </a:lnTo>
                  <a:lnTo>
                    <a:pt x="23" y="127"/>
                  </a:lnTo>
                  <a:lnTo>
                    <a:pt x="23" y="127"/>
                  </a:lnTo>
                  <a:lnTo>
                    <a:pt x="24" y="127"/>
                  </a:lnTo>
                  <a:lnTo>
                    <a:pt x="25" y="127"/>
                  </a:lnTo>
                  <a:lnTo>
                    <a:pt x="25" y="127"/>
                  </a:lnTo>
                  <a:lnTo>
                    <a:pt x="32" y="124"/>
                  </a:lnTo>
                  <a:lnTo>
                    <a:pt x="36" y="122"/>
                  </a:lnTo>
                  <a:lnTo>
                    <a:pt x="38" y="120"/>
                  </a:lnTo>
                  <a:lnTo>
                    <a:pt x="59" y="100"/>
                  </a:lnTo>
                  <a:lnTo>
                    <a:pt x="106" y="100"/>
                  </a:lnTo>
                  <a:lnTo>
                    <a:pt x="123" y="116"/>
                  </a:lnTo>
                  <a:lnTo>
                    <a:pt x="183" y="175"/>
                  </a:lnTo>
                  <a:lnTo>
                    <a:pt x="257" y="102"/>
                  </a:lnTo>
                  <a:lnTo>
                    <a:pt x="257" y="102"/>
                  </a:lnTo>
                  <a:lnTo>
                    <a:pt x="260" y="97"/>
                  </a:lnTo>
                  <a:lnTo>
                    <a:pt x="263" y="93"/>
                  </a:lnTo>
                  <a:lnTo>
                    <a:pt x="264" y="89"/>
                  </a:lnTo>
                  <a:lnTo>
                    <a:pt x="264" y="83"/>
                  </a:lnTo>
                  <a:lnTo>
                    <a:pt x="264" y="79"/>
                  </a:lnTo>
                  <a:lnTo>
                    <a:pt x="263" y="74"/>
                  </a:lnTo>
                  <a:lnTo>
                    <a:pt x="260" y="69"/>
                  </a:lnTo>
                  <a:lnTo>
                    <a:pt x="257" y="66"/>
                  </a:lnTo>
                  <a:lnTo>
                    <a:pt x="257" y="66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" name="Group 4"/>
          <p:cNvGrpSpPr>
            <a:grpSpLocks noChangeAspect="1"/>
          </p:cNvGrpSpPr>
          <p:nvPr/>
        </p:nvGrpSpPr>
        <p:grpSpPr bwMode="auto">
          <a:xfrm>
            <a:off x="1714426" y="2828764"/>
            <a:ext cx="849832" cy="677456"/>
            <a:chOff x="3016" y="1111"/>
            <a:chExt cx="212" cy="169"/>
          </a:xfrm>
        </p:grpSpPr>
        <p:sp>
          <p:nvSpPr>
            <p:cNvPr id="20" name="Freeform 5"/>
            <p:cNvSpPr>
              <a:spLocks/>
            </p:cNvSpPr>
            <p:nvPr/>
          </p:nvSpPr>
          <p:spPr bwMode="auto">
            <a:xfrm>
              <a:off x="3016" y="1111"/>
              <a:ext cx="101" cy="169"/>
            </a:xfrm>
            <a:custGeom>
              <a:avLst/>
              <a:gdLst>
                <a:gd name="T0" fmla="*/ 176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0 w 201"/>
                <a:gd name="T25" fmla="*/ 318 h 338"/>
                <a:gd name="T26" fmla="*/ 1 w 201"/>
                <a:gd name="T27" fmla="*/ 322 h 338"/>
                <a:gd name="T28" fmla="*/ 3 w 201"/>
                <a:gd name="T29" fmla="*/ 327 h 338"/>
                <a:gd name="T30" fmla="*/ 6 w 201"/>
                <a:gd name="T31" fmla="*/ 331 h 338"/>
                <a:gd name="T32" fmla="*/ 10 w 201"/>
                <a:gd name="T33" fmla="*/ 333 h 338"/>
                <a:gd name="T34" fmla="*/ 14 w 201"/>
                <a:gd name="T35" fmla="*/ 335 h 338"/>
                <a:gd name="T36" fmla="*/ 19 w 201"/>
                <a:gd name="T37" fmla="*/ 338 h 338"/>
                <a:gd name="T38" fmla="*/ 23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0 w 201"/>
                <a:gd name="T47" fmla="*/ 19 h 338"/>
                <a:gd name="T48" fmla="*/ 199 w 201"/>
                <a:gd name="T49" fmla="*/ 15 h 338"/>
                <a:gd name="T50" fmla="*/ 197 w 201"/>
                <a:gd name="T51" fmla="*/ 10 h 338"/>
                <a:gd name="T52" fmla="*/ 194 w 201"/>
                <a:gd name="T53" fmla="*/ 6 h 338"/>
                <a:gd name="T54" fmla="*/ 190 w 201"/>
                <a:gd name="T55" fmla="*/ 4 h 338"/>
                <a:gd name="T56" fmla="*/ 186 w 201"/>
                <a:gd name="T57" fmla="*/ 2 h 338"/>
                <a:gd name="T58" fmla="*/ 182 w 201"/>
                <a:gd name="T59" fmla="*/ 0 h 338"/>
                <a:gd name="T60" fmla="*/ 176 w 201"/>
                <a:gd name="T61" fmla="*/ 0 h 338"/>
                <a:gd name="T62" fmla="*/ 176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6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0" y="318"/>
                  </a:lnTo>
                  <a:lnTo>
                    <a:pt x="1" y="322"/>
                  </a:lnTo>
                  <a:lnTo>
                    <a:pt x="3" y="327"/>
                  </a:lnTo>
                  <a:lnTo>
                    <a:pt x="6" y="331"/>
                  </a:lnTo>
                  <a:lnTo>
                    <a:pt x="10" y="333"/>
                  </a:lnTo>
                  <a:lnTo>
                    <a:pt x="14" y="335"/>
                  </a:lnTo>
                  <a:lnTo>
                    <a:pt x="19" y="338"/>
                  </a:lnTo>
                  <a:lnTo>
                    <a:pt x="23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0" y="19"/>
                  </a:lnTo>
                  <a:lnTo>
                    <a:pt x="199" y="15"/>
                  </a:lnTo>
                  <a:lnTo>
                    <a:pt x="197" y="10"/>
                  </a:lnTo>
                  <a:lnTo>
                    <a:pt x="194" y="6"/>
                  </a:lnTo>
                  <a:lnTo>
                    <a:pt x="190" y="4"/>
                  </a:lnTo>
                  <a:lnTo>
                    <a:pt x="186" y="2"/>
                  </a:lnTo>
                  <a:lnTo>
                    <a:pt x="182" y="0"/>
                  </a:lnTo>
                  <a:lnTo>
                    <a:pt x="176" y="0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3127" y="1111"/>
              <a:ext cx="101" cy="169"/>
            </a:xfrm>
            <a:custGeom>
              <a:avLst/>
              <a:gdLst>
                <a:gd name="T0" fmla="*/ 178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1 w 201"/>
                <a:gd name="T25" fmla="*/ 318 h 338"/>
                <a:gd name="T26" fmla="*/ 2 w 201"/>
                <a:gd name="T27" fmla="*/ 322 h 338"/>
                <a:gd name="T28" fmla="*/ 4 w 201"/>
                <a:gd name="T29" fmla="*/ 327 h 338"/>
                <a:gd name="T30" fmla="*/ 7 w 201"/>
                <a:gd name="T31" fmla="*/ 331 h 338"/>
                <a:gd name="T32" fmla="*/ 10 w 201"/>
                <a:gd name="T33" fmla="*/ 333 h 338"/>
                <a:gd name="T34" fmla="*/ 15 w 201"/>
                <a:gd name="T35" fmla="*/ 335 h 338"/>
                <a:gd name="T36" fmla="*/ 19 w 201"/>
                <a:gd name="T37" fmla="*/ 338 h 338"/>
                <a:gd name="T38" fmla="*/ 25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1 w 201"/>
                <a:gd name="T47" fmla="*/ 19 h 338"/>
                <a:gd name="T48" fmla="*/ 200 w 201"/>
                <a:gd name="T49" fmla="*/ 15 h 338"/>
                <a:gd name="T50" fmla="*/ 197 w 201"/>
                <a:gd name="T51" fmla="*/ 10 h 338"/>
                <a:gd name="T52" fmla="*/ 195 w 201"/>
                <a:gd name="T53" fmla="*/ 6 h 338"/>
                <a:gd name="T54" fmla="*/ 191 w 201"/>
                <a:gd name="T55" fmla="*/ 4 h 338"/>
                <a:gd name="T56" fmla="*/ 187 w 201"/>
                <a:gd name="T57" fmla="*/ 2 h 338"/>
                <a:gd name="T58" fmla="*/ 182 w 201"/>
                <a:gd name="T59" fmla="*/ 0 h 338"/>
                <a:gd name="T60" fmla="*/ 178 w 201"/>
                <a:gd name="T61" fmla="*/ 0 h 338"/>
                <a:gd name="T62" fmla="*/ 178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8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1" y="318"/>
                  </a:lnTo>
                  <a:lnTo>
                    <a:pt x="2" y="322"/>
                  </a:lnTo>
                  <a:lnTo>
                    <a:pt x="4" y="327"/>
                  </a:lnTo>
                  <a:lnTo>
                    <a:pt x="7" y="331"/>
                  </a:lnTo>
                  <a:lnTo>
                    <a:pt x="10" y="333"/>
                  </a:lnTo>
                  <a:lnTo>
                    <a:pt x="15" y="335"/>
                  </a:lnTo>
                  <a:lnTo>
                    <a:pt x="19" y="338"/>
                  </a:lnTo>
                  <a:lnTo>
                    <a:pt x="25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1" y="19"/>
                  </a:lnTo>
                  <a:lnTo>
                    <a:pt x="200" y="15"/>
                  </a:lnTo>
                  <a:lnTo>
                    <a:pt x="197" y="10"/>
                  </a:lnTo>
                  <a:lnTo>
                    <a:pt x="195" y="6"/>
                  </a:lnTo>
                  <a:lnTo>
                    <a:pt x="191" y="4"/>
                  </a:lnTo>
                  <a:lnTo>
                    <a:pt x="187" y="2"/>
                  </a:lnTo>
                  <a:lnTo>
                    <a:pt x="182" y="0"/>
                  </a:lnTo>
                  <a:lnTo>
                    <a:pt x="178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Freeform 5"/>
          <p:cNvSpPr>
            <a:spLocks noEditPoints="1"/>
          </p:cNvSpPr>
          <p:nvPr/>
        </p:nvSpPr>
        <p:spPr bwMode="auto">
          <a:xfrm>
            <a:off x="4373891" y="2760466"/>
            <a:ext cx="806446" cy="814052"/>
          </a:xfrm>
          <a:custGeom>
            <a:avLst/>
            <a:gdLst>
              <a:gd name="T0" fmla="*/ 426 w 426"/>
              <a:gd name="T1" fmla="*/ 93 h 426"/>
              <a:gd name="T2" fmla="*/ 394 w 426"/>
              <a:gd name="T3" fmla="*/ 65 h 426"/>
              <a:gd name="T4" fmla="*/ 393 w 426"/>
              <a:gd name="T5" fmla="*/ 59 h 426"/>
              <a:gd name="T6" fmla="*/ 388 w 426"/>
              <a:gd name="T7" fmla="*/ 47 h 426"/>
              <a:gd name="T8" fmla="*/ 379 w 426"/>
              <a:gd name="T9" fmla="*/ 38 h 426"/>
              <a:gd name="T10" fmla="*/ 368 w 426"/>
              <a:gd name="T11" fmla="*/ 33 h 426"/>
              <a:gd name="T12" fmla="*/ 332 w 426"/>
              <a:gd name="T13" fmla="*/ 32 h 426"/>
              <a:gd name="T14" fmla="*/ 304 w 426"/>
              <a:gd name="T15" fmla="*/ 0 h 426"/>
              <a:gd name="T16" fmla="*/ 262 w 426"/>
              <a:gd name="T17" fmla="*/ 32 h 426"/>
              <a:gd name="T18" fmla="*/ 235 w 426"/>
              <a:gd name="T19" fmla="*/ 0 h 426"/>
              <a:gd name="T20" fmla="*/ 192 w 426"/>
              <a:gd name="T21" fmla="*/ 32 h 426"/>
              <a:gd name="T22" fmla="*/ 164 w 426"/>
              <a:gd name="T23" fmla="*/ 0 h 426"/>
              <a:gd name="T24" fmla="*/ 122 w 426"/>
              <a:gd name="T25" fmla="*/ 32 h 426"/>
              <a:gd name="T26" fmla="*/ 94 w 426"/>
              <a:gd name="T27" fmla="*/ 0 h 426"/>
              <a:gd name="T28" fmla="*/ 32 w 426"/>
              <a:gd name="T29" fmla="*/ 32 h 426"/>
              <a:gd name="T30" fmla="*/ 0 w 426"/>
              <a:gd name="T31" fmla="*/ 93 h 426"/>
              <a:gd name="T32" fmla="*/ 32 w 426"/>
              <a:gd name="T33" fmla="*/ 121 h 426"/>
              <a:gd name="T34" fmla="*/ 0 w 426"/>
              <a:gd name="T35" fmla="*/ 163 h 426"/>
              <a:gd name="T36" fmla="*/ 32 w 426"/>
              <a:gd name="T37" fmla="*/ 191 h 426"/>
              <a:gd name="T38" fmla="*/ 0 w 426"/>
              <a:gd name="T39" fmla="*/ 235 h 426"/>
              <a:gd name="T40" fmla="*/ 32 w 426"/>
              <a:gd name="T41" fmla="*/ 263 h 426"/>
              <a:gd name="T42" fmla="*/ 0 w 426"/>
              <a:gd name="T43" fmla="*/ 305 h 426"/>
              <a:gd name="T44" fmla="*/ 32 w 426"/>
              <a:gd name="T45" fmla="*/ 333 h 426"/>
              <a:gd name="T46" fmla="*/ 32 w 426"/>
              <a:gd name="T47" fmla="*/ 362 h 426"/>
              <a:gd name="T48" fmla="*/ 36 w 426"/>
              <a:gd name="T49" fmla="*/ 374 h 426"/>
              <a:gd name="T50" fmla="*/ 42 w 426"/>
              <a:gd name="T51" fmla="*/ 384 h 426"/>
              <a:gd name="T52" fmla="*/ 53 w 426"/>
              <a:gd name="T53" fmla="*/ 392 h 426"/>
              <a:gd name="T54" fmla="*/ 66 w 426"/>
              <a:gd name="T55" fmla="*/ 394 h 426"/>
              <a:gd name="T56" fmla="*/ 94 w 426"/>
              <a:gd name="T57" fmla="*/ 426 h 426"/>
              <a:gd name="T58" fmla="*/ 122 w 426"/>
              <a:gd name="T59" fmla="*/ 394 h 426"/>
              <a:gd name="T60" fmla="*/ 164 w 426"/>
              <a:gd name="T61" fmla="*/ 426 h 426"/>
              <a:gd name="T62" fmla="*/ 192 w 426"/>
              <a:gd name="T63" fmla="*/ 394 h 426"/>
              <a:gd name="T64" fmla="*/ 235 w 426"/>
              <a:gd name="T65" fmla="*/ 426 h 426"/>
              <a:gd name="T66" fmla="*/ 262 w 426"/>
              <a:gd name="T67" fmla="*/ 394 h 426"/>
              <a:gd name="T68" fmla="*/ 304 w 426"/>
              <a:gd name="T69" fmla="*/ 426 h 426"/>
              <a:gd name="T70" fmla="*/ 332 w 426"/>
              <a:gd name="T71" fmla="*/ 394 h 426"/>
              <a:gd name="T72" fmla="*/ 394 w 426"/>
              <a:gd name="T73" fmla="*/ 333 h 426"/>
              <a:gd name="T74" fmla="*/ 426 w 426"/>
              <a:gd name="T75" fmla="*/ 305 h 426"/>
              <a:gd name="T76" fmla="*/ 394 w 426"/>
              <a:gd name="T77" fmla="*/ 263 h 426"/>
              <a:gd name="T78" fmla="*/ 426 w 426"/>
              <a:gd name="T79" fmla="*/ 235 h 426"/>
              <a:gd name="T80" fmla="*/ 394 w 426"/>
              <a:gd name="T81" fmla="*/ 191 h 426"/>
              <a:gd name="T82" fmla="*/ 426 w 426"/>
              <a:gd name="T83" fmla="*/ 163 h 426"/>
              <a:gd name="T84" fmla="*/ 394 w 426"/>
              <a:gd name="T85" fmla="*/ 121 h 426"/>
              <a:gd name="T86" fmla="*/ 359 w 426"/>
              <a:gd name="T87" fmla="*/ 360 h 426"/>
              <a:gd name="T88" fmla="*/ 67 w 426"/>
              <a:gd name="T89" fmla="*/ 66 h 426"/>
              <a:gd name="T90" fmla="*/ 359 w 426"/>
              <a:gd name="T91" fmla="*/ 360 h 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26" h="426">
                <a:moveTo>
                  <a:pt x="426" y="121"/>
                </a:moveTo>
                <a:lnTo>
                  <a:pt x="426" y="93"/>
                </a:lnTo>
                <a:lnTo>
                  <a:pt x="394" y="93"/>
                </a:lnTo>
                <a:lnTo>
                  <a:pt x="394" y="65"/>
                </a:lnTo>
                <a:lnTo>
                  <a:pt x="394" y="65"/>
                </a:lnTo>
                <a:lnTo>
                  <a:pt x="393" y="59"/>
                </a:lnTo>
                <a:lnTo>
                  <a:pt x="390" y="52"/>
                </a:lnTo>
                <a:lnTo>
                  <a:pt x="388" y="47"/>
                </a:lnTo>
                <a:lnTo>
                  <a:pt x="384" y="42"/>
                </a:lnTo>
                <a:lnTo>
                  <a:pt x="379" y="38"/>
                </a:lnTo>
                <a:lnTo>
                  <a:pt x="373" y="35"/>
                </a:lnTo>
                <a:lnTo>
                  <a:pt x="368" y="33"/>
                </a:lnTo>
                <a:lnTo>
                  <a:pt x="360" y="32"/>
                </a:lnTo>
                <a:lnTo>
                  <a:pt x="332" y="32"/>
                </a:lnTo>
                <a:lnTo>
                  <a:pt x="332" y="0"/>
                </a:lnTo>
                <a:lnTo>
                  <a:pt x="304" y="0"/>
                </a:lnTo>
                <a:lnTo>
                  <a:pt x="304" y="32"/>
                </a:lnTo>
                <a:lnTo>
                  <a:pt x="262" y="32"/>
                </a:lnTo>
                <a:lnTo>
                  <a:pt x="262" y="0"/>
                </a:lnTo>
                <a:lnTo>
                  <a:pt x="235" y="0"/>
                </a:lnTo>
                <a:lnTo>
                  <a:pt x="235" y="32"/>
                </a:lnTo>
                <a:lnTo>
                  <a:pt x="192" y="32"/>
                </a:lnTo>
                <a:lnTo>
                  <a:pt x="192" y="0"/>
                </a:lnTo>
                <a:lnTo>
                  <a:pt x="164" y="0"/>
                </a:lnTo>
                <a:lnTo>
                  <a:pt x="164" y="32"/>
                </a:lnTo>
                <a:lnTo>
                  <a:pt x="122" y="32"/>
                </a:lnTo>
                <a:lnTo>
                  <a:pt x="122" y="0"/>
                </a:lnTo>
                <a:lnTo>
                  <a:pt x="94" y="0"/>
                </a:lnTo>
                <a:lnTo>
                  <a:pt x="94" y="32"/>
                </a:lnTo>
                <a:lnTo>
                  <a:pt x="32" y="32"/>
                </a:lnTo>
                <a:lnTo>
                  <a:pt x="32" y="93"/>
                </a:lnTo>
                <a:lnTo>
                  <a:pt x="0" y="93"/>
                </a:lnTo>
                <a:lnTo>
                  <a:pt x="0" y="121"/>
                </a:lnTo>
                <a:lnTo>
                  <a:pt x="32" y="121"/>
                </a:lnTo>
                <a:lnTo>
                  <a:pt x="32" y="163"/>
                </a:lnTo>
                <a:lnTo>
                  <a:pt x="0" y="163"/>
                </a:lnTo>
                <a:lnTo>
                  <a:pt x="0" y="191"/>
                </a:lnTo>
                <a:lnTo>
                  <a:pt x="32" y="191"/>
                </a:lnTo>
                <a:lnTo>
                  <a:pt x="32" y="235"/>
                </a:lnTo>
                <a:lnTo>
                  <a:pt x="0" y="235"/>
                </a:lnTo>
                <a:lnTo>
                  <a:pt x="0" y="263"/>
                </a:lnTo>
                <a:lnTo>
                  <a:pt x="32" y="263"/>
                </a:lnTo>
                <a:lnTo>
                  <a:pt x="32" y="305"/>
                </a:lnTo>
                <a:lnTo>
                  <a:pt x="0" y="305"/>
                </a:lnTo>
                <a:lnTo>
                  <a:pt x="0" y="333"/>
                </a:lnTo>
                <a:lnTo>
                  <a:pt x="32" y="333"/>
                </a:lnTo>
                <a:lnTo>
                  <a:pt x="32" y="362"/>
                </a:lnTo>
                <a:lnTo>
                  <a:pt x="32" y="362"/>
                </a:lnTo>
                <a:lnTo>
                  <a:pt x="33" y="368"/>
                </a:lnTo>
                <a:lnTo>
                  <a:pt x="36" y="374"/>
                </a:lnTo>
                <a:lnTo>
                  <a:pt x="38" y="380"/>
                </a:lnTo>
                <a:lnTo>
                  <a:pt x="42" y="384"/>
                </a:lnTo>
                <a:lnTo>
                  <a:pt x="47" y="389"/>
                </a:lnTo>
                <a:lnTo>
                  <a:pt x="53" y="392"/>
                </a:lnTo>
                <a:lnTo>
                  <a:pt x="58" y="393"/>
                </a:lnTo>
                <a:lnTo>
                  <a:pt x="66" y="394"/>
                </a:lnTo>
                <a:lnTo>
                  <a:pt x="94" y="394"/>
                </a:lnTo>
                <a:lnTo>
                  <a:pt x="94" y="426"/>
                </a:lnTo>
                <a:lnTo>
                  <a:pt x="122" y="426"/>
                </a:lnTo>
                <a:lnTo>
                  <a:pt x="122" y="394"/>
                </a:lnTo>
                <a:lnTo>
                  <a:pt x="164" y="394"/>
                </a:lnTo>
                <a:lnTo>
                  <a:pt x="164" y="426"/>
                </a:lnTo>
                <a:lnTo>
                  <a:pt x="192" y="426"/>
                </a:lnTo>
                <a:lnTo>
                  <a:pt x="192" y="394"/>
                </a:lnTo>
                <a:lnTo>
                  <a:pt x="235" y="394"/>
                </a:lnTo>
                <a:lnTo>
                  <a:pt x="235" y="426"/>
                </a:lnTo>
                <a:lnTo>
                  <a:pt x="262" y="426"/>
                </a:lnTo>
                <a:lnTo>
                  <a:pt x="262" y="394"/>
                </a:lnTo>
                <a:lnTo>
                  <a:pt x="304" y="394"/>
                </a:lnTo>
                <a:lnTo>
                  <a:pt x="304" y="426"/>
                </a:lnTo>
                <a:lnTo>
                  <a:pt x="332" y="426"/>
                </a:lnTo>
                <a:lnTo>
                  <a:pt x="332" y="394"/>
                </a:lnTo>
                <a:lnTo>
                  <a:pt x="394" y="394"/>
                </a:lnTo>
                <a:lnTo>
                  <a:pt x="394" y="333"/>
                </a:lnTo>
                <a:lnTo>
                  <a:pt x="426" y="333"/>
                </a:lnTo>
                <a:lnTo>
                  <a:pt x="426" y="305"/>
                </a:lnTo>
                <a:lnTo>
                  <a:pt x="394" y="305"/>
                </a:lnTo>
                <a:lnTo>
                  <a:pt x="394" y="263"/>
                </a:lnTo>
                <a:lnTo>
                  <a:pt x="426" y="263"/>
                </a:lnTo>
                <a:lnTo>
                  <a:pt x="426" y="235"/>
                </a:lnTo>
                <a:lnTo>
                  <a:pt x="394" y="235"/>
                </a:lnTo>
                <a:lnTo>
                  <a:pt x="394" y="191"/>
                </a:lnTo>
                <a:lnTo>
                  <a:pt x="426" y="191"/>
                </a:lnTo>
                <a:lnTo>
                  <a:pt x="426" y="163"/>
                </a:lnTo>
                <a:lnTo>
                  <a:pt x="394" y="163"/>
                </a:lnTo>
                <a:lnTo>
                  <a:pt x="394" y="121"/>
                </a:lnTo>
                <a:lnTo>
                  <a:pt x="426" y="121"/>
                </a:lnTo>
                <a:close/>
                <a:moveTo>
                  <a:pt x="359" y="360"/>
                </a:moveTo>
                <a:lnTo>
                  <a:pt x="67" y="360"/>
                </a:lnTo>
                <a:lnTo>
                  <a:pt x="67" y="66"/>
                </a:lnTo>
                <a:lnTo>
                  <a:pt x="359" y="66"/>
                </a:lnTo>
                <a:lnTo>
                  <a:pt x="359" y="360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938719" y="3666930"/>
            <a:ext cx="2441331" cy="6531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ctr"/>
            <a:r>
              <a:rPr lang="en-US" b="1">
                <a:solidFill>
                  <a:srgbClr val="0096D6"/>
                </a:solidFill>
              </a:rPr>
              <a:t>Detect compromised/ malicious hardware components</a:t>
            </a:r>
            <a:endParaRPr lang="en-US" b="1" dirty="0">
              <a:solidFill>
                <a:srgbClr val="0096D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29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ecurity for The Machine – A sneak peek at security research from HP Lab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Pratyusa K. Manadhata / June 3, 2015</a:t>
            </a:r>
          </a:p>
          <a:p>
            <a:r>
              <a:rPr lang="en-US" dirty="0" smtClean="0"/>
              <a:t>#</a:t>
            </a:r>
            <a:r>
              <a:rPr lang="en-US" dirty="0" err="1" smtClean="0"/>
              <a:t>HPDiscov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5291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Detect:</a:t>
            </a:r>
            <a:r>
              <a:rPr lang="en-US" dirty="0" smtClean="0"/>
              <a:t> </a:t>
            </a:r>
            <a:r>
              <a:rPr lang="en-US" dirty="0"/>
              <a:t>Tamper-proof monitoring/introspection</a:t>
            </a:r>
            <a:r>
              <a:rPr lang="en-US" dirty="0" smtClean="0"/>
              <a:t> </a:t>
            </a:r>
            <a:endParaRPr lang="hi-IN" dirty="0"/>
          </a:p>
        </p:txBody>
      </p:sp>
      <p:sp>
        <p:nvSpPr>
          <p:cNvPr id="5" name="Round Diagonal Corner Rectangle 4"/>
          <p:cNvSpPr/>
          <p:nvPr/>
        </p:nvSpPr>
        <p:spPr>
          <a:xfrm flipH="1">
            <a:off x="2913523" y="4841621"/>
            <a:ext cx="6575912" cy="699127"/>
          </a:xfrm>
          <a:prstGeom prst="round2DiagRect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b="1" dirty="0" smtClean="0"/>
              <a:t>Hardware and  firmware</a:t>
            </a:r>
            <a:endParaRPr lang="hi-IN" b="1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636980" y="1862520"/>
            <a:ext cx="0" cy="3785805"/>
          </a:xfrm>
          <a:prstGeom prst="line">
            <a:avLst/>
          </a:prstGeom>
          <a:ln w="34925">
            <a:solidFill>
              <a:schemeClr val="accent2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 Diagonal Corner Rectangle 7"/>
          <p:cNvSpPr/>
          <p:nvPr/>
        </p:nvSpPr>
        <p:spPr>
          <a:xfrm flipH="1">
            <a:off x="4856327" y="2601779"/>
            <a:ext cx="4633111" cy="1747818"/>
          </a:xfrm>
          <a:prstGeom prst="round2DiagRect">
            <a:avLst/>
          </a:prstGeom>
          <a:solidFill>
            <a:schemeClr val="bg2">
              <a:lumMod val="9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Operating System</a:t>
            </a:r>
            <a:endParaRPr lang="hi-IN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2775590" y="2919021"/>
            <a:ext cx="1680630" cy="2336921"/>
            <a:chOff x="670047" y="2281013"/>
            <a:chExt cx="1465416" cy="2037665"/>
          </a:xfrm>
        </p:grpSpPr>
        <p:grpSp>
          <p:nvGrpSpPr>
            <p:cNvPr id="14" name="Group 13"/>
            <p:cNvGrpSpPr/>
            <p:nvPr/>
          </p:nvGrpSpPr>
          <p:grpSpPr>
            <a:xfrm>
              <a:off x="670047" y="2281013"/>
              <a:ext cx="1465415" cy="1381573"/>
              <a:chOff x="670047" y="2281013"/>
              <a:chExt cx="1465415" cy="1381573"/>
            </a:xfrm>
          </p:grpSpPr>
          <p:sp>
            <p:nvSpPr>
              <p:cNvPr id="10" name="TextBox 9"/>
              <p:cNvSpPr txBox="1"/>
              <p:nvPr/>
            </p:nvSpPr>
            <p:spPr>
              <a:xfrm flipH="1">
                <a:off x="1223400" y="2618473"/>
                <a:ext cx="912062" cy="536728"/>
              </a:xfrm>
              <a:prstGeom prst="rect">
                <a:avLst/>
              </a:prstGeom>
              <a:solidFill>
                <a:schemeClr val="accent6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defTabSz="430213">
                  <a:spcAft>
                    <a:spcPts val="400"/>
                  </a:spcAft>
                  <a:buSzPct val="100000"/>
                </a:pPr>
                <a:r>
                  <a:rPr lang="en-GB" sz="1100" dirty="0" smtClean="0">
                    <a:solidFill>
                      <a:schemeClr val="bg1"/>
                    </a:solidFill>
                    <a:latin typeface="HP Simplified" pitchFamily="34" charset="0"/>
                    <a:cs typeface="HP Simplified" pitchFamily="34" charset="0"/>
                  </a:rPr>
                  <a:t>011</a:t>
                </a:r>
                <a:r>
                  <a:rPr lang="en-GB" sz="900" dirty="0" smtClean="0">
                    <a:solidFill>
                      <a:schemeClr val="bg1"/>
                    </a:solidFill>
                    <a:latin typeface="HP Simplified" pitchFamily="34" charset="0"/>
                    <a:cs typeface="HP Simplified" pitchFamily="34" charset="0"/>
                  </a:rPr>
                  <a:t>0101101110</a:t>
                </a:r>
                <a:r>
                  <a:rPr lang="en-GB" sz="1100" dirty="0" smtClean="0">
                    <a:solidFill>
                      <a:schemeClr val="bg1"/>
                    </a:solidFill>
                    <a:latin typeface="HP Simplified" pitchFamily="34" charset="0"/>
                    <a:cs typeface="HP Simplified" pitchFamily="34" charset="0"/>
                  </a:rPr>
                  <a:t>1111</a:t>
                </a:r>
                <a:r>
                  <a:rPr lang="en-GB" sz="900" dirty="0" smtClean="0">
                    <a:solidFill>
                      <a:schemeClr val="bg1"/>
                    </a:solidFill>
                    <a:latin typeface="HP Simplified" pitchFamily="34" charset="0"/>
                    <a:cs typeface="HP Simplified" pitchFamily="34" charset="0"/>
                  </a:rPr>
                  <a:t>100001100</a:t>
                </a:r>
                <a:r>
                  <a:rPr lang="en-GB" sz="1100" dirty="0" smtClean="0">
                    <a:solidFill>
                      <a:schemeClr val="bg1"/>
                    </a:solidFill>
                    <a:latin typeface="HP Simplified" pitchFamily="34" charset="0"/>
                    <a:cs typeface="HP Simplified" pitchFamily="34" charset="0"/>
                  </a:rPr>
                  <a:t>0111</a:t>
                </a:r>
                <a:r>
                  <a:rPr lang="en-GB" sz="900" dirty="0" smtClean="0">
                    <a:solidFill>
                      <a:schemeClr val="bg1"/>
                    </a:solidFill>
                    <a:latin typeface="HP Simplified" pitchFamily="34" charset="0"/>
                    <a:cs typeface="HP Simplified" pitchFamily="34" charset="0"/>
                  </a:rPr>
                  <a:t>01110011110011011100011</a:t>
                </a:r>
              </a:p>
            </p:txBody>
          </p:sp>
          <p:pic>
            <p:nvPicPr>
              <p:cNvPr id="11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 flipH="1">
                <a:off x="532613" y="2418447"/>
                <a:ext cx="1381573" cy="110670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13" name="TextBox 12"/>
            <p:cNvSpPr txBox="1"/>
            <p:nvPr/>
          </p:nvSpPr>
          <p:spPr>
            <a:xfrm>
              <a:off x="1221063" y="3404278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dirty="0" smtClean="0">
                  <a:solidFill>
                    <a:schemeClr val="accent1"/>
                  </a:solidFill>
                </a:rPr>
                <a:t> Monitor</a:t>
              </a:r>
              <a:endParaRPr lang="hi-IN" dirty="0" err="1" smtClean="0">
                <a:solidFill>
                  <a:schemeClr val="accent1"/>
                </a:solidFill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6605539" y="2077491"/>
            <a:ext cx="1048691" cy="10486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Normal mode</a:t>
            </a:r>
            <a:endParaRPr lang="hi-IN" dirty="0" err="1" smtClean="0"/>
          </a:p>
        </p:txBody>
      </p:sp>
      <p:sp>
        <p:nvSpPr>
          <p:cNvPr id="20" name="TextBox 19"/>
          <p:cNvSpPr txBox="1"/>
          <p:nvPr/>
        </p:nvSpPr>
        <p:spPr>
          <a:xfrm>
            <a:off x="2913524" y="2080620"/>
            <a:ext cx="1048691" cy="10486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>
                <a:solidFill>
                  <a:schemeClr val="accent1"/>
                </a:solidFill>
              </a:rPr>
              <a:t>Secure mode</a:t>
            </a:r>
            <a:endParaRPr lang="hi-IN" dirty="0" err="1" smtClean="0">
              <a:solidFill>
                <a:schemeClr val="accent1"/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3547" y="739335"/>
            <a:ext cx="1205837" cy="243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53679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Detect:</a:t>
            </a:r>
            <a:r>
              <a:rPr lang="en-US" dirty="0" smtClean="0"/>
              <a:t> Primitives to enable detection “outside The Machine”</a:t>
            </a:r>
            <a:endParaRPr lang="hi-IN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Primitives/APIs for event generation and remediation/recovery action</a:t>
            </a:r>
          </a:p>
          <a:p>
            <a:pPr marL="0" indent="0">
              <a:buNone/>
            </a:pPr>
            <a:endParaRPr lang="hi-IN" dirty="0"/>
          </a:p>
        </p:txBody>
      </p:sp>
      <p:pic>
        <p:nvPicPr>
          <p:cNvPr id="7" name="Picture 4" descr="image00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1866" y="2010179"/>
            <a:ext cx="6176804" cy="3133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7243594" y="5264151"/>
            <a:ext cx="1679576" cy="27590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 smtClean="0"/>
              <a:t>DNS Analytics</a:t>
            </a:r>
            <a:endParaRPr lang="hi-IN" b="1" dirty="0" err="1" smtClean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3547" y="735095"/>
            <a:ext cx="1205837" cy="243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550" y="2635767"/>
            <a:ext cx="2384151" cy="1882028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3235156" y="3412970"/>
            <a:ext cx="1049340" cy="327622"/>
            <a:chOff x="5782328" y="2891709"/>
            <a:chExt cx="964333" cy="301081"/>
          </a:xfrm>
        </p:grpSpPr>
        <p:sp>
          <p:nvSpPr>
            <p:cNvPr id="30" name="Round Diagonal Corner Rectangle 29"/>
            <p:cNvSpPr/>
            <p:nvPr/>
          </p:nvSpPr>
          <p:spPr>
            <a:xfrm>
              <a:off x="5861230" y="2968882"/>
              <a:ext cx="782856" cy="146735"/>
            </a:xfrm>
            <a:prstGeom prst="round2DiagRect">
              <a:avLst>
                <a:gd name="adj1" fmla="val 23013"/>
                <a:gd name="adj2" fmla="val 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31" name="Freeform 112"/>
            <p:cNvSpPr>
              <a:spLocks/>
            </p:cNvSpPr>
            <p:nvPr/>
          </p:nvSpPr>
          <p:spPr bwMode="auto">
            <a:xfrm rot="10800000">
              <a:off x="6523793" y="2891709"/>
              <a:ext cx="222868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  <p:sp>
          <p:nvSpPr>
            <p:cNvPr id="32" name="Freeform 112"/>
            <p:cNvSpPr>
              <a:spLocks/>
            </p:cNvSpPr>
            <p:nvPr/>
          </p:nvSpPr>
          <p:spPr bwMode="auto">
            <a:xfrm>
              <a:off x="5782328" y="2891710"/>
              <a:ext cx="222868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485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Recover:</a:t>
            </a:r>
            <a:r>
              <a:rPr lang="en-US" dirty="0" smtClean="0"/>
              <a:t> Recover from malicious actions</a:t>
            </a:r>
            <a:endParaRPr lang="hi-IN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Some examples are:</a:t>
            </a:r>
            <a:endParaRPr lang="en-US" dirty="0"/>
          </a:p>
        </p:txBody>
      </p:sp>
      <p:grpSp>
        <p:nvGrpSpPr>
          <p:cNvPr id="5" name="Group 422"/>
          <p:cNvGrpSpPr>
            <a:grpSpLocks noChangeAspect="1"/>
          </p:cNvGrpSpPr>
          <p:nvPr/>
        </p:nvGrpSpPr>
        <p:grpSpPr bwMode="auto">
          <a:xfrm>
            <a:off x="11052014" y="685800"/>
            <a:ext cx="527370" cy="603922"/>
            <a:chOff x="5326" y="548"/>
            <a:chExt cx="186" cy="213"/>
          </a:xfrm>
          <a:solidFill>
            <a:schemeClr val="accent1"/>
          </a:solidFill>
        </p:grpSpPr>
        <p:sp>
          <p:nvSpPr>
            <p:cNvPr id="6" name="Freeform 423"/>
            <p:cNvSpPr>
              <a:spLocks noEditPoints="1"/>
            </p:cNvSpPr>
            <p:nvPr/>
          </p:nvSpPr>
          <p:spPr bwMode="auto">
            <a:xfrm>
              <a:off x="5426" y="548"/>
              <a:ext cx="86" cy="153"/>
            </a:xfrm>
            <a:custGeom>
              <a:avLst/>
              <a:gdLst>
                <a:gd name="T0" fmla="*/ 85 w 172"/>
                <a:gd name="T1" fmla="*/ 94 h 306"/>
                <a:gd name="T2" fmla="*/ 106 w 172"/>
                <a:gd name="T3" fmla="*/ 91 h 306"/>
                <a:gd name="T4" fmla="*/ 120 w 172"/>
                <a:gd name="T5" fmla="*/ 84 h 306"/>
                <a:gd name="T6" fmla="*/ 128 w 172"/>
                <a:gd name="T7" fmla="*/ 69 h 306"/>
                <a:gd name="T8" fmla="*/ 131 w 172"/>
                <a:gd name="T9" fmla="*/ 47 h 306"/>
                <a:gd name="T10" fmla="*/ 129 w 172"/>
                <a:gd name="T11" fmla="*/ 35 h 306"/>
                <a:gd name="T12" fmla="*/ 125 w 172"/>
                <a:gd name="T13" fmla="*/ 17 h 306"/>
                <a:gd name="T14" fmla="*/ 114 w 172"/>
                <a:gd name="T15" fmla="*/ 6 h 306"/>
                <a:gd name="T16" fmla="*/ 97 w 172"/>
                <a:gd name="T17" fmla="*/ 0 h 306"/>
                <a:gd name="T18" fmla="*/ 85 w 172"/>
                <a:gd name="T19" fmla="*/ 0 h 306"/>
                <a:gd name="T20" fmla="*/ 65 w 172"/>
                <a:gd name="T21" fmla="*/ 2 h 306"/>
                <a:gd name="T22" fmla="*/ 51 w 172"/>
                <a:gd name="T23" fmla="*/ 10 h 306"/>
                <a:gd name="T24" fmla="*/ 43 w 172"/>
                <a:gd name="T25" fmla="*/ 25 h 306"/>
                <a:gd name="T26" fmla="*/ 41 w 172"/>
                <a:gd name="T27" fmla="*/ 47 h 306"/>
                <a:gd name="T28" fmla="*/ 41 w 172"/>
                <a:gd name="T29" fmla="*/ 59 h 306"/>
                <a:gd name="T30" fmla="*/ 46 w 172"/>
                <a:gd name="T31" fmla="*/ 76 h 306"/>
                <a:gd name="T32" fmla="*/ 57 w 172"/>
                <a:gd name="T33" fmla="*/ 88 h 306"/>
                <a:gd name="T34" fmla="*/ 74 w 172"/>
                <a:gd name="T35" fmla="*/ 93 h 306"/>
                <a:gd name="T36" fmla="*/ 85 w 172"/>
                <a:gd name="T37" fmla="*/ 94 h 306"/>
                <a:gd name="T38" fmla="*/ 36 w 172"/>
                <a:gd name="T39" fmla="*/ 108 h 306"/>
                <a:gd name="T40" fmla="*/ 28 w 172"/>
                <a:gd name="T41" fmla="*/ 108 h 306"/>
                <a:gd name="T42" fmla="*/ 14 w 172"/>
                <a:gd name="T43" fmla="*/ 113 h 306"/>
                <a:gd name="T44" fmla="*/ 5 w 172"/>
                <a:gd name="T45" fmla="*/ 122 h 306"/>
                <a:gd name="T46" fmla="*/ 0 w 172"/>
                <a:gd name="T47" fmla="*/ 138 h 306"/>
                <a:gd name="T48" fmla="*/ 0 w 172"/>
                <a:gd name="T49" fmla="*/ 173 h 306"/>
                <a:gd name="T50" fmla="*/ 28 w 172"/>
                <a:gd name="T51" fmla="*/ 156 h 306"/>
                <a:gd name="T52" fmla="*/ 29 w 172"/>
                <a:gd name="T53" fmla="*/ 154 h 306"/>
                <a:gd name="T54" fmla="*/ 32 w 172"/>
                <a:gd name="T55" fmla="*/ 153 h 306"/>
                <a:gd name="T56" fmla="*/ 36 w 172"/>
                <a:gd name="T57" fmla="*/ 156 h 306"/>
                <a:gd name="T58" fmla="*/ 133 w 172"/>
                <a:gd name="T59" fmla="*/ 306 h 306"/>
                <a:gd name="T60" fmla="*/ 135 w 172"/>
                <a:gd name="T61" fmla="*/ 281 h 306"/>
                <a:gd name="T62" fmla="*/ 136 w 172"/>
                <a:gd name="T63" fmla="*/ 265 h 306"/>
                <a:gd name="T64" fmla="*/ 136 w 172"/>
                <a:gd name="T65" fmla="*/ 156 h 306"/>
                <a:gd name="T66" fmla="*/ 139 w 172"/>
                <a:gd name="T67" fmla="*/ 153 h 306"/>
                <a:gd name="T68" fmla="*/ 142 w 172"/>
                <a:gd name="T69" fmla="*/ 154 h 306"/>
                <a:gd name="T70" fmla="*/ 142 w 172"/>
                <a:gd name="T71" fmla="*/ 258 h 306"/>
                <a:gd name="T72" fmla="*/ 143 w 172"/>
                <a:gd name="T73" fmla="*/ 260 h 306"/>
                <a:gd name="T74" fmla="*/ 145 w 172"/>
                <a:gd name="T75" fmla="*/ 266 h 306"/>
                <a:gd name="T76" fmla="*/ 152 w 172"/>
                <a:gd name="T77" fmla="*/ 272 h 306"/>
                <a:gd name="T78" fmla="*/ 158 w 172"/>
                <a:gd name="T79" fmla="*/ 272 h 306"/>
                <a:gd name="T80" fmla="*/ 167 w 172"/>
                <a:gd name="T81" fmla="*/ 269 h 306"/>
                <a:gd name="T82" fmla="*/ 172 w 172"/>
                <a:gd name="T83" fmla="*/ 258 h 306"/>
                <a:gd name="T84" fmla="*/ 172 w 172"/>
                <a:gd name="T85" fmla="*/ 146 h 306"/>
                <a:gd name="T86" fmla="*/ 169 w 172"/>
                <a:gd name="T87" fmla="*/ 129 h 306"/>
                <a:gd name="T88" fmla="*/ 162 w 172"/>
                <a:gd name="T89" fmla="*/ 117 h 306"/>
                <a:gd name="T90" fmla="*/ 151 w 172"/>
                <a:gd name="T91" fmla="*/ 111 h 306"/>
                <a:gd name="T92" fmla="*/ 136 w 172"/>
                <a:gd name="T93" fmla="*/ 108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2" h="306">
                  <a:moveTo>
                    <a:pt x="85" y="94"/>
                  </a:moveTo>
                  <a:lnTo>
                    <a:pt x="85" y="94"/>
                  </a:lnTo>
                  <a:lnTo>
                    <a:pt x="97" y="93"/>
                  </a:lnTo>
                  <a:lnTo>
                    <a:pt x="106" y="91"/>
                  </a:lnTo>
                  <a:lnTo>
                    <a:pt x="114" y="88"/>
                  </a:lnTo>
                  <a:lnTo>
                    <a:pt x="120" y="84"/>
                  </a:lnTo>
                  <a:lnTo>
                    <a:pt x="125" y="76"/>
                  </a:lnTo>
                  <a:lnTo>
                    <a:pt x="128" y="69"/>
                  </a:lnTo>
                  <a:lnTo>
                    <a:pt x="129" y="59"/>
                  </a:lnTo>
                  <a:lnTo>
                    <a:pt x="131" y="47"/>
                  </a:lnTo>
                  <a:lnTo>
                    <a:pt x="131" y="47"/>
                  </a:lnTo>
                  <a:lnTo>
                    <a:pt x="129" y="35"/>
                  </a:lnTo>
                  <a:lnTo>
                    <a:pt x="128" y="25"/>
                  </a:lnTo>
                  <a:lnTo>
                    <a:pt x="125" y="17"/>
                  </a:lnTo>
                  <a:lnTo>
                    <a:pt x="120" y="10"/>
                  </a:lnTo>
                  <a:lnTo>
                    <a:pt x="114" y="6"/>
                  </a:lnTo>
                  <a:lnTo>
                    <a:pt x="106" y="2"/>
                  </a:lnTo>
                  <a:lnTo>
                    <a:pt x="97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65" y="2"/>
                  </a:lnTo>
                  <a:lnTo>
                    <a:pt x="57" y="6"/>
                  </a:lnTo>
                  <a:lnTo>
                    <a:pt x="51" y="10"/>
                  </a:lnTo>
                  <a:lnTo>
                    <a:pt x="46" y="17"/>
                  </a:lnTo>
                  <a:lnTo>
                    <a:pt x="43" y="25"/>
                  </a:lnTo>
                  <a:lnTo>
                    <a:pt x="41" y="35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59"/>
                  </a:lnTo>
                  <a:lnTo>
                    <a:pt x="43" y="69"/>
                  </a:lnTo>
                  <a:lnTo>
                    <a:pt x="46" y="76"/>
                  </a:lnTo>
                  <a:lnTo>
                    <a:pt x="51" y="84"/>
                  </a:lnTo>
                  <a:lnTo>
                    <a:pt x="57" y="88"/>
                  </a:lnTo>
                  <a:lnTo>
                    <a:pt x="65" y="91"/>
                  </a:lnTo>
                  <a:lnTo>
                    <a:pt x="74" y="93"/>
                  </a:lnTo>
                  <a:lnTo>
                    <a:pt x="85" y="94"/>
                  </a:lnTo>
                  <a:lnTo>
                    <a:pt x="85" y="94"/>
                  </a:lnTo>
                  <a:close/>
                  <a:moveTo>
                    <a:pt x="136" y="108"/>
                  </a:moveTo>
                  <a:lnTo>
                    <a:pt x="36" y="108"/>
                  </a:lnTo>
                  <a:lnTo>
                    <a:pt x="36" y="108"/>
                  </a:lnTo>
                  <a:lnTo>
                    <a:pt x="28" y="108"/>
                  </a:lnTo>
                  <a:lnTo>
                    <a:pt x="21" y="111"/>
                  </a:lnTo>
                  <a:lnTo>
                    <a:pt x="14" y="113"/>
                  </a:lnTo>
                  <a:lnTo>
                    <a:pt x="10" y="117"/>
                  </a:lnTo>
                  <a:lnTo>
                    <a:pt x="5" y="122"/>
                  </a:lnTo>
                  <a:lnTo>
                    <a:pt x="2" y="129"/>
                  </a:lnTo>
                  <a:lnTo>
                    <a:pt x="0" y="138"/>
                  </a:lnTo>
                  <a:lnTo>
                    <a:pt x="0" y="146"/>
                  </a:lnTo>
                  <a:lnTo>
                    <a:pt x="0" y="173"/>
                  </a:lnTo>
                  <a:lnTo>
                    <a:pt x="28" y="201"/>
                  </a:lnTo>
                  <a:lnTo>
                    <a:pt x="28" y="156"/>
                  </a:lnTo>
                  <a:lnTo>
                    <a:pt x="28" y="156"/>
                  </a:lnTo>
                  <a:lnTo>
                    <a:pt x="29" y="154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5" y="154"/>
                  </a:lnTo>
                  <a:lnTo>
                    <a:pt x="36" y="156"/>
                  </a:lnTo>
                  <a:lnTo>
                    <a:pt x="36" y="209"/>
                  </a:lnTo>
                  <a:lnTo>
                    <a:pt x="133" y="306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6" y="265"/>
                  </a:lnTo>
                  <a:lnTo>
                    <a:pt x="136" y="156"/>
                  </a:lnTo>
                  <a:lnTo>
                    <a:pt x="136" y="156"/>
                  </a:lnTo>
                  <a:lnTo>
                    <a:pt x="137" y="154"/>
                  </a:lnTo>
                  <a:lnTo>
                    <a:pt x="139" y="153"/>
                  </a:lnTo>
                  <a:lnTo>
                    <a:pt x="139" y="153"/>
                  </a:lnTo>
                  <a:lnTo>
                    <a:pt x="142" y="154"/>
                  </a:lnTo>
                  <a:lnTo>
                    <a:pt x="142" y="156"/>
                  </a:lnTo>
                  <a:lnTo>
                    <a:pt x="142" y="258"/>
                  </a:lnTo>
                  <a:lnTo>
                    <a:pt x="142" y="258"/>
                  </a:lnTo>
                  <a:lnTo>
                    <a:pt x="143" y="260"/>
                  </a:lnTo>
                  <a:lnTo>
                    <a:pt x="143" y="260"/>
                  </a:lnTo>
                  <a:lnTo>
                    <a:pt x="145" y="266"/>
                  </a:lnTo>
                  <a:lnTo>
                    <a:pt x="148" y="269"/>
                  </a:lnTo>
                  <a:lnTo>
                    <a:pt x="152" y="272"/>
                  </a:lnTo>
                  <a:lnTo>
                    <a:pt x="158" y="272"/>
                  </a:lnTo>
                  <a:lnTo>
                    <a:pt x="158" y="272"/>
                  </a:lnTo>
                  <a:lnTo>
                    <a:pt x="163" y="271"/>
                  </a:lnTo>
                  <a:lnTo>
                    <a:pt x="167" y="269"/>
                  </a:lnTo>
                  <a:lnTo>
                    <a:pt x="170" y="264"/>
                  </a:lnTo>
                  <a:lnTo>
                    <a:pt x="172" y="258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2" y="138"/>
                  </a:lnTo>
                  <a:lnTo>
                    <a:pt x="169" y="129"/>
                  </a:lnTo>
                  <a:lnTo>
                    <a:pt x="166" y="122"/>
                  </a:lnTo>
                  <a:lnTo>
                    <a:pt x="162" y="117"/>
                  </a:lnTo>
                  <a:lnTo>
                    <a:pt x="158" y="113"/>
                  </a:lnTo>
                  <a:lnTo>
                    <a:pt x="151" y="111"/>
                  </a:lnTo>
                  <a:lnTo>
                    <a:pt x="143" y="108"/>
                  </a:lnTo>
                  <a:lnTo>
                    <a:pt x="136" y="108"/>
                  </a:lnTo>
                  <a:lnTo>
                    <a:pt x="136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24"/>
            <p:cNvSpPr>
              <a:spLocks noEditPoints="1"/>
            </p:cNvSpPr>
            <p:nvPr/>
          </p:nvSpPr>
          <p:spPr bwMode="auto">
            <a:xfrm>
              <a:off x="5326" y="580"/>
              <a:ext cx="181" cy="181"/>
            </a:xfrm>
            <a:custGeom>
              <a:avLst/>
              <a:gdLst>
                <a:gd name="T0" fmla="*/ 179 w 362"/>
                <a:gd name="T1" fmla="*/ 112 h 362"/>
                <a:gd name="T2" fmla="*/ 181 w 362"/>
                <a:gd name="T3" fmla="*/ 101 h 362"/>
                <a:gd name="T4" fmla="*/ 180 w 362"/>
                <a:gd name="T5" fmla="*/ 79 h 362"/>
                <a:gd name="T6" fmla="*/ 174 w 362"/>
                <a:gd name="T7" fmla="*/ 56 h 362"/>
                <a:gd name="T8" fmla="*/ 162 w 362"/>
                <a:gd name="T9" fmla="*/ 36 h 362"/>
                <a:gd name="T10" fmla="*/ 155 w 362"/>
                <a:gd name="T11" fmla="*/ 27 h 362"/>
                <a:gd name="T12" fmla="*/ 132 w 362"/>
                <a:gd name="T13" fmla="*/ 11 h 362"/>
                <a:gd name="T14" fmla="*/ 106 w 362"/>
                <a:gd name="T15" fmla="*/ 2 h 362"/>
                <a:gd name="T16" fmla="*/ 79 w 362"/>
                <a:gd name="T17" fmla="*/ 1 h 362"/>
                <a:gd name="T18" fmla="*/ 53 w 362"/>
                <a:gd name="T19" fmla="*/ 8 h 362"/>
                <a:gd name="T20" fmla="*/ 102 w 362"/>
                <a:gd name="T21" fmla="*/ 56 h 362"/>
                <a:gd name="T22" fmla="*/ 110 w 362"/>
                <a:gd name="T23" fmla="*/ 67 h 362"/>
                <a:gd name="T24" fmla="*/ 112 w 362"/>
                <a:gd name="T25" fmla="*/ 80 h 362"/>
                <a:gd name="T26" fmla="*/ 110 w 362"/>
                <a:gd name="T27" fmla="*/ 92 h 362"/>
                <a:gd name="T28" fmla="*/ 102 w 362"/>
                <a:gd name="T29" fmla="*/ 103 h 362"/>
                <a:gd name="T30" fmla="*/ 97 w 362"/>
                <a:gd name="T31" fmla="*/ 107 h 362"/>
                <a:gd name="T32" fmla="*/ 85 w 362"/>
                <a:gd name="T33" fmla="*/ 112 h 362"/>
                <a:gd name="T34" fmla="*/ 72 w 362"/>
                <a:gd name="T35" fmla="*/ 112 h 362"/>
                <a:gd name="T36" fmla="*/ 60 w 362"/>
                <a:gd name="T37" fmla="*/ 107 h 362"/>
                <a:gd name="T38" fmla="*/ 7 w 362"/>
                <a:gd name="T39" fmla="*/ 55 h 362"/>
                <a:gd name="T40" fmla="*/ 3 w 362"/>
                <a:gd name="T41" fmla="*/ 67 h 362"/>
                <a:gd name="T42" fmla="*/ 0 w 362"/>
                <a:gd name="T43" fmla="*/ 94 h 362"/>
                <a:gd name="T44" fmla="*/ 4 w 362"/>
                <a:gd name="T45" fmla="*/ 120 h 362"/>
                <a:gd name="T46" fmla="*/ 17 w 362"/>
                <a:gd name="T47" fmla="*/ 145 h 362"/>
                <a:gd name="T48" fmla="*/ 27 w 362"/>
                <a:gd name="T49" fmla="*/ 155 h 362"/>
                <a:gd name="T50" fmla="*/ 45 w 362"/>
                <a:gd name="T51" fmla="*/ 169 h 362"/>
                <a:gd name="T52" fmla="*/ 66 w 362"/>
                <a:gd name="T53" fmla="*/ 179 h 362"/>
                <a:gd name="T54" fmla="*/ 89 w 362"/>
                <a:gd name="T55" fmla="*/ 182 h 362"/>
                <a:gd name="T56" fmla="*/ 112 w 362"/>
                <a:gd name="T57" fmla="*/ 179 h 362"/>
                <a:gd name="T58" fmla="*/ 282 w 362"/>
                <a:gd name="T59" fmla="*/ 349 h 362"/>
                <a:gd name="T60" fmla="*/ 297 w 362"/>
                <a:gd name="T61" fmla="*/ 359 h 362"/>
                <a:gd name="T62" fmla="*/ 314 w 362"/>
                <a:gd name="T63" fmla="*/ 362 h 362"/>
                <a:gd name="T64" fmla="*/ 324 w 362"/>
                <a:gd name="T65" fmla="*/ 362 h 362"/>
                <a:gd name="T66" fmla="*/ 340 w 362"/>
                <a:gd name="T67" fmla="*/ 355 h 362"/>
                <a:gd name="T68" fmla="*/ 348 w 362"/>
                <a:gd name="T69" fmla="*/ 349 h 362"/>
                <a:gd name="T70" fmla="*/ 359 w 362"/>
                <a:gd name="T71" fmla="*/ 333 h 362"/>
                <a:gd name="T72" fmla="*/ 362 w 362"/>
                <a:gd name="T73" fmla="*/ 316 h 362"/>
                <a:gd name="T74" fmla="*/ 359 w 362"/>
                <a:gd name="T75" fmla="*/ 298 h 362"/>
                <a:gd name="T76" fmla="*/ 348 w 362"/>
                <a:gd name="T77" fmla="*/ 283 h 362"/>
                <a:gd name="T78" fmla="*/ 329 w 362"/>
                <a:gd name="T79" fmla="*/ 330 h 362"/>
                <a:gd name="T80" fmla="*/ 326 w 362"/>
                <a:gd name="T81" fmla="*/ 333 h 362"/>
                <a:gd name="T82" fmla="*/ 319 w 362"/>
                <a:gd name="T83" fmla="*/ 336 h 362"/>
                <a:gd name="T84" fmla="*/ 311 w 362"/>
                <a:gd name="T85" fmla="*/ 336 h 362"/>
                <a:gd name="T86" fmla="*/ 304 w 362"/>
                <a:gd name="T87" fmla="*/ 333 h 362"/>
                <a:gd name="T88" fmla="*/ 300 w 362"/>
                <a:gd name="T89" fmla="*/ 330 h 362"/>
                <a:gd name="T90" fmla="*/ 296 w 362"/>
                <a:gd name="T91" fmla="*/ 324 h 362"/>
                <a:gd name="T92" fmla="*/ 294 w 362"/>
                <a:gd name="T93" fmla="*/ 316 h 362"/>
                <a:gd name="T94" fmla="*/ 296 w 362"/>
                <a:gd name="T95" fmla="*/ 308 h 362"/>
                <a:gd name="T96" fmla="*/ 300 w 362"/>
                <a:gd name="T97" fmla="*/ 301 h 362"/>
                <a:gd name="T98" fmla="*/ 304 w 362"/>
                <a:gd name="T99" fmla="*/ 299 h 362"/>
                <a:gd name="T100" fmla="*/ 311 w 362"/>
                <a:gd name="T101" fmla="*/ 296 h 362"/>
                <a:gd name="T102" fmla="*/ 319 w 362"/>
                <a:gd name="T103" fmla="*/ 296 h 362"/>
                <a:gd name="T104" fmla="*/ 326 w 362"/>
                <a:gd name="T105" fmla="*/ 299 h 362"/>
                <a:gd name="T106" fmla="*/ 329 w 362"/>
                <a:gd name="T107" fmla="*/ 301 h 362"/>
                <a:gd name="T108" fmla="*/ 334 w 362"/>
                <a:gd name="T109" fmla="*/ 308 h 362"/>
                <a:gd name="T110" fmla="*/ 336 w 362"/>
                <a:gd name="T111" fmla="*/ 316 h 362"/>
                <a:gd name="T112" fmla="*/ 334 w 362"/>
                <a:gd name="T113" fmla="*/ 324 h 362"/>
                <a:gd name="T114" fmla="*/ 329 w 362"/>
                <a:gd name="T115" fmla="*/ 33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2" h="362">
                  <a:moveTo>
                    <a:pt x="348" y="283"/>
                  </a:moveTo>
                  <a:lnTo>
                    <a:pt x="179" y="112"/>
                  </a:lnTo>
                  <a:lnTo>
                    <a:pt x="179" y="112"/>
                  </a:lnTo>
                  <a:lnTo>
                    <a:pt x="181" y="101"/>
                  </a:lnTo>
                  <a:lnTo>
                    <a:pt x="181" y="90"/>
                  </a:lnTo>
                  <a:lnTo>
                    <a:pt x="180" y="79"/>
                  </a:lnTo>
                  <a:lnTo>
                    <a:pt x="177" y="67"/>
                  </a:lnTo>
                  <a:lnTo>
                    <a:pt x="174" y="56"/>
                  </a:lnTo>
                  <a:lnTo>
                    <a:pt x="169" y="47"/>
                  </a:lnTo>
                  <a:lnTo>
                    <a:pt x="162" y="36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44" y="17"/>
                  </a:lnTo>
                  <a:lnTo>
                    <a:pt x="132" y="11"/>
                  </a:lnTo>
                  <a:lnTo>
                    <a:pt x="119" y="6"/>
                  </a:lnTo>
                  <a:lnTo>
                    <a:pt x="106" y="2"/>
                  </a:lnTo>
                  <a:lnTo>
                    <a:pt x="93" y="0"/>
                  </a:lnTo>
                  <a:lnTo>
                    <a:pt x="79" y="1"/>
                  </a:lnTo>
                  <a:lnTo>
                    <a:pt x="66" y="3"/>
                  </a:lnTo>
                  <a:lnTo>
                    <a:pt x="53" y="8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6" y="62"/>
                  </a:lnTo>
                  <a:lnTo>
                    <a:pt x="110" y="67"/>
                  </a:lnTo>
                  <a:lnTo>
                    <a:pt x="111" y="73"/>
                  </a:lnTo>
                  <a:lnTo>
                    <a:pt x="112" y="80"/>
                  </a:lnTo>
                  <a:lnTo>
                    <a:pt x="111" y="85"/>
                  </a:lnTo>
                  <a:lnTo>
                    <a:pt x="110" y="92"/>
                  </a:lnTo>
                  <a:lnTo>
                    <a:pt x="106" y="97"/>
                  </a:lnTo>
                  <a:lnTo>
                    <a:pt x="102" y="103"/>
                  </a:lnTo>
                  <a:lnTo>
                    <a:pt x="102" y="103"/>
                  </a:lnTo>
                  <a:lnTo>
                    <a:pt x="97" y="107"/>
                  </a:lnTo>
                  <a:lnTo>
                    <a:pt x="91" y="110"/>
                  </a:lnTo>
                  <a:lnTo>
                    <a:pt x="85" y="112"/>
                  </a:lnTo>
                  <a:lnTo>
                    <a:pt x="78" y="112"/>
                  </a:lnTo>
                  <a:lnTo>
                    <a:pt x="72" y="112"/>
                  </a:lnTo>
                  <a:lnTo>
                    <a:pt x="66" y="110"/>
                  </a:lnTo>
                  <a:lnTo>
                    <a:pt x="60" y="107"/>
                  </a:lnTo>
                  <a:lnTo>
                    <a:pt x="56" y="103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3" y="67"/>
                  </a:lnTo>
                  <a:lnTo>
                    <a:pt x="1" y="81"/>
                  </a:lnTo>
                  <a:lnTo>
                    <a:pt x="0" y="94"/>
                  </a:lnTo>
                  <a:lnTo>
                    <a:pt x="1" y="107"/>
                  </a:lnTo>
                  <a:lnTo>
                    <a:pt x="4" y="120"/>
                  </a:lnTo>
                  <a:lnTo>
                    <a:pt x="9" y="133"/>
                  </a:lnTo>
                  <a:lnTo>
                    <a:pt x="17" y="14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35" y="163"/>
                  </a:lnTo>
                  <a:lnTo>
                    <a:pt x="45" y="169"/>
                  </a:lnTo>
                  <a:lnTo>
                    <a:pt x="56" y="175"/>
                  </a:lnTo>
                  <a:lnTo>
                    <a:pt x="66" y="179"/>
                  </a:lnTo>
                  <a:lnTo>
                    <a:pt x="77" y="181"/>
                  </a:lnTo>
                  <a:lnTo>
                    <a:pt x="89" y="182"/>
                  </a:lnTo>
                  <a:lnTo>
                    <a:pt x="101" y="181"/>
                  </a:lnTo>
                  <a:lnTo>
                    <a:pt x="112" y="179"/>
                  </a:lnTo>
                  <a:lnTo>
                    <a:pt x="282" y="349"/>
                  </a:lnTo>
                  <a:lnTo>
                    <a:pt x="282" y="349"/>
                  </a:lnTo>
                  <a:lnTo>
                    <a:pt x="289" y="355"/>
                  </a:lnTo>
                  <a:lnTo>
                    <a:pt x="297" y="359"/>
                  </a:lnTo>
                  <a:lnTo>
                    <a:pt x="306" y="362"/>
                  </a:lnTo>
                  <a:lnTo>
                    <a:pt x="314" y="362"/>
                  </a:lnTo>
                  <a:lnTo>
                    <a:pt x="314" y="362"/>
                  </a:lnTo>
                  <a:lnTo>
                    <a:pt x="324" y="362"/>
                  </a:lnTo>
                  <a:lnTo>
                    <a:pt x="333" y="359"/>
                  </a:lnTo>
                  <a:lnTo>
                    <a:pt x="340" y="355"/>
                  </a:lnTo>
                  <a:lnTo>
                    <a:pt x="348" y="349"/>
                  </a:lnTo>
                  <a:lnTo>
                    <a:pt x="348" y="349"/>
                  </a:lnTo>
                  <a:lnTo>
                    <a:pt x="354" y="342"/>
                  </a:lnTo>
                  <a:lnTo>
                    <a:pt x="359" y="333"/>
                  </a:lnTo>
                  <a:lnTo>
                    <a:pt x="361" y="325"/>
                  </a:lnTo>
                  <a:lnTo>
                    <a:pt x="362" y="316"/>
                  </a:lnTo>
                  <a:lnTo>
                    <a:pt x="361" y="306"/>
                  </a:lnTo>
                  <a:lnTo>
                    <a:pt x="359" y="298"/>
                  </a:lnTo>
                  <a:lnTo>
                    <a:pt x="354" y="290"/>
                  </a:lnTo>
                  <a:lnTo>
                    <a:pt x="348" y="283"/>
                  </a:lnTo>
                  <a:lnTo>
                    <a:pt x="348" y="283"/>
                  </a:lnTo>
                  <a:close/>
                  <a:moveTo>
                    <a:pt x="329" y="330"/>
                  </a:moveTo>
                  <a:lnTo>
                    <a:pt x="329" y="330"/>
                  </a:lnTo>
                  <a:lnTo>
                    <a:pt x="326" y="333"/>
                  </a:lnTo>
                  <a:lnTo>
                    <a:pt x="323" y="334"/>
                  </a:lnTo>
                  <a:lnTo>
                    <a:pt x="319" y="336"/>
                  </a:lnTo>
                  <a:lnTo>
                    <a:pt x="314" y="336"/>
                  </a:lnTo>
                  <a:lnTo>
                    <a:pt x="311" y="336"/>
                  </a:lnTo>
                  <a:lnTo>
                    <a:pt x="307" y="334"/>
                  </a:lnTo>
                  <a:lnTo>
                    <a:pt x="304" y="333"/>
                  </a:lnTo>
                  <a:lnTo>
                    <a:pt x="300" y="330"/>
                  </a:lnTo>
                  <a:lnTo>
                    <a:pt x="300" y="330"/>
                  </a:lnTo>
                  <a:lnTo>
                    <a:pt x="297" y="327"/>
                  </a:lnTo>
                  <a:lnTo>
                    <a:pt x="296" y="324"/>
                  </a:lnTo>
                  <a:lnTo>
                    <a:pt x="295" y="319"/>
                  </a:lnTo>
                  <a:lnTo>
                    <a:pt x="294" y="316"/>
                  </a:lnTo>
                  <a:lnTo>
                    <a:pt x="295" y="312"/>
                  </a:lnTo>
                  <a:lnTo>
                    <a:pt x="296" y="308"/>
                  </a:lnTo>
                  <a:lnTo>
                    <a:pt x="297" y="304"/>
                  </a:lnTo>
                  <a:lnTo>
                    <a:pt x="300" y="301"/>
                  </a:lnTo>
                  <a:lnTo>
                    <a:pt x="300" y="301"/>
                  </a:lnTo>
                  <a:lnTo>
                    <a:pt x="304" y="299"/>
                  </a:lnTo>
                  <a:lnTo>
                    <a:pt x="307" y="297"/>
                  </a:lnTo>
                  <a:lnTo>
                    <a:pt x="311" y="296"/>
                  </a:lnTo>
                  <a:lnTo>
                    <a:pt x="314" y="296"/>
                  </a:lnTo>
                  <a:lnTo>
                    <a:pt x="319" y="296"/>
                  </a:lnTo>
                  <a:lnTo>
                    <a:pt x="323" y="297"/>
                  </a:lnTo>
                  <a:lnTo>
                    <a:pt x="326" y="299"/>
                  </a:lnTo>
                  <a:lnTo>
                    <a:pt x="329" y="301"/>
                  </a:lnTo>
                  <a:lnTo>
                    <a:pt x="329" y="301"/>
                  </a:lnTo>
                  <a:lnTo>
                    <a:pt x="332" y="304"/>
                  </a:lnTo>
                  <a:lnTo>
                    <a:pt x="334" y="308"/>
                  </a:lnTo>
                  <a:lnTo>
                    <a:pt x="335" y="312"/>
                  </a:lnTo>
                  <a:lnTo>
                    <a:pt x="336" y="316"/>
                  </a:lnTo>
                  <a:lnTo>
                    <a:pt x="335" y="319"/>
                  </a:lnTo>
                  <a:lnTo>
                    <a:pt x="334" y="324"/>
                  </a:lnTo>
                  <a:lnTo>
                    <a:pt x="332" y="327"/>
                  </a:lnTo>
                  <a:lnTo>
                    <a:pt x="329" y="330"/>
                  </a:lnTo>
                  <a:lnTo>
                    <a:pt x="329" y="3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" name="Round Single Corner Rectangle 7"/>
          <p:cNvSpPr/>
          <p:nvPr/>
        </p:nvSpPr>
        <p:spPr>
          <a:xfrm>
            <a:off x="6868069" y="2590413"/>
            <a:ext cx="2649155" cy="2181224"/>
          </a:xfrm>
          <a:prstGeom prst="round1Rect">
            <a:avLst/>
          </a:prstGeom>
          <a:solidFill>
            <a:schemeClr val="accent1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Systematic recovery at scale with minimal human intervention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 rot="10800000">
            <a:off x="1539553" y="2590413"/>
            <a:ext cx="2579054" cy="2181224"/>
          </a:xfrm>
          <a:prstGeom prst="round1Rect">
            <a:avLst/>
          </a:prstGeom>
          <a:solidFill>
            <a:schemeClr val="bg2"/>
          </a:solidFill>
        </p:spPr>
        <p:txBody>
          <a:bodyPr vert="horz" lIns="137160" tIns="128016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 flipH="1">
            <a:off x="4230296" y="2590413"/>
            <a:ext cx="2526084" cy="2181224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2"/>
          </a:solidFill>
        </p:spPr>
        <p:txBody>
          <a:bodyPr vert="horz" lIns="137160" tIns="128016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 smtClean="0">
                <a:solidFill>
                  <a:schemeClr val="accent1"/>
                </a:solidFill>
              </a:rPr>
              <a:t>OS</a:t>
            </a:r>
            <a:r>
              <a:rPr lang="en-US" b="1" dirty="0">
                <a:solidFill>
                  <a:schemeClr val="accent1"/>
                </a:solidFill>
              </a:rPr>
              <a:t>, application, and data recovery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4762911" y="2838063"/>
            <a:ext cx="1460856" cy="1105880"/>
            <a:chOff x="4827752" y="2996593"/>
            <a:chExt cx="1219199" cy="922945"/>
          </a:xfrm>
        </p:grpSpPr>
        <p:grpSp>
          <p:nvGrpSpPr>
            <p:cNvPr id="17" name="Group 4"/>
            <p:cNvGrpSpPr>
              <a:grpSpLocks noChangeAspect="1"/>
            </p:cNvGrpSpPr>
            <p:nvPr/>
          </p:nvGrpSpPr>
          <p:grpSpPr bwMode="auto">
            <a:xfrm>
              <a:off x="4827752" y="2996593"/>
              <a:ext cx="1219199" cy="922945"/>
              <a:chOff x="4194" y="303"/>
              <a:chExt cx="214" cy="162"/>
            </a:xfrm>
          </p:grpSpPr>
          <p:sp>
            <p:nvSpPr>
              <p:cNvPr id="21" name="Freeform 8"/>
              <p:cNvSpPr>
                <a:spLocks/>
              </p:cNvSpPr>
              <p:nvPr/>
            </p:nvSpPr>
            <p:spPr bwMode="auto">
              <a:xfrm>
                <a:off x="4232" y="303"/>
                <a:ext cx="176" cy="121"/>
              </a:xfrm>
              <a:custGeom>
                <a:avLst/>
                <a:gdLst>
                  <a:gd name="T0" fmla="*/ 287 w 353"/>
                  <a:gd name="T1" fmla="*/ 1 h 244"/>
                  <a:gd name="T2" fmla="*/ 280 w 353"/>
                  <a:gd name="T3" fmla="*/ 0 h 244"/>
                  <a:gd name="T4" fmla="*/ 276 w 353"/>
                  <a:gd name="T5" fmla="*/ 5 h 244"/>
                  <a:gd name="T6" fmla="*/ 142 w 353"/>
                  <a:gd name="T7" fmla="*/ 24 h 244"/>
                  <a:gd name="T8" fmla="*/ 125 w 353"/>
                  <a:gd name="T9" fmla="*/ 24 h 244"/>
                  <a:gd name="T10" fmla="*/ 111 w 353"/>
                  <a:gd name="T11" fmla="*/ 26 h 244"/>
                  <a:gd name="T12" fmla="*/ 106 w 353"/>
                  <a:gd name="T13" fmla="*/ 28 h 244"/>
                  <a:gd name="T14" fmla="*/ 100 w 353"/>
                  <a:gd name="T15" fmla="*/ 29 h 244"/>
                  <a:gd name="T16" fmla="*/ 97 w 353"/>
                  <a:gd name="T17" fmla="*/ 30 h 244"/>
                  <a:gd name="T18" fmla="*/ 91 w 353"/>
                  <a:gd name="T19" fmla="*/ 33 h 244"/>
                  <a:gd name="T20" fmla="*/ 88 w 353"/>
                  <a:gd name="T21" fmla="*/ 33 h 244"/>
                  <a:gd name="T22" fmla="*/ 84 w 353"/>
                  <a:gd name="T23" fmla="*/ 35 h 244"/>
                  <a:gd name="T24" fmla="*/ 66 w 353"/>
                  <a:gd name="T25" fmla="*/ 44 h 244"/>
                  <a:gd name="T26" fmla="*/ 42 w 353"/>
                  <a:gd name="T27" fmla="*/ 63 h 244"/>
                  <a:gd name="T28" fmla="*/ 24 w 353"/>
                  <a:gd name="T29" fmla="*/ 85 h 244"/>
                  <a:gd name="T30" fmla="*/ 10 w 353"/>
                  <a:gd name="T31" fmla="*/ 112 h 244"/>
                  <a:gd name="T32" fmla="*/ 1 w 353"/>
                  <a:gd name="T33" fmla="*/ 141 h 244"/>
                  <a:gd name="T34" fmla="*/ 0 w 353"/>
                  <a:gd name="T35" fmla="*/ 163 h 244"/>
                  <a:gd name="T36" fmla="*/ 1 w 353"/>
                  <a:gd name="T37" fmla="*/ 179 h 244"/>
                  <a:gd name="T38" fmla="*/ 2 w 353"/>
                  <a:gd name="T39" fmla="*/ 190 h 244"/>
                  <a:gd name="T40" fmla="*/ 5 w 353"/>
                  <a:gd name="T41" fmla="*/ 199 h 244"/>
                  <a:gd name="T42" fmla="*/ 7 w 353"/>
                  <a:gd name="T43" fmla="*/ 205 h 244"/>
                  <a:gd name="T44" fmla="*/ 11 w 353"/>
                  <a:gd name="T45" fmla="*/ 216 h 244"/>
                  <a:gd name="T46" fmla="*/ 11 w 353"/>
                  <a:gd name="T47" fmla="*/ 217 h 244"/>
                  <a:gd name="T48" fmla="*/ 13 w 353"/>
                  <a:gd name="T49" fmla="*/ 221 h 244"/>
                  <a:gd name="T50" fmla="*/ 26 w 353"/>
                  <a:gd name="T51" fmla="*/ 244 h 244"/>
                  <a:gd name="T52" fmla="*/ 84 w 353"/>
                  <a:gd name="T53" fmla="*/ 244 h 244"/>
                  <a:gd name="T54" fmla="*/ 63 w 353"/>
                  <a:gd name="T55" fmla="*/ 224 h 244"/>
                  <a:gd name="T56" fmla="*/ 49 w 353"/>
                  <a:gd name="T57" fmla="*/ 200 h 244"/>
                  <a:gd name="T58" fmla="*/ 43 w 353"/>
                  <a:gd name="T59" fmla="*/ 181 h 244"/>
                  <a:gd name="T60" fmla="*/ 42 w 353"/>
                  <a:gd name="T61" fmla="*/ 176 h 244"/>
                  <a:gd name="T62" fmla="*/ 42 w 353"/>
                  <a:gd name="T63" fmla="*/ 175 h 244"/>
                  <a:gd name="T64" fmla="*/ 41 w 353"/>
                  <a:gd name="T65" fmla="*/ 168 h 244"/>
                  <a:gd name="T66" fmla="*/ 41 w 353"/>
                  <a:gd name="T67" fmla="*/ 167 h 244"/>
                  <a:gd name="T68" fmla="*/ 42 w 353"/>
                  <a:gd name="T69" fmla="*/ 148 h 244"/>
                  <a:gd name="T70" fmla="*/ 58 w 353"/>
                  <a:gd name="T71" fmla="*/ 108 h 244"/>
                  <a:gd name="T72" fmla="*/ 88 w 353"/>
                  <a:gd name="T73" fmla="*/ 79 h 244"/>
                  <a:gd name="T74" fmla="*/ 110 w 353"/>
                  <a:gd name="T75" fmla="*/ 69 h 244"/>
                  <a:gd name="T76" fmla="*/ 139 w 353"/>
                  <a:gd name="T77" fmla="*/ 65 h 244"/>
                  <a:gd name="T78" fmla="*/ 140 w 353"/>
                  <a:gd name="T79" fmla="*/ 65 h 244"/>
                  <a:gd name="T80" fmla="*/ 274 w 353"/>
                  <a:gd name="T81" fmla="*/ 78 h 244"/>
                  <a:gd name="T82" fmla="*/ 279 w 353"/>
                  <a:gd name="T83" fmla="*/ 88 h 244"/>
                  <a:gd name="T84" fmla="*/ 285 w 353"/>
                  <a:gd name="T85" fmla="*/ 89 h 244"/>
                  <a:gd name="T86" fmla="*/ 348 w 353"/>
                  <a:gd name="T87" fmla="*/ 52 h 244"/>
                  <a:gd name="T88" fmla="*/ 353 w 353"/>
                  <a:gd name="T89" fmla="*/ 44 h 244"/>
                  <a:gd name="T90" fmla="*/ 348 w 353"/>
                  <a:gd name="T91" fmla="*/ 37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53" h="244">
                    <a:moveTo>
                      <a:pt x="348" y="37"/>
                    </a:moveTo>
                    <a:lnTo>
                      <a:pt x="287" y="1"/>
                    </a:lnTo>
                    <a:lnTo>
                      <a:pt x="287" y="1"/>
                    </a:lnTo>
                    <a:lnTo>
                      <a:pt x="285" y="0"/>
                    </a:lnTo>
                    <a:lnTo>
                      <a:pt x="283" y="0"/>
                    </a:lnTo>
                    <a:lnTo>
                      <a:pt x="280" y="0"/>
                    </a:lnTo>
                    <a:lnTo>
                      <a:pt x="279" y="1"/>
                    </a:lnTo>
                    <a:lnTo>
                      <a:pt x="277" y="2"/>
                    </a:lnTo>
                    <a:lnTo>
                      <a:pt x="276" y="5"/>
                    </a:lnTo>
                    <a:lnTo>
                      <a:pt x="274" y="11"/>
                    </a:lnTo>
                    <a:lnTo>
                      <a:pt x="274" y="24"/>
                    </a:lnTo>
                    <a:lnTo>
                      <a:pt x="142" y="24"/>
                    </a:lnTo>
                    <a:lnTo>
                      <a:pt x="138" y="24"/>
                    </a:lnTo>
                    <a:lnTo>
                      <a:pt x="138" y="24"/>
                    </a:lnTo>
                    <a:lnTo>
                      <a:pt x="125" y="24"/>
                    </a:lnTo>
                    <a:lnTo>
                      <a:pt x="111" y="26"/>
                    </a:lnTo>
                    <a:lnTo>
                      <a:pt x="111" y="26"/>
                    </a:lnTo>
                    <a:lnTo>
                      <a:pt x="111" y="26"/>
                    </a:lnTo>
                    <a:lnTo>
                      <a:pt x="111" y="26"/>
                    </a:lnTo>
                    <a:lnTo>
                      <a:pt x="106" y="28"/>
                    </a:lnTo>
                    <a:lnTo>
                      <a:pt x="106" y="28"/>
                    </a:lnTo>
                    <a:lnTo>
                      <a:pt x="105" y="28"/>
                    </a:lnTo>
                    <a:lnTo>
                      <a:pt x="105" y="28"/>
                    </a:lnTo>
                    <a:lnTo>
                      <a:pt x="100" y="29"/>
                    </a:lnTo>
                    <a:lnTo>
                      <a:pt x="100" y="29"/>
                    </a:lnTo>
                    <a:lnTo>
                      <a:pt x="97" y="30"/>
                    </a:lnTo>
                    <a:lnTo>
                      <a:pt x="97" y="30"/>
                    </a:lnTo>
                    <a:lnTo>
                      <a:pt x="94" y="31"/>
                    </a:lnTo>
                    <a:lnTo>
                      <a:pt x="94" y="31"/>
                    </a:lnTo>
                    <a:lnTo>
                      <a:pt x="91" y="33"/>
                    </a:lnTo>
                    <a:lnTo>
                      <a:pt x="91" y="33"/>
                    </a:lnTo>
                    <a:lnTo>
                      <a:pt x="88" y="33"/>
                    </a:lnTo>
                    <a:lnTo>
                      <a:pt x="88" y="33"/>
                    </a:lnTo>
                    <a:lnTo>
                      <a:pt x="84" y="35"/>
                    </a:lnTo>
                    <a:lnTo>
                      <a:pt x="84" y="35"/>
                    </a:lnTo>
                    <a:lnTo>
                      <a:pt x="84" y="35"/>
                    </a:lnTo>
                    <a:lnTo>
                      <a:pt x="84" y="35"/>
                    </a:lnTo>
                    <a:lnTo>
                      <a:pt x="75" y="39"/>
                    </a:lnTo>
                    <a:lnTo>
                      <a:pt x="66" y="44"/>
                    </a:lnTo>
                    <a:lnTo>
                      <a:pt x="57" y="50"/>
                    </a:lnTo>
                    <a:lnTo>
                      <a:pt x="50" y="56"/>
                    </a:lnTo>
                    <a:lnTo>
                      <a:pt x="42" y="63"/>
                    </a:lnTo>
                    <a:lnTo>
                      <a:pt x="36" y="70"/>
                    </a:lnTo>
                    <a:lnTo>
                      <a:pt x="29" y="78"/>
                    </a:lnTo>
                    <a:lnTo>
                      <a:pt x="24" y="85"/>
                    </a:lnTo>
                    <a:lnTo>
                      <a:pt x="19" y="94"/>
                    </a:lnTo>
                    <a:lnTo>
                      <a:pt x="13" y="103"/>
                    </a:lnTo>
                    <a:lnTo>
                      <a:pt x="10" y="112"/>
                    </a:lnTo>
                    <a:lnTo>
                      <a:pt x="7" y="122"/>
                    </a:lnTo>
                    <a:lnTo>
                      <a:pt x="4" y="132"/>
                    </a:lnTo>
                    <a:lnTo>
                      <a:pt x="1" y="141"/>
                    </a:lnTo>
                    <a:lnTo>
                      <a:pt x="0" y="152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1" y="178"/>
                    </a:lnTo>
                    <a:lnTo>
                      <a:pt x="1" y="178"/>
                    </a:lnTo>
                    <a:lnTo>
                      <a:pt x="1" y="179"/>
                    </a:lnTo>
                    <a:lnTo>
                      <a:pt x="1" y="179"/>
                    </a:lnTo>
                    <a:lnTo>
                      <a:pt x="2" y="190"/>
                    </a:lnTo>
                    <a:lnTo>
                      <a:pt x="2" y="190"/>
                    </a:lnTo>
                    <a:lnTo>
                      <a:pt x="4" y="194"/>
                    </a:lnTo>
                    <a:lnTo>
                      <a:pt x="4" y="194"/>
                    </a:lnTo>
                    <a:lnTo>
                      <a:pt x="5" y="199"/>
                    </a:lnTo>
                    <a:lnTo>
                      <a:pt x="5" y="199"/>
                    </a:lnTo>
                    <a:lnTo>
                      <a:pt x="7" y="205"/>
                    </a:lnTo>
                    <a:lnTo>
                      <a:pt x="7" y="205"/>
                    </a:lnTo>
                    <a:lnTo>
                      <a:pt x="7" y="207"/>
                    </a:lnTo>
                    <a:lnTo>
                      <a:pt x="7" y="207"/>
                    </a:lnTo>
                    <a:lnTo>
                      <a:pt x="11" y="216"/>
                    </a:lnTo>
                    <a:lnTo>
                      <a:pt x="11" y="216"/>
                    </a:lnTo>
                    <a:lnTo>
                      <a:pt x="11" y="217"/>
                    </a:lnTo>
                    <a:lnTo>
                      <a:pt x="11" y="217"/>
                    </a:lnTo>
                    <a:lnTo>
                      <a:pt x="12" y="221"/>
                    </a:lnTo>
                    <a:lnTo>
                      <a:pt x="12" y="221"/>
                    </a:lnTo>
                    <a:lnTo>
                      <a:pt x="13" y="221"/>
                    </a:lnTo>
                    <a:lnTo>
                      <a:pt x="13" y="221"/>
                    </a:lnTo>
                    <a:lnTo>
                      <a:pt x="19" y="233"/>
                    </a:lnTo>
                    <a:lnTo>
                      <a:pt x="26" y="244"/>
                    </a:lnTo>
                    <a:lnTo>
                      <a:pt x="26" y="244"/>
                    </a:lnTo>
                    <a:lnTo>
                      <a:pt x="84" y="244"/>
                    </a:lnTo>
                    <a:lnTo>
                      <a:pt x="84" y="244"/>
                    </a:lnTo>
                    <a:lnTo>
                      <a:pt x="77" y="238"/>
                    </a:lnTo>
                    <a:lnTo>
                      <a:pt x="69" y="232"/>
                    </a:lnTo>
                    <a:lnTo>
                      <a:pt x="63" y="224"/>
                    </a:lnTo>
                    <a:lnTo>
                      <a:pt x="57" y="217"/>
                    </a:lnTo>
                    <a:lnTo>
                      <a:pt x="53" y="208"/>
                    </a:lnTo>
                    <a:lnTo>
                      <a:pt x="49" y="200"/>
                    </a:lnTo>
                    <a:lnTo>
                      <a:pt x="45" y="191"/>
                    </a:lnTo>
                    <a:lnTo>
                      <a:pt x="43" y="181"/>
                    </a:lnTo>
                    <a:lnTo>
                      <a:pt x="43" y="181"/>
                    </a:lnTo>
                    <a:lnTo>
                      <a:pt x="43" y="181"/>
                    </a:lnTo>
                    <a:lnTo>
                      <a:pt x="43" y="181"/>
                    </a:lnTo>
                    <a:lnTo>
                      <a:pt x="42" y="176"/>
                    </a:lnTo>
                    <a:lnTo>
                      <a:pt x="42" y="176"/>
                    </a:lnTo>
                    <a:lnTo>
                      <a:pt x="42" y="175"/>
                    </a:lnTo>
                    <a:lnTo>
                      <a:pt x="42" y="175"/>
                    </a:lnTo>
                    <a:lnTo>
                      <a:pt x="41" y="171"/>
                    </a:lnTo>
                    <a:lnTo>
                      <a:pt x="41" y="171"/>
                    </a:lnTo>
                    <a:lnTo>
                      <a:pt x="41" y="168"/>
                    </a:lnTo>
                    <a:lnTo>
                      <a:pt x="41" y="168"/>
                    </a:lnTo>
                    <a:lnTo>
                      <a:pt x="41" y="167"/>
                    </a:lnTo>
                    <a:lnTo>
                      <a:pt x="41" y="167"/>
                    </a:lnTo>
                    <a:lnTo>
                      <a:pt x="41" y="163"/>
                    </a:lnTo>
                    <a:lnTo>
                      <a:pt x="41" y="163"/>
                    </a:lnTo>
                    <a:lnTo>
                      <a:pt x="42" y="148"/>
                    </a:lnTo>
                    <a:lnTo>
                      <a:pt x="45" y="134"/>
                    </a:lnTo>
                    <a:lnTo>
                      <a:pt x="51" y="121"/>
                    </a:lnTo>
                    <a:lnTo>
                      <a:pt x="58" y="108"/>
                    </a:lnTo>
                    <a:lnTo>
                      <a:pt x="67" y="97"/>
                    </a:lnTo>
                    <a:lnTo>
                      <a:pt x="77" y="88"/>
                    </a:lnTo>
                    <a:lnTo>
                      <a:pt x="88" y="79"/>
                    </a:lnTo>
                    <a:lnTo>
                      <a:pt x="101" y="72"/>
                    </a:lnTo>
                    <a:lnTo>
                      <a:pt x="101" y="72"/>
                    </a:lnTo>
                    <a:lnTo>
                      <a:pt x="110" y="69"/>
                    </a:lnTo>
                    <a:lnTo>
                      <a:pt x="120" y="67"/>
                    </a:lnTo>
                    <a:lnTo>
                      <a:pt x="129" y="65"/>
                    </a:lnTo>
                    <a:lnTo>
                      <a:pt x="139" y="65"/>
                    </a:lnTo>
                    <a:lnTo>
                      <a:pt x="139" y="65"/>
                    </a:lnTo>
                    <a:lnTo>
                      <a:pt x="140" y="65"/>
                    </a:lnTo>
                    <a:lnTo>
                      <a:pt x="140" y="65"/>
                    </a:lnTo>
                    <a:lnTo>
                      <a:pt x="274" y="65"/>
                    </a:lnTo>
                    <a:lnTo>
                      <a:pt x="274" y="78"/>
                    </a:lnTo>
                    <a:lnTo>
                      <a:pt x="274" y="78"/>
                    </a:lnTo>
                    <a:lnTo>
                      <a:pt x="276" y="84"/>
                    </a:lnTo>
                    <a:lnTo>
                      <a:pt x="277" y="86"/>
                    </a:lnTo>
                    <a:lnTo>
                      <a:pt x="279" y="88"/>
                    </a:lnTo>
                    <a:lnTo>
                      <a:pt x="280" y="89"/>
                    </a:lnTo>
                    <a:lnTo>
                      <a:pt x="283" y="89"/>
                    </a:lnTo>
                    <a:lnTo>
                      <a:pt x="285" y="89"/>
                    </a:lnTo>
                    <a:lnTo>
                      <a:pt x="287" y="88"/>
                    </a:lnTo>
                    <a:lnTo>
                      <a:pt x="348" y="52"/>
                    </a:lnTo>
                    <a:lnTo>
                      <a:pt x="348" y="52"/>
                    </a:lnTo>
                    <a:lnTo>
                      <a:pt x="352" y="49"/>
                    </a:lnTo>
                    <a:lnTo>
                      <a:pt x="353" y="47"/>
                    </a:lnTo>
                    <a:lnTo>
                      <a:pt x="353" y="44"/>
                    </a:lnTo>
                    <a:lnTo>
                      <a:pt x="353" y="42"/>
                    </a:lnTo>
                    <a:lnTo>
                      <a:pt x="352" y="40"/>
                    </a:lnTo>
                    <a:lnTo>
                      <a:pt x="348" y="37"/>
                    </a:lnTo>
                    <a:lnTo>
                      <a:pt x="348" y="37"/>
                    </a:lnTo>
                    <a:close/>
                  </a:path>
                </a:pathLst>
              </a:custGeom>
              <a:solidFill>
                <a:srgbClr val="009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9"/>
              <p:cNvSpPr>
                <a:spLocks/>
              </p:cNvSpPr>
              <p:nvPr/>
            </p:nvSpPr>
            <p:spPr bwMode="auto">
              <a:xfrm>
                <a:off x="4194" y="344"/>
                <a:ext cx="176" cy="121"/>
              </a:xfrm>
              <a:custGeom>
                <a:avLst/>
                <a:gdLst>
                  <a:gd name="T0" fmla="*/ 66 w 353"/>
                  <a:gd name="T1" fmla="*/ 243 h 244"/>
                  <a:gd name="T2" fmla="*/ 73 w 353"/>
                  <a:gd name="T3" fmla="*/ 244 h 244"/>
                  <a:gd name="T4" fmla="*/ 77 w 353"/>
                  <a:gd name="T5" fmla="*/ 239 h 244"/>
                  <a:gd name="T6" fmla="*/ 211 w 353"/>
                  <a:gd name="T7" fmla="*/ 220 h 244"/>
                  <a:gd name="T8" fmla="*/ 228 w 353"/>
                  <a:gd name="T9" fmla="*/ 220 h 244"/>
                  <a:gd name="T10" fmla="*/ 242 w 353"/>
                  <a:gd name="T11" fmla="*/ 218 h 244"/>
                  <a:gd name="T12" fmla="*/ 247 w 353"/>
                  <a:gd name="T13" fmla="*/ 216 h 244"/>
                  <a:gd name="T14" fmla="*/ 253 w 353"/>
                  <a:gd name="T15" fmla="*/ 215 h 244"/>
                  <a:gd name="T16" fmla="*/ 256 w 353"/>
                  <a:gd name="T17" fmla="*/ 214 h 244"/>
                  <a:gd name="T18" fmla="*/ 262 w 353"/>
                  <a:gd name="T19" fmla="*/ 211 h 244"/>
                  <a:gd name="T20" fmla="*/ 265 w 353"/>
                  <a:gd name="T21" fmla="*/ 211 h 244"/>
                  <a:gd name="T22" fmla="*/ 269 w 353"/>
                  <a:gd name="T23" fmla="*/ 209 h 244"/>
                  <a:gd name="T24" fmla="*/ 287 w 353"/>
                  <a:gd name="T25" fmla="*/ 200 h 244"/>
                  <a:gd name="T26" fmla="*/ 311 w 353"/>
                  <a:gd name="T27" fmla="*/ 181 h 244"/>
                  <a:gd name="T28" fmla="*/ 329 w 353"/>
                  <a:gd name="T29" fmla="*/ 159 h 244"/>
                  <a:gd name="T30" fmla="*/ 343 w 353"/>
                  <a:gd name="T31" fmla="*/ 132 h 244"/>
                  <a:gd name="T32" fmla="*/ 352 w 353"/>
                  <a:gd name="T33" fmla="*/ 103 h 244"/>
                  <a:gd name="T34" fmla="*/ 353 w 353"/>
                  <a:gd name="T35" fmla="*/ 81 h 244"/>
                  <a:gd name="T36" fmla="*/ 352 w 353"/>
                  <a:gd name="T37" fmla="*/ 65 h 244"/>
                  <a:gd name="T38" fmla="*/ 351 w 353"/>
                  <a:gd name="T39" fmla="*/ 54 h 244"/>
                  <a:gd name="T40" fmla="*/ 348 w 353"/>
                  <a:gd name="T41" fmla="*/ 45 h 244"/>
                  <a:gd name="T42" fmla="*/ 346 w 353"/>
                  <a:gd name="T43" fmla="*/ 39 h 244"/>
                  <a:gd name="T44" fmla="*/ 342 w 353"/>
                  <a:gd name="T45" fmla="*/ 28 h 244"/>
                  <a:gd name="T46" fmla="*/ 342 w 353"/>
                  <a:gd name="T47" fmla="*/ 27 h 244"/>
                  <a:gd name="T48" fmla="*/ 340 w 353"/>
                  <a:gd name="T49" fmla="*/ 23 h 244"/>
                  <a:gd name="T50" fmla="*/ 327 w 353"/>
                  <a:gd name="T51" fmla="*/ 0 h 244"/>
                  <a:gd name="T52" fmla="*/ 269 w 353"/>
                  <a:gd name="T53" fmla="*/ 0 h 244"/>
                  <a:gd name="T54" fmla="*/ 290 w 353"/>
                  <a:gd name="T55" fmla="*/ 20 h 244"/>
                  <a:gd name="T56" fmla="*/ 304 w 353"/>
                  <a:gd name="T57" fmla="*/ 44 h 244"/>
                  <a:gd name="T58" fmla="*/ 310 w 353"/>
                  <a:gd name="T59" fmla="*/ 63 h 244"/>
                  <a:gd name="T60" fmla="*/ 311 w 353"/>
                  <a:gd name="T61" fmla="*/ 68 h 244"/>
                  <a:gd name="T62" fmla="*/ 311 w 353"/>
                  <a:gd name="T63" fmla="*/ 69 h 244"/>
                  <a:gd name="T64" fmla="*/ 312 w 353"/>
                  <a:gd name="T65" fmla="*/ 76 h 244"/>
                  <a:gd name="T66" fmla="*/ 312 w 353"/>
                  <a:gd name="T67" fmla="*/ 77 h 244"/>
                  <a:gd name="T68" fmla="*/ 311 w 353"/>
                  <a:gd name="T69" fmla="*/ 96 h 244"/>
                  <a:gd name="T70" fmla="*/ 295 w 353"/>
                  <a:gd name="T71" fmla="*/ 136 h 244"/>
                  <a:gd name="T72" fmla="*/ 265 w 353"/>
                  <a:gd name="T73" fmla="*/ 165 h 244"/>
                  <a:gd name="T74" fmla="*/ 243 w 353"/>
                  <a:gd name="T75" fmla="*/ 175 h 244"/>
                  <a:gd name="T76" fmla="*/ 214 w 353"/>
                  <a:gd name="T77" fmla="*/ 179 h 244"/>
                  <a:gd name="T78" fmla="*/ 213 w 353"/>
                  <a:gd name="T79" fmla="*/ 179 h 244"/>
                  <a:gd name="T80" fmla="*/ 79 w 353"/>
                  <a:gd name="T81" fmla="*/ 166 h 244"/>
                  <a:gd name="T82" fmla="*/ 74 w 353"/>
                  <a:gd name="T83" fmla="*/ 156 h 244"/>
                  <a:gd name="T84" fmla="*/ 68 w 353"/>
                  <a:gd name="T85" fmla="*/ 155 h 244"/>
                  <a:gd name="T86" fmla="*/ 5 w 353"/>
                  <a:gd name="T87" fmla="*/ 192 h 244"/>
                  <a:gd name="T88" fmla="*/ 0 w 353"/>
                  <a:gd name="T89" fmla="*/ 200 h 244"/>
                  <a:gd name="T90" fmla="*/ 5 w 353"/>
                  <a:gd name="T91" fmla="*/ 207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53" h="244">
                    <a:moveTo>
                      <a:pt x="5" y="207"/>
                    </a:moveTo>
                    <a:lnTo>
                      <a:pt x="66" y="243"/>
                    </a:lnTo>
                    <a:lnTo>
                      <a:pt x="66" y="243"/>
                    </a:lnTo>
                    <a:lnTo>
                      <a:pt x="68" y="244"/>
                    </a:lnTo>
                    <a:lnTo>
                      <a:pt x="70" y="244"/>
                    </a:lnTo>
                    <a:lnTo>
                      <a:pt x="73" y="244"/>
                    </a:lnTo>
                    <a:lnTo>
                      <a:pt x="74" y="243"/>
                    </a:lnTo>
                    <a:lnTo>
                      <a:pt x="76" y="242"/>
                    </a:lnTo>
                    <a:lnTo>
                      <a:pt x="77" y="239"/>
                    </a:lnTo>
                    <a:lnTo>
                      <a:pt x="79" y="233"/>
                    </a:lnTo>
                    <a:lnTo>
                      <a:pt x="79" y="220"/>
                    </a:lnTo>
                    <a:lnTo>
                      <a:pt x="211" y="220"/>
                    </a:lnTo>
                    <a:lnTo>
                      <a:pt x="215" y="220"/>
                    </a:lnTo>
                    <a:lnTo>
                      <a:pt x="215" y="220"/>
                    </a:lnTo>
                    <a:lnTo>
                      <a:pt x="228" y="220"/>
                    </a:lnTo>
                    <a:lnTo>
                      <a:pt x="242" y="218"/>
                    </a:lnTo>
                    <a:lnTo>
                      <a:pt x="242" y="218"/>
                    </a:lnTo>
                    <a:lnTo>
                      <a:pt x="242" y="218"/>
                    </a:lnTo>
                    <a:lnTo>
                      <a:pt x="242" y="218"/>
                    </a:lnTo>
                    <a:lnTo>
                      <a:pt x="247" y="216"/>
                    </a:lnTo>
                    <a:lnTo>
                      <a:pt x="247" y="216"/>
                    </a:lnTo>
                    <a:lnTo>
                      <a:pt x="248" y="216"/>
                    </a:lnTo>
                    <a:lnTo>
                      <a:pt x="248" y="216"/>
                    </a:lnTo>
                    <a:lnTo>
                      <a:pt x="253" y="215"/>
                    </a:lnTo>
                    <a:lnTo>
                      <a:pt x="253" y="215"/>
                    </a:lnTo>
                    <a:lnTo>
                      <a:pt x="256" y="214"/>
                    </a:lnTo>
                    <a:lnTo>
                      <a:pt x="256" y="214"/>
                    </a:lnTo>
                    <a:lnTo>
                      <a:pt x="259" y="213"/>
                    </a:lnTo>
                    <a:lnTo>
                      <a:pt x="259" y="213"/>
                    </a:lnTo>
                    <a:lnTo>
                      <a:pt x="262" y="211"/>
                    </a:lnTo>
                    <a:lnTo>
                      <a:pt x="262" y="211"/>
                    </a:lnTo>
                    <a:lnTo>
                      <a:pt x="265" y="211"/>
                    </a:lnTo>
                    <a:lnTo>
                      <a:pt x="265" y="211"/>
                    </a:lnTo>
                    <a:lnTo>
                      <a:pt x="269" y="209"/>
                    </a:lnTo>
                    <a:lnTo>
                      <a:pt x="269" y="209"/>
                    </a:lnTo>
                    <a:lnTo>
                      <a:pt x="269" y="209"/>
                    </a:lnTo>
                    <a:lnTo>
                      <a:pt x="269" y="209"/>
                    </a:lnTo>
                    <a:lnTo>
                      <a:pt x="279" y="205"/>
                    </a:lnTo>
                    <a:lnTo>
                      <a:pt x="287" y="200"/>
                    </a:lnTo>
                    <a:lnTo>
                      <a:pt x="296" y="194"/>
                    </a:lnTo>
                    <a:lnTo>
                      <a:pt x="303" y="188"/>
                    </a:lnTo>
                    <a:lnTo>
                      <a:pt x="311" y="181"/>
                    </a:lnTo>
                    <a:lnTo>
                      <a:pt x="317" y="174"/>
                    </a:lnTo>
                    <a:lnTo>
                      <a:pt x="324" y="166"/>
                    </a:lnTo>
                    <a:lnTo>
                      <a:pt x="329" y="159"/>
                    </a:lnTo>
                    <a:lnTo>
                      <a:pt x="334" y="150"/>
                    </a:lnTo>
                    <a:lnTo>
                      <a:pt x="340" y="141"/>
                    </a:lnTo>
                    <a:lnTo>
                      <a:pt x="343" y="132"/>
                    </a:lnTo>
                    <a:lnTo>
                      <a:pt x="346" y="122"/>
                    </a:lnTo>
                    <a:lnTo>
                      <a:pt x="349" y="112"/>
                    </a:lnTo>
                    <a:lnTo>
                      <a:pt x="352" y="103"/>
                    </a:lnTo>
                    <a:lnTo>
                      <a:pt x="353" y="92"/>
                    </a:lnTo>
                    <a:lnTo>
                      <a:pt x="353" y="81"/>
                    </a:lnTo>
                    <a:lnTo>
                      <a:pt x="353" y="81"/>
                    </a:lnTo>
                    <a:lnTo>
                      <a:pt x="352" y="66"/>
                    </a:lnTo>
                    <a:lnTo>
                      <a:pt x="352" y="66"/>
                    </a:lnTo>
                    <a:lnTo>
                      <a:pt x="352" y="65"/>
                    </a:lnTo>
                    <a:lnTo>
                      <a:pt x="352" y="65"/>
                    </a:lnTo>
                    <a:lnTo>
                      <a:pt x="351" y="54"/>
                    </a:lnTo>
                    <a:lnTo>
                      <a:pt x="351" y="54"/>
                    </a:lnTo>
                    <a:lnTo>
                      <a:pt x="349" y="50"/>
                    </a:lnTo>
                    <a:lnTo>
                      <a:pt x="349" y="50"/>
                    </a:lnTo>
                    <a:lnTo>
                      <a:pt x="348" y="45"/>
                    </a:lnTo>
                    <a:lnTo>
                      <a:pt x="348" y="45"/>
                    </a:lnTo>
                    <a:lnTo>
                      <a:pt x="346" y="39"/>
                    </a:lnTo>
                    <a:lnTo>
                      <a:pt x="346" y="39"/>
                    </a:lnTo>
                    <a:lnTo>
                      <a:pt x="346" y="37"/>
                    </a:lnTo>
                    <a:lnTo>
                      <a:pt x="346" y="37"/>
                    </a:lnTo>
                    <a:lnTo>
                      <a:pt x="342" y="28"/>
                    </a:lnTo>
                    <a:lnTo>
                      <a:pt x="342" y="28"/>
                    </a:lnTo>
                    <a:lnTo>
                      <a:pt x="342" y="27"/>
                    </a:lnTo>
                    <a:lnTo>
                      <a:pt x="342" y="27"/>
                    </a:lnTo>
                    <a:lnTo>
                      <a:pt x="341" y="23"/>
                    </a:lnTo>
                    <a:lnTo>
                      <a:pt x="341" y="23"/>
                    </a:lnTo>
                    <a:lnTo>
                      <a:pt x="340" y="23"/>
                    </a:lnTo>
                    <a:lnTo>
                      <a:pt x="340" y="23"/>
                    </a:lnTo>
                    <a:lnTo>
                      <a:pt x="334" y="11"/>
                    </a:lnTo>
                    <a:lnTo>
                      <a:pt x="327" y="0"/>
                    </a:lnTo>
                    <a:lnTo>
                      <a:pt x="327" y="0"/>
                    </a:lnTo>
                    <a:lnTo>
                      <a:pt x="269" y="0"/>
                    </a:lnTo>
                    <a:lnTo>
                      <a:pt x="269" y="0"/>
                    </a:lnTo>
                    <a:lnTo>
                      <a:pt x="276" y="6"/>
                    </a:lnTo>
                    <a:lnTo>
                      <a:pt x="284" y="12"/>
                    </a:lnTo>
                    <a:lnTo>
                      <a:pt x="290" y="20"/>
                    </a:lnTo>
                    <a:lnTo>
                      <a:pt x="296" y="27"/>
                    </a:lnTo>
                    <a:lnTo>
                      <a:pt x="300" y="36"/>
                    </a:lnTo>
                    <a:lnTo>
                      <a:pt x="304" y="44"/>
                    </a:lnTo>
                    <a:lnTo>
                      <a:pt x="308" y="53"/>
                    </a:lnTo>
                    <a:lnTo>
                      <a:pt x="310" y="63"/>
                    </a:lnTo>
                    <a:lnTo>
                      <a:pt x="310" y="63"/>
                    </a:lnTo>
                    <a:lnTo>
                      <a:pt x="310" y="63"/>
                    </a:lnTo>
                    <a:lnTo>
                      <a:pt x="310" y="63"/>
                    </a:lnTo>
                    <a:lnTo>
                      <a:pt x="311" y="68"/>
                    </a:lnTo>
                    <a:lnTo>
                      <a:pt x="311" y="68"/>
                    </a:lnTo>
                    <a:lnTo>
                      <a:pt x="311" y="69"/>
                    </a:lnTo>
                    <a:lnTo>
                      <a:pt x="311" y="69"/>
                    </a:lnTo>
                    <a:lnTo>
                      <a:pt x="312" y="73"/>
                    </a:lnTo>
                    <a:lnTo>
                      <a:pt x="312" y="73"/>
                    </a:lnTo>
                    <a:lnTo>
                      <a:pt x="312" y="76"/>
                    </a:lnTo>
                    <a:lnTo>
                      <a:pt x="312" y="76"/>
                    </a:lnTo>
                    <a:lnTo>
                      <a:pt x="312" y="77"/>
                    </a:lnTo>
                    <a:lnTo>
                      <a:pt x="312" y="77"/>
                    </a:lnTo>
                    <a:lnTo>
                      <a:pt x="312" y="81"/>
                    </a:lnTo>
                    <a:lnTo>
                      <a:pt x="312" y="81"/>
                    </a:lnTo>
                    <a:lnTo>
                      <a:pt x="311" y="96"/>
                    </a:lnTo>
                    <a:lnTo>
                      <a:pt x="308" y="110"/>
                    </a:lnTo>
                    <a:lnTo>
                      <a:pt x="302" y="123"/>
                    </a:lnTo>
                    <a:lnTo>
                      <a:pt x="295" y="136"/>
                    </a:lnTo>
                    <a:lnTo>
                      <a:pt x="286" y="147"/>
                    </a:lnTo>
                    <a:lnTo>
                      <a:pt x="276" y="156"/>
                    </a:lnTo>
                    <a:lnTo>
                      <a:pt x="265" y="165"/>
                    </a:lnTo>
                    <a:lnTo>
                      <a:pt x="252" y="172"/>
                    </a:lnTo>
                    <a:lnTo>
                      <a:pt x="252" y="172"/>
                    </a:lnTo>
                    <a:lnTo>
                      <a:pt x="243" y="175"/>
                    </a:lnTo>
                    <a:lnTo>
                      <a:pt x="233" y="177"/>
                    </a:lnTo>
                    <a:lnTo>
                      <a:pt x="224" y="179"/>
                    </a:lnTo>
                    <a:lnTo>
                      <a:pt x="214" y="179"/>
                    </a:lnTo>
                    <a:lnTo>
                      <a:pt x="214" y="179"/>
                    </a:lnTo>
                    <a:lnTo>
                      <a:pt x="213" y="179"/>
                    </a:lnTo>
                    <a:lnTo>
                      <a:pt x="213" y="179"/>
                    </a:lnTo>
                    <a:lnTo>
                      <a:pt x="79" y="179"/>
                    </a:lnTo>
                    <a:lnTo>
                      <a:pt x="79" y="166"/>
                    </a:lnTo>
                    <a:lnTo>
                      <a:pt x="79" y="166"/>
                    </a:lnTo>
                    <a:lnTo>
                      <a:pt x="77" y="160"/>
                    </a:lnTo>
                    <a:lnTo>
                      <a:pt x="76" y="158"/>
                    </a:lnTo>
                    <a:lnTo>
                      <a:pt x="74" y="156"/>
                    </a:lnTo>
                    <a:lnTo>
                      <a:pt x="73" y="155"/>
                    </a:lnTo>
                    <a:lnTo>
                      <a:pt x="70" y="155"/>
                    </a:lnTo>
                    <a:lnTo>
                      <a:pt x="68" y="155"/>
                    </a:lnTo>
                    <a:lnTo>
                      <a:pt x="66" y="156"/>
                    </a:lnTo>
                    <a:lnTo>
                      <a:pt x="5" y="192"/>
                    </a:lnTo>
                    <a:lnTo>
                      <a:pt x="5" y="192"/>
                    </a:lnTo>
                    <a:lnTo>
                      <a:pt x="1" y="195"/>
                    </a:lnTo>
                    <a:lnTo>
                      <a:pt x="0" y="197"/>
                    </a:lnTo>
                    <a:lnTo>
                      <a:pt x="0" y="200"/>
                    </a:lnTo>
                    <a:lnTo>
                      <a:pt x="0" y="202"/>
                    </a:lnTo>
                    <a:lnTo>
                      <a:pt x="1" y="204"/>
                    </a:lnTo>
                    <a:lnTo>
                      <a:pt x="5" y="207"/>
                    </a:lnTo>
                    <a:lnTo>
                      <a:pt x="5" y="207"/>
                    </a:lnTo>
                    <a:close/>
                  </a:path>
                </a:pathLst>
              </a:custGeom>
              <a:solidFill>
                <a:srgbClr val="009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3" name="Freeform 5"/>
            <p:cNvSpPr>
              <a:spLocks noEditPoints="1"/>
            </p:cNvSpPr>
            <p:nvPr/>
          </p:nvSpPr>
          <p:spPr bwMode="auto">
            <a:xfrm>
              <a:off x="5276850" y="3288525"/>
              <a:ext cx="353272" cy="356604"/>
            </a:xfrm>
            <a:custGeom>
              <a:avLst/>
              <a:gdLst>
                <a:gd name="T0" fmla="*/ 426 w 426"/>
                <a:gd name="T1" fmla="*/ 138 h 426"/>
                <a:gd name="T2" fmla="*/ 426 w 426"/>
                <a:gd name="T3" fmla="*/ 138 h 426"/>
                <a:gd name="T4" fmla="*/ 425 w 426"/>
                <a:gd name="T5" fmla="*/ 131 h 426"/>
                <a:gd name="T6" fmla="*/ 424 w 426"/>
                <a:gd name="T7" fmla="*/ 126 h 426"/>
                <a:gd name="T8" fmla="*/ 420 w 426"/>
                <a:gd name="T9" fmla="*/ 120 h 426"/>
                <a:gd name="T10" fmla="*/ 416 w 426"/>
                <a:gd name="T11" fmla="*/ 116 h 426"/>
                <a:gd name="T12" fmla="*/ 412 w 426"/>
                <a:gd name="T13" fmla="*/ 112 h 426"/>
                <a:gd name="T14" fmla="*/ 407 w 426"/>
                <a:gd name="T15" fmla="*/ 108 h 426"/>
                <a:gd name="T16" fmla="*/ 401 w 426"/>
                <a:gd name="T17" fmla="*/ 107 h 426"/>
                <a:gd name="T18" fmla="*/ 395 w 426"/>
                <a:gd name="T19" fmla="*/ 106 h 426"/>
                <a:gd name="T20" fmla="*/ 395 w 426"/>
                <a:gd name="T21" fmla="*/ 106 h 426"/>
                <a:gd name="T22" fmla="*/ 394 w 426"/>
                <a:gd name="T23" fmla="*/ 106 h 426"/>
                <a:gd name="T24" fmla="*/ 394 w 426"/>
                <a:gd name="T25" fmla="*/ 106 h 426"/>
                <a:gd name="T26" fmla="*/ 394 w 426"/>
                <a:gd name="T27" fmla="*/ 106 h 426"/>
                <a:gd name="T28" fmla="*/ 319 w 426"/>
                <a:gd name="T29" fmla="*/ 106 h 426"/>
                <a:gd name="T30" fmla="*/ 319 w 426"/>
                <a:gd name="T31" fmla="*/ 213 h 426"/>
                <a:gd name="T32" fmla="*/ 213 w 426"/>
                <a:gd name="T33" fmla="*/ 213 h 426"/>
                <a:gd name="T34" fmla="*/ 213 w 426"/>
                <a:gd name="T35" fmla="*/ 106 h 426"/>
                <a:gd name="T36" fmla="*/ 107 w 426"/>
                <a:gd name="T37" fmla="*/ 106 h 426"/>
                <a:gd name="T38" fmla="*/ 107 w 426"/>
                <a:gd name="T39" fmla="*/ 213 h 426"/>
                <a:gd name="T40" fmla="*/ 213 w 426"/>
                <a:gd name="T41" fmla="*/ 213 h 426"/>
                <a:gd name="T42" fmla="*/ 213 w 426"/>
                <a:gd name="T43" fmla="*/ 320 h 426"/>
                <a:gd name="T44" fmla="*/ 107 w 426"/>
                <a:gd name="T45" fmla="*/ 320 h 426"/>
                <a:gd name="T46" fmla="*/ 107 w 426"/>
                <a:gd name="T47" fmla="*/ 393 h 426"/>
                <a:gd name="T48" fmla="*/ 107 w 426"/>
                <a:gd name="T49" fmla="*/ 393 h 426"/>
                <a:gd name="T50" fmla="*/ 107 w 426"/>
                <a:gd name="T51" fmla="*/ 394 h 426"/>
                <a:gd name="T52" fmla="*/ 107 w 426"/>
                <a:gd name="T53" fmla="*/ 394 h 426"/>
                <a:gd name="T54" fmla="*/ 107 w 426"/>
                <a:gd name="T55" fmla="*/ 396 h 426"/>
                <a:gd name="T56" fmla="*/ 107 w 426"/>
                <a:gd name="T57" fmla="*/ 396 h 426"/>
                <a:gd name="T58" fmla="*/ 108 w 426"/>
                <a:gd name="T59" fmla="*/ 402 h 426"/>
                <a:gd name="T60" fmla="*/ 110 w 426"/>
                <a:gd name="T61" fmla="*/ 408 h 426"/>
                <a:gd name="T62" fmla="*/ 112 w 426"/>
                <a:gd name="T63" fmla="*/ 412 h 426"/>
                <a:gd name="T64" fmla="*/ 116 w 426"/>
                <a:gd name="T65" fmla="*/ 417 h 426"/>
                <a:gd name="T66" fmla="*/ 121 w 426"/>
                <a:gd name="T67" fmla="*/ 421 h 426"/>
                <a:gd name="T68" fmla="*/ 125 w 426"/>
                <a:gd name="T69" fmla="*/ 423 h 426"/>
                <a:gd name="T70" fmla="*/ 131 w 426"/>
                <a:gd name="T71" fmla="*/ 425 h 426"/>
                <a:gd name="T72" fmla="*/ 137 w 426"/>
                <a:gd name="T73" fmla="*/ 426 h 426"/>
                <a:gd name="T74" fmla="*/ 137 w 426"/>
                <a:gd name="T75" fmla="*/ 426 h 426"/>
                <a:gd name="T76" fmla="*/ 139 w 426"/>
                <a:gd name="T77" fmla="*/ 426 h 426"/>
                <a:gd name="T78" fmla="*/ 139 w 426"/>
                <a:gd name="T79" fmla="*/ 426 h 426"/>
                <a:gd name="T80" fmla="*/ 140 w 426"/>
                <a:gd name="T81" fmla="*/ 426 h 426"/>
                <a:gd name="T82" fmla="*/ 426 w 426"/>
                <a:gd name="T83" fmla="*/ 426 h 426"/>
                <a:gd name="T84" fmla="*/ 426 w 426"/>
                <a:gd name="T85" fmla="*/ 139 h 426"/>
                <a:gd name="T86" fmla="*/ 426 w 426"/>
                <a:gd name="T87" fmla="*/ 139 h 426"/>
                <a:gd name="T88" fmla="*/ 426 w 426"/>
                <a:gd name="T89" fmla="*/ 139 h 426"/>
                <a:gd name="T90" fmla="*/ 426 w 426"/>
                <a:gd name="T91" fmla="*/ 139 h 426"/>
                <a:gd name="T92" fmla="*/ 426 w 426"/>
                <a:gd name="T93" fmla="*/ 138 h 426"/>
                <a:gd name="T94" fmla="*/ 426 w 426"/>
                <a:gd name="T95" fmla="*/ 138 h 426"/>
                <a:gd name="T96" fmla="*/ 107 w 426"/>
                <a:gd name="T97" fmla="*/ 213 h 426"/>
                <a:gd name="T98" fmla="*/ 0 w 426"/>
                <a:gd name="T99" fmla="*/ 213 h 426"/>
                <a:gd name="T100" fmla="*/ 0 w 426"/>
                <a:gd name="T101" fmla="*/ 320 h 426"/>
                <a:gd name="T102" fmla="*/ 107 w 426"/>
                <a:gd name="T103" fmla="*/ 320 h 426"/>
                <a:gd name="T104" fmla="*/ 107 w 426"/>
                <a:gd name="T105" fmla="*/ 213 h 426"/>
                <a:gd name="T106" fmla="*/ 0 w 426"/>
                <a:gd name="T107" fmla="*/ 0 h 426"/>
                <a:gd name="T108" fmla="*/ 0 w 426"/>
                <a:gd name="T109" fmla="*/ 106 h 426"/>
                <a:gd name="T110" fmla="*/ 107 w 426"/>
                <a:gd name="T111" fmla="*/ 106 h 426"/>
                <a:gd name="T112" fmla="*/ 107 w 426"/>
                <a:gd name="T113" fmla="*/ 0 h 426"/>
                <a:gd name="T114" fmla="*/ 0 w 426"/>
                <a:gd name="T115" fmla="*/ 0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26" h="426">
                  <a:moveTo>
                    <a:pt x="426" y="138"/>
                  </a:moveTo>
                  <a:lnTo>
                    <a:pt x="426" y="138"/>
                  </a:lnTo>
                  <a:lnTo>
                    <a:pt x="425" y="131"/>
                  </a:lnTo>
                  <a:lnTo>
                    <a:pt x="424" y="126"/>
                  </a:lnTo>
                  <a:lnTo>
                    <a:pt x="420" y="120"/>
                  </a:lnTo>
                  <a:lnTo>
                    <a:pt x="416" y="116"/>
                  </a:lnTo>
                  <a:lnTo>
                    <a:pt x="412" y="112"/>
                  </a:lnTo>
                  <a:lnTo>
                    <a:pt x="407" y="108"/>
                  </a:lnTo>
                  <a:lnTo>
                    <a:pt x="401" y="107"/>
                  </a:lnTo>
                  <a:lnTo>
                    <a:pt x="395" y="106"/>
                  </a:lnTo>
                  <a:lnTo>
                    <a:pt x="395" y="106"/>
                  </a:lnTo>
                  <a:lnTo>
                    <a:pt x="394" y="106"/>
                  </a:lnTo>
                  <a:lnTo>
                    <a:pt x="394" y="106"/>
                  </a:lnTo>
                  <a:lnTo>
                    <a:pt x="394" y="106"/>
                  </a:lnTo>
                  <a:lnTo>
                    <a:pt x="319" y="106"/>
                  </a:lnTo>
                  <a:lnTo>
                    <a:pt x="319" y="213"/>
                  </a:lnTo>
                  <a:lnTo>
                    <a:pt x="213" y="213"/>
                  </a:lnTo>
                  <a:lnTo>
                    <a:pt x="213" y="106"/>
                  </a:lnTo>
                  <a:lnTo>
                    <a:pt x="107" y="106"/>
                  </a:lnTo>
                  <a:lnTo>
                    <a:pt x="107" y="213"/>
                  </a:lnTo>
                  <a:lnTo>
                    <a:pt x="213" y="213"/>
                  </a:lnTo>
                  <a:lnTo>
                    <a:pt x="213" y="320"/>
                  </a:lnTo>
                  <a:lnTo>
                    <a:pt x="107" y="320"/>
                  </a:lnTo>
                  <a:lnTo>
                    <a:pt x="107" y="393"/>
                  </a:lnTo>
                  <a:lnTo>
                    <a:pt x="107" y="393"/>
                  </a:lnTo>
                  <a:lnTo>
                    <a:pt x="107" y="394"/>
                  </a:lnTo>
                  <a:lnTo>
                    <a:pt x="107" y="394"/>
                  </a:lnTo>
                  <a:lnTo>
                    <a:pt x="107" y="396"/>
                  </a:lnTo>
                  <a:lnTo>
                    <a:pt x="107" y="396"/>
                  </a:lnTo>
                  <a:lnTo>
                    <a:pt x="108" y="402"/>
                  </a:lnTo>
                  <a:lnTo>
                    <a:pt x="110" y="408"/>
                  </a:lnTo>
                  <a:lnTo>
                    <a:pt x="112" y="412"/>
                  </a:lnTo>
                  <a:lnTo>
                    <a:pt x="116" y="417"/>
                  </a:lnTo>
                  <a:lnTo>
                    <a:pt x="121" y="421"/>
                  </a:lnTo>
                  <a:lnTo>
                    <a:pt x="125" y="423"/>
                  </a:lnTo>
                  <a:lnTo>
                    <a:pt x="131" y="425"/>
                  </a:lnTo>
                  <a:lnTo>
                    <a:pt x="137" y="426"/>
                  </a:lnTo>
                  <a:lnTo>
                    <a:pt x="137" y="426"/>
                  </a:lnTo>
                  <a:lnTo>
                    <a:pt x="139" y="426"/>
                  </a:lnTo>
                  <a:lnTo>
                    <a:pt x="139" y="426"/>
                  </a:lnTo>
                  <a:lnTo>
                    <a:pt x="140" y="426"/>
                  </a:lnTo>
                  <a:lnTo>
                    <a:pt x="426" y="426"/>
                  </a:lnTo>
                  <a:lnTo>
                    <a:pt x="426" y="139"/>
                  </a:lnTo>
                  <a:lnTo>
                    <a:pt x="426" y="139"/>
                  </a:lnTo>
                  <a:lnTo>
                    <a:pt x="426" y="139"/>
                  </a:lnTo>
                  <a:lnTo>
                    <a:pt x="426" y="139"/>
                  </a:lnTo>
                  <a:lnTo>
                    <a:pt x="426" y="138"/>
                  </a:lnTo>
                  <a:lnTo>
                    <a:pt x="426" y="138"/>
                  </a:lnTo>
                  <a:close/>
                  <a:moveTo>
                    <a:pt x="107" y="213"/>
                  </a:moveTo>
                  <a:lnTo>
                    <a:pt x="0" y="213"/>
                  </a:lnTo>
                  <a:lnTo>
                    <a:pt x="0" y="320"/>
                  </a:lnTo>
                  <a:lnTo>
                    <a:pt x="107" y="320"/>
                  </a:lnTo>
                  <a:lnTo>
                    <a:pt x="107" y="213"/>
                  </a:lnTo>
                  <a:close/>
                  <a:moveTo>
                    <a:pt x="0" y="0"/>
                  </a:moveTo>
                  <a:lnTo>
                    <a:pt x="0" y="106"/>
                  </a:lnTo>
                  <a:lnTo>
                    <a:pt x="107" y="106"/>
                  </a:lnTo>
                  <a:lnTo>
                    <a:pt x="10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125138" y="2838063"/>
            <a:ext cx="1460856" cy="1105880"/>
            <a:chOff x="2069152" y="2819401"/>
            <a:chExt cx="1460856" cy="1105880"/>
          </a:xfrm>
        </p:grpSpPr>
        <p:grpSp>
          <p:nvGrpSpPr>
            <p:cNvPr id="26" name="Group 4"/>
            <p:cNvGrpSpPr>
              <a:grpSpLocks noChangeAspect="1"/>
            </p:cNvGrpSpPr>
            <p:nvPr/>
          </p:nvGrpSpPr>
          <p:grpSpPr bwMode="auto">
            <a:xfrm>
              <a:off x="2069152" y="2819401"/>
              <a:ext cx="1460856" cy="1105880"/>
              <a:chOff x="4194" y="303"/>
              <a:chExt cx="214" cy="162"/>
            </a:xfrm>
          </p:grpSpPr>
          <p:sp>
            <p:nvSpPr>
              <p:cNvPr id="28" name="Freeform 8"/>
              <p:cNvSpPr>
                <a:spLocks/>
              </p:cNvSpPr>
              <p:nvPr/>
            </p:nvSpPr>
            <p:spPr bwMode="auto">
              <a:xfrm>
                <a:off x="4232" y="303"/>
                <a:ext cx="176" cy="121"/>
              </a:xfrm>
              <a:custGeom>
                <a:avLst/>
                <a:gdLst>
                  <a:gd name="T0" fmla="*/ 287 w 353"/>
                  <a:gd name="T1" fmla="*/ 1 h 244"/>
                  <a:gd name="T2" fmla="*/ 280 w 353"/>
                  <a:gd name="T3" fmla="*/ 0 h 244"/>
                  <a:gd name="T4" fmla="*/ 276 w 353"/>
                  <a:gd name="T5" fmla="*/ 5 h 244"/>
                  <a:gd name="T6" fmla="*/ 142 w 353"/>
                  <a:gd name="T7" fmla="*/ 24 h 244"/>
                  <a:gd name="T8" fmla="*/ 125 w 353"/>
                  <a:gd name="T9" fmla="*/ 24 h 244"/>
                  <a:gd name="T10" fmla="*/ 111 w 353"/>
                  <a:gd name="T11" fmla="*/ 26 h 244"/>
                  <a:gd name="T12" fmla="*/ 106 w 353"/>
                  <a:gd name="T13" fmla="*/ 28 h 244"/>
                  <a:gd name="T14" fmla="*/ 100 w 353"/>
                  <a:gd name="T15" fmla="*/ 29 h 244"/>
                  <a:gd name="T16" fmla="*/ 97 w 353"/>
                  <a:gd name="T17" fmla="*/ 30 h 244"/>
                  <a:gd name="T18" fmla="*/ 91 w 353"/>
                  <a:gd name="T19" fmla="*/ 33 h 244"/>
                  <a:gd name="T20" fmla="*/ 88 w 353"/>
                  <a:gd name="T21" fmla="*/ 33 h 244"/>
                  <a:gd name="T22" fmla="*/ 84 w 353"/>
                  <a:gd name="T23" fmla="*/ 35 h 244"/>
                  <a:gd name="T24" fmla="*/ 66 w 353"/>
                  <a:gd name="T25" fmla="*/ 44 h 244"/>
                  <a:gd name="T26" fmla="*/ 42 w 353"/>
                  <a:gd name="T27" fmla="*/ 63 h 244"/>
                  <a:gd name="T28" fmla="*/ 24 w 353"/>
                  <a:gd name="T29" fmla="*/ 85 h 244"/>
                  <a:gd name="T30" fmla="*/ 10 w 353"/>
                  <a:gd name="T31" fmla="*/ 112 h 244"/>
                  <a:gd name="T32" fmla="*/ 1 w 353"/>
                  <a:gd name="T33" fmla="*/ 141 h 244"/>
                  <a:gd name="T34" fmla="*/ 0 w 353"/>
                  <a:gd name="T35" fmla="*/ 163 h 244"/>
                  <a:gd name="T36" fmla="*/ 1 w 353"/>
                  <a:gd name="T37" fmla="*/ 179 h 244"/>
                  <a:gd name="T38" fmla="*/ 2 w 353"/>
                  <a:gd name="T39" fmla="*/ 190 h 244"/>
                  <a:gd name="T40" fmla="*/ 5 w 353"/>
                  <a:gd name="T41" fmla="*/ 199 h 244"/>
                  <a:gd name="T42" fmla="*/ 7 w 353"/>
                  <a:gd name="T43" fmla="*/ 205 h 244"/>
                  <a:gd name="T44" fmla="*/ 11 w 353"/>
                  <a:gd name="T45" fmla="*/ 216 h 244"/>
                  <a:gd name="T46" fmla="*/ 11 w 353"/>
                  <a:gd name="T47" fmla="*/ 217 h 244"/>
                  <a:gd name="T48" fmla="*/ 13 w 353"/>
                  <a:gd name="T49" fmla="*/ 221 h 244"/>
                  <a:gd name="T50" fmla="*/ 26 w 353"/>
                  <a:gd name="T51" fmla="*/ 244 h 244"/>
                  <a:gd name="T52" fmla="*/ 84 w 353"/>
                  <a:gd name="T53" fmla="*/ 244 h 244"/>
                  <a:gd name="T54" fmla="*/ 63 w 353"/>
                  <a:gd name="T55" fmla="*/ 224 h 244"/>
                  <a:gd name="T56" fmla="*/ 49 w 353"/>
                  <a:gd name="T57" fmla="*/ 200 h 244"/>
                  <a:gd name="T58" fmla="*/ 43 w 353"/>
                  <a:gd name="T59" fmla="*/ 181 h 244"/>
                  <a:gd name="T60" fmla="*/ 42 w 353"/>
                  <a:gd name="T61" fmla="*/ 176 h 244"/>
                  <a:gd name="T62" fmla="*/ 42 w 353"/>
                  <a:gd name="T63" fmla="*/ 175 h 244"/>
                  <a:gd name="T64" fmla="*/ 41 w 353"/>
                  <a:gd name="T65" fmla="*/ 168 h 244"/>
                  <a:gd name="T66" fmla="*/ 41 w 353"/>
                  <a:gd name="T67" fmla="*/ 167 h 244"/>
                  <a:gd name="T68" fmla="*/ 42 w 353"/>
                  <a:gd name="T69" fmla="*/ 148 h 244"/>
                  <a:gd name="T70" fmla="*/ 58 w 353"/>
                  <a:gd name="T71" fmla="*/ 108 h 244"/>
                  <a:gd name="T72" fmla="*/ 88 w 353"/>
                  <a:gd name="T73" fmla="*/ 79 h 244"/>
                  <a:gd name="T74" fmla="*/ 110 w 353"/>
                  <a:gd name="T75" fmla="*/ 69 h 244"/>
                  <a:gd name="T76" fmla="*/ 139 w 353"/>
                  <a:gd name="T77" fmla="*/ 65 h 244"/>
                  <a:gd name="T78" fmla="*/ 140 w 353"/>
                  <a:gd name="T79" fmla="*/ 65 h 244"/>
                  <a:gd name="T80" fmla="*/ 274 w 353"/>
                  <a:gd name="T81" fmla="*/ 78 h 244"/>
                  <a:gd name="T82" fmla="*/ 279 w 353"/>
                  <a:gd name="T83" fmla="*/ 88 h 244"/>
                  <a:gd name="T84" fmla="*/ 285 w 353"/>
                  <a:gd name="T85" fmla="*/ 89 h 244"/>
                  <a:gd name="T86" fmla="*/ 348 w 353"/>
                  <a:gd name="T87" fmla="*/ 52 h 244"/>
                  <a:gd name="T88" fmla="*/ 353 w 353"/>
                  <a:gd name="T89" fmla="*/ 44 h 244"/>
                  <a:gd name="T90" fmla="*/ 348 w 353"/>
                  <a:gd name="T91" fmla="*/ 37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53" h="244">
                    <a:moveTo>
                      <a:pt x="348" y="37"/>
                    </a:moveTo>
                    <a:lnTo>
                      <a:pt x="287" y="1"/>
                    </a:lnTo>
                    <a:lnTo>
                      <a:pt x="287" y="1"/>
                    </a:lnTo>
                    <a:lnTo>
                      <a:pt x="285" y="0"/>
                    </a:lnTo>
                    <a:lnTo>
                      <a:pt x="283" y="0"/>
                    </a:lnTo>
                    <a:lnTo>
                      <a:pt x="280" y="0"/>
                    </a:lnTo>
                    <a:lnTo>
                      <a:pt x="279" y="1"/>
                    </a:lnTo>
                    <a:lnTo>
                      <a:pt x="277" y="2"/>
                    </a:lnTo>
                    <a:lnTo>
                      <a:pt x="276" y="5"/>
                    </a:lnTo>
                    <a:lnTo>
                      <a:pt x="274" y="11"/>
                    </a:lnTo>
                    <a:lnTo>
                      <a:pt x="274" y="24"/>
                    </a:lnTo>
                    <a:lnTo>
                      <a:pt x="142" y="24"/>
                    </a:lnTo>
                    <a:lnTo>
                      <a:pt x="138" y="24"/>
                    </a:lnTo>
                    <a:lnTo>
                      <a:pt x="138" y="24"/>
                    </a:lnTo>
                    <a:lnTo>
                      <a:pt x="125" y="24"/>
                    </a:lnTo>
                    <a:lnTo>
                      <a:pt x="111" y="26"/>
                    </a:lnTo>
                    <a:lnTo>
                      <a:pt x="111" y="26"/>
                    </a:lnTo>
                    <a:lnTo>
                      <a:pt x="111" y="26"/>
                    </a:lnTo>
                    <a:lnTo>
                      <a:pt x="111" y="26"/>
                    </a:lnTo>
                    <a:lnTo>
                      <a:pt x="106" y="28"/>
                    </a:lnTo>
                    <a:lnTo>
                      <a:pt x="106" y="28"/>
                    </a:lnTo>
                    <a:lnTo>
                      <a:pt x="105" y="28"/>
                    </a:lnTo>
                    <a:lnTo>
                      <a:pt x="105" y="28"/>
                    </a:lnTo>
                    <a:lnTo>
                      <a:pt x="100" y="29"/>
                    </a:lnTo>
                    <a:lnTo>
                      <a:pt x="100" y="29"/>
                    </a:lnTo>
                    <a:lnTo>
                      <a:pt x="97" y="30"/>
                    </a:lnTo>
                    <a:lnTo>
                      <a:pt x="97" y="30"/>
                    </a:lnTo>
                    <a:lnTo>
                      <a:pt x="94" y="31"/>
                    </a:lnTo>
                    <a:lnTo>
                      <a:pt x="94" y="31"/>
                    </a:lnTo>
                    <a:lnTo>
                      <a:pt x="91" y="33"/>
                    </a:lnTo>
                    <a:lnTo>
                      <a:pt x="91" y="33"/>
                    </a:lnTo>
                    <a:lnTo>
                      <a:pt x="88" y="33"/>
                    </a:lnTo>
                    <a:lnTo>
                      <a:pt x="88" y="33"/>
                    </a:lnTo>
                    <a:lnTo>
                      <a:pt x="84" y="35"/>
                    </a:lnTo>
                    <a:lnTo>
                      <a:pt x="84" y="35"/>
                    </a:lnTo>
                    <a:lnTo>
                      <a:pt x="84" y="35"/>
                    </a:lnTo>
                    <a:lnTo>
                      <a:pt x="84" y="35"/>
                    </a:lnTo>
                    <a:lnTo>
                      <a:pt x="75" y="39"/>
                    </a:lnTo>
                    <a:lnTo>
                      <a:pt x="66" y="44"/>
                    </a:lnTo>
                    <a:lnTo>
                      <a:pt x="57" y="50"/>
                    </a:lnTo>
                    <a:lnTo>
                      <a:pt x="50" y="56"/>
                    </a:lnTo>
                    <a:lnTo>
                      <a:pt x="42" y="63"/>
                    </a:lnTo>
                    <a:lnTo>
                      <a:pt x="36" y="70"/>
                    </a:lnTo>
                    <a:lnTo>
                      <a:pt x="29" y="78"/>
                    </a:lnTo>
                    <a:lnTo>
                      <a:pt x="24" y="85"/>
                    </a:lnTo>
                    <a:lnTo>
                      <a:pt x="19" y="94"/>
                    </a:lnTo>
                    <a:lnTo>
                      <a:pt x="13" y="103"/>
                    </a:lnTo>
                    <a:lnTo>
                      <a:pt x="10" y="112"/>
                    </a:lnTo>
                    <a:lnTo>
                      <a:pt x="7" y="122"/>
                    </a:lnTo>
                    <a:lnTo>
                      <a:pt x="4" y="132"/>
                    </a:lnTo>
                    <a:lnTo>
                      <a:pt x="1" y="141"/>
                    </a:lnTo>
                    <a:lnTo>
                      <a:pt x="0" y="152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1" y="178"/>
                    </a:lnTo>
                    <a:lnTo>
                      <a:pt x="1" y="178"/>
                    </a:lnTo>
                    <a:lnTo>
                      <a:pt x="1" y="179"/>
                    </a:lnTo>
                    <a:lnTo>
                      <a:pt x="1" y="179"/>
                    </a:lnTo>
                    <a:lnTo>
                      <a:pt x="2" y="190"/>
                    </a:lnTo>
                    <a:lnTo>
                      <a:pt x="2" y="190"/>
                    </a:lnTo>
                    <a:lnTo>
                      <a:pt x="4" y="194"/>
                    </a:lnTo>
                    <a:lnTo>
                      <a:pt x="4" y="194"/>
                    </a:lnTo>
                    <a:lnTo>
                      <a:pt x="5" y="199"/>
                    </a:lnTo>
                    <a:lnTo>
                      <a:pt x="5" y="199"/>
                    </a:lnTo>
                    <a:lnTo>
                      <a:pt x="7" y="205"/>
                    </a:lnTo>
                    <a:lnTo>
                      <a:pt x="7" y="205"/>
                    </a:lnTo>
                    <a:lnTo>
                      <a:pt x="7" y="207"/>
                    </a:lnTo>
                    <a:lnTo>
                      <a:pt x="7" y="207"/>
                    </a:lnTo>
                    <a:lnTo>
                      <a:pt x="11" y="216"/>
                    </a:lnTo>
                    <a:lnTo>
                      <a:pt x="11" y="216"/>
                    </a:lnTo>
                    <a:lnTo>
                      <a:pt x="11" y="217"/>
                    </a:lnTo>
                    <a:lnTo>
                      <a:pt x="11" y="217"/>
                    </a:lnTo>
                    <a:lnTo>
                      <a:pt x="12" y="221"/>
                    </a:lnTo>
                    <a:lnTo>
                      <a:pt x="12" y="221"/>
                    </a:lnTo>
                    <a:lnTo>
                      <a:pt x="13" y="221"/>
                    </a:lnTo>
                    <a:lnTo>
                      <a:pt x="13" y="221"/>
                    </a:lnTo>
                    <a:lnTo>
                      <a:pt x="19" y="233"/>
                    </a:lnTo>
                    <a:lnTo>
                      <a:pt x="26" y="244"/>
                    </a:lnTo>
                    <a:lnTo>
                      <a:pt x="26" y="244"/>
                    </a:lnTo>
                    <a:lnTo>
                      <a:pt x="84" y="244"/>
                    </a:lnTo>
                    <a:lnTo>
                      <a:pt x="84" y="244"/>
                    </a:lnTo>
                    <a:lnTo>
                      <a:pt x="77" y="238"/>
                    </a:lnTo>
                    <a:lnTo>
                      <a:pt x="69" y="232"/>
                    </a:lnTo>
                    <a:lnTo>
                      <a:pt x="63" y="224"/>
                    </a:lnTo>
                    <a:lnTo>
                      <a:pt x="57" y="217"/>
                    </a:lnTo>
                    <a:lnTo>
                      <a:pt x="53" y="208"/>
                    </a:lnTo>
                    <a:lnTo>
                      <a:pt x="49" y="200"/>
                    </a:lnTo>
                    <a:lnTo>
                      <a:pt x="45" y="191"/>
                    </a:lnTo>
                    <a:lnTo>
                      <a:pt x="43" y="181"/>
                    </a:lnTo>
                    <a:lnTo>
                      <a:pt x="43" y="181"/>
                    </a:lnTo>
                    <a:lnTo>
                      <a:pt x="43" y="181"/>
                    </a:lnTo>
                    <a:lnTo>
                      <a:pt x="43" y="181"/>
                    </a:lnTo>
                    <a:lnTo>
                      <a:pt x="42" y="176"/>
                    </a:lnTo>
                    <a:lnTo>
                      <a:pt x="42" y="176"/>
                    </a:lnTo>
                    <a:lnTo>
                      <a:pt x="42" y="175"/>
                    </a:lnTo>
                    <a:lnTo>
                      <a:pt x="42" y="175"/>
                    </a:lnTo>
                    <a:lnTo>
                      <a:pt x="41" y="171"/>
                    </a:lnTo>
                    <a:lnTo>
                      <a:pt x="41" y="171"/>
                    </a:lnTo>
                    <a:lnTo>
                      <a:pt x="41" y="168"/>
                    </a:lnTo>
                    <a:lnTo>
                      <a:pt x="41" y="168"/>
                    </a:lnTo>
                    <a:lnTo>
                      <a:pt x="41" y="167"/>
                    </a:lnTo>
                    <a:lnTo>
                      <a:pt x="41" y="167"/>
                    </a:lnTo>
                    <a:lnTo>
                      <a:pt x="41" y="163"/>
                    </a:lnTo>
                    <a:lnTo>
                      <a:pt x="41" y="163"/>
                    </a:lnTo>
                    <a:lnTo>
                      <a:pt x="42" y="148"/>
                    </a:lnTo>
                    <a:lnTo>
                      <a:pt x="45" y="134"/>
                    </a:lnTo>
                    <a:lnTo>
                      <a:pt x="51" y="121"/>
                    </a:lnTo>
                    <a:lnTo>
                      <a:pt x="58" y="108"/>
                    </a:lnTo>
                    <a:lnTo>
                      <a:pt x="67" y="97"/>
                    </a:lnTo>
                    <a:lnTo>
                      <a:pt x="77" y="88"/>
                    </a:lnTo>
                    <a:lnTo>
                      <a:pt x="88" y="79"/>
                    </a:lnTo>
                    <a:lnTo>
                      <a:pt x="101" y="72"/>
                    </a:lnTo>
                    <a:lnTo>
                      <a:pt x="101" y="72"/>
                    </a:lnTo>
                    <a:lnTo>
                      <a:pt x="110" y="69"/>
                    </a:lnTo>
                    <a:lnTo>
                      <a:pt x="120" y="67"/>
                    </a:lnTo>
                    <a:lnTo>
                      <a:pt x="129" y="65"/>
                    </a:lnTo>
                    <a:lnTo>
                      <a:pt x="139" y="65"/>
                    </a:lnTo>
                    <a:lnTo>
                      <a:pt x="139" y="65"/>
                    </a:lnTo>
                    <a:lnTo>
                      <a:pt x="140" y="65"/>
                    </a:lnTo>
                    <a:lnTo>
                      <a:pt x="140" y="65"/>
                    </a:lnTo>
                    <a:lnTo>
                      <a:pt x="274" y="65"/>
                    </a:lnTo>
                    <a:lnTo>
                      <a:pt x="274" y="78"/>
                    </a:lnTo>
                    <a:lnTo>
                      <a:pt x="274" y="78"/>
                    </a:lnTo>
                    <a:lnTo>
                      <a:pt x="276" y="84"/>
                    </a:lnTo>
                    <a:lnTo>
                      <a:pt x="277" y="86"/>
                    </a:lnTo>
                    <a:lnTo>
                      <a:pt x="279" y="88"/>
                    </a:lnTo>
                    <a:lnTo>
                      <a:pt x="280" y="89"/>
                    </a:lnTo>
                    <a:lnTo>
                      <a:pt x="283" y="89"/>
                    </a:lnTo>
                    <a:lnTo>
                      <a:pt x="285" y="89"/>
                    </a:lnTo>
                    <a:lnTo>
                      <a:pt x="287" y="88"/>
                    </a:lnTo>
                    <a:lnTo>
                      <a:pt x="348" y="52"/>
                    </a:lnTo>
                    <a:lnTo>
                      <a:pt x="348" y="52"/>
                    </a:lnTo>
                    <a:lnTo>
                      <a:pt x="352" y="49"/>
                    </a:lnTo>
                    <a:lnTo>
                      <a:pt x="353" y="47"/>
                    </a:lnTo>
                    <a:lnTo>
                      <a:pt x="353" y="44"/>
                    </a:lnTo>
                    <a:lnTo>
                      <a:pt x="353" y="42"/>
                    </a:lnTo>
                    <a:lnTo>
                      <a:pt x="352" y="40"/>
                    </a:lnTo>
                    <a:lnTo>
                      <a:pt x="348" y="37"/>
                    </a:lnTo>
                    <a:lnTo>
                      <a:pt x="348" y="37"/>
                    </a:lnTo>
                    <a:close/>
                  </a:path>
                </a:pathLst>
              </a:custGeom>
              <a:solidFill>
                <a:srgbClr val="009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9"/>
              <p:cNvSpPr>
                <a:spLocks/>
              </p:cNvSpPr>
              <p:nvPr/>
            </p:nvSpPr>
            <p:spPr bwMode="auto">
              <a:xfrm>
                <a:off x="4194" y="344"/>
                <a:ext cx="176" cy="121"/>
              </a:xfrm>
              <a:custGeom>
                <a:avLst/>
                <a:gdLst>
                  <a:gd name="T0" fmla="*/ 66 w 353"/>
                  <a:gd name="T1" fmla="*/ 243 h 244"/>
                  <a:gd name="T2" fmla="*/ 73 w 353"/>
                  <a:gd name="T3" fmla="*/ 244 h 244"/>
                  <a:gd name="T4" fmla="*/ 77 w 353"/>
                  <a:gd name="T5" fmla="*/ 239 h 244"/>
                  <a:gd name="T6" fmla="*/ 211 w 353"/>
                  <a:gd name="T7" fmla="*/ 220 h 244"/>
                  <a:gd name="T8" fmla="*/ 228 w 353"/>
                  <a:gd name="T9" fmla="*/ 220 h 244"/>
                  <a:gd name="T10" fmla="*/ 242 w 353"/>
                  <a:gd name="T11" fmla="*/ 218 h 244"/>
                  <a:gd name="T12" fmla="*/ 247 w 353"/>
                  <a:gd name="T13" fmla="*/ 216 h 244"/>
                  <a:gd name="T14" fmla="*/ 253 w 353"/>
                  <a:gd name="T15" fmla="*/ 215 h 244"/>
                  <a:gd name="T16" fmla="*/ 256 w 353"/>
                  <a:gd name="T17" fmla="*/ 214 h 244"/>
                  <a:gd name="T18" fmla="*/ 262 w 353"/>
                  <a:gd name="T19" fmla="*/ 211 h 244"/>
                  <a:gd name="T20" fmla="*/ 265 w 353"/>
                  <a:gd name="T21" fmla="*/ 211 h 244"/>
                  <a:gd name="T22" fmla="*/ 269 w 353"/>
                  <a:gd name="T23" fmla="*/ 209 h 244"/>
                  <a:gd name="T24" fmla="*/ 287 w 353"/>
                  <a:gd name="T25" fmla="*/ 200 h 244"/>
                  <a:gd name="T26" fmla="*/ 311 w 353"/>
                  <a:gd name="T27" fmla="*/ 181 h 244"/>
                  <a:gd name="T28" fmla="*/ 329 w 353"/>
                  <a:gd name="T29" fmla="*/ 159 h 244"/>
                  <a:gd name="T30" fmla="*/ 343 w 353"/>
                  <a:gd name="T31" fmla="*/ 132 h 244"/>
                  <a:gd name="T32" fmla="*/ 352 w 353"/>
                  <a:gd name="T33" fmla="*/ 103 h 244"/>
                  <a:gd name="T34" fmla="*/ 353 w 353"/>
                  <a:gd name="T35" fmla="*/ 81 h 244"/>
                  <a:gd name="T36" fmla="*/ 352 w 353"/>
                  <a:gd name="T37" fmla="*/ 65 h 244"/>
                  <a:gd name="T38" fmla="*/ 351 w 353"/>
                  <a:gd name="T39" fmla="*/ 54 h 244"/>
                  <a:gd name="T40" fmla="*/ 348 w 353"/>
                  <a:gd name="T41" fmla="*/ 45 h 244"/>
                  <a:gd name="T42" fmla="*/ 346 w 353"/>
                  <a:gd name="T43" fmla="*/ 39 h 244"/>
                  <a:gd name="T44" fmla="*/ 342 w 353"/>
                  <a:gd name="T45" fmla="*/ 28 h 244"/>
                  <a:gd name="T46" fmla="*/ 342 w 353"/>
                  <a:gd name="T47" fmla="*/ 27 h 244"/>
                  <a:gd name="T48" fmla="*/ 340 w 353"/>
                  <a:gd name="T49" fmla="*/ 23 h 244"/>
                  <a:gd name="T50" fmla="*/ 327 w 353"/>
                  <a:gd name="T51" fmla="*/ 0 h 244"/>
                  <a:gd name="T52" fmla="*/ 269 w 353"/>
                  <a:gd name="T53" fmla="*/ 0 h 244"/>
                  <a:gd name="T54" fmla="*/ 290 w 353"/>
                  <a:gd name="T55" fmla="*/ 20 h 244"/>
                  <a:gd name="T56" fmla="*/ 304 w 353"/>
                  <a:gd name="T57" fmla="*/ 44 h 244"/>
                  <a:gd name="T58" fmla="*/ 310 w 353"/>
                  <a:gd name="T59" fmla="*/ 63 h 244"/>
                  <a:gd name="T60" fmla="*/ 311 w 353"/>
                  <a:gd name="T61" fmla="*/ 68 h 244"/>
                  <a:gd name="T62" fmla="*/ 311 w 353"/>
                  <a:gd name="T63" fmla="*/ 69 h 244"/>
                  <a:gd name="T64" fmla="*/ 312 w 353"/>
                  <a:gd name="T65" fmla="*/ 76 h 244"/>
                  <a:gd name="T66" fmla="*/ 312 w 353"/>
                  <a:gd name="T67" fmla="*/ 77 h 244"/>
                  <a:gd name="T68" fmla="*/ 311 w 353"/>
                  <a:gd name="T69" fmla="*/ 96 h 244"/>
                  <a:gd name="T70" fmla="*/ 295 w 353"/>
                  <a:gd name="T71" fmla="*/ 136 h 244"/>
                  <a:gd name="T72" fmla="*/ 265 w 353"/>
                  <a:gd name="T73" fmla="*/ 165 h 244"/>
                  <a:gd name="T74" fmla="*/ 243 w 353"/>
                  <a:gd name="T75" fmla="*/ 175 h 244"/>
                  <a:gd name="T76" fmla="*/ 214 w 353"/>
                  <a:gd name="T77" fmla="*/ 179 h 244"/>
                  <a:gd name="T78" fmla="*/ 213 w 353"/>
                  <a:gd name="T79" fmla="*/ 179 h 244"/>
                  <a:gd name="T80" fmla="*/ 79 w 353"/>
                  <a:gd name="T81" fmla="*/ 166 h 244"/>
                  <a:gd name="T82" fmla="*/ 74 w 353"/>
                  <a:gd name="T83" fmla="*/ 156 h 244"/>
                  <a:gd name="T84" fmla="*/ 68 w 353"/>
                  <a:gd name="T85" fmla="*/ 155 h 244"/>
                  <a:gd name="T86" fmla="*/ 5 w 353"/>
                  <a:gd name="T87" fmla="*/ 192 h 244"/>
                  <a:gd name="T88" fmla="*/ 0 w 353"/>
                  <a:gd name="T89" fmla="*/ 200 h 244"/>
                  <a:gd name="T90" fmla="*/ 5 w 353"/>
                  <a:gd name="T91" fmla="*/ 207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53" h="244">
                    <a:moveTo>
                      <a:pt x="5" y="207"/>
                    </a:moveTo>
                    <a:lnTo>
                      <a:pt x="66" y="243"/>
                    </a:lnTo>
                    <a:lnTo>
                      <a:pt x="66" y="243"/>
                    </a:lnTo>
                    <a:lnTo>
                      <a:pt x="68" y="244"/>
                    </a:lnTo>
                    <a:lnTo>
                      <a:pt x="70" y="244"/>
                    </a:lnTo>
                    <a:lnTo>
                      <a:pt x="73" y="244"/>
                    </a:lnTo>
                    <a:lnTo>
                      <a:pt x="74" y="243"/>
                    </a:lnTo>
                    <a:lnTo>
                      <a:pt x="76" y="242"/>
                    </a:lnTo>
                    <a:lnTo>
                      <a:pt x="77" y="239"/>
                    </a:lnTo>
                    <a:lnTo>
                      <a:pt x="79" y="233"/>
                    </a:lnTo>
                    <a:lnTo>
                      <a:pt x="79" y="220"/>
                    </a:lnTo>
                    <a:lnTo>
                      <a:pt x="211" y="220"/>
                    </a:lnTo>
                    <a:lnTo>
                      <a:pt x="215" y="220"/>
                    </a:lnTo>
                    <a:lnTo>
                      <a:pt x="215" y="220"/>
                    </a:lnTo>
                    <a:lnTo>
                      <a:pt x="228" y="220"/>
                    </a:lnTo>
                    <a:lnTo>
                      <a:pt x="242" y="218"/>
                    </a:lnTo>
                    <a:lnTo>
                      <a:pt x="242" y="218"/>
                    </a:lnTo>
                    <a:lnTo>
                      <a:pt x="242" y="218"/>
                    </a:lnTo>
                    <a:lnTo>
                      <a:pt x="242" y="218"/>
                    </a:lnTo>
                    <a:lnTo>
                      <a:pt x="247" y="216"/>
                    </a:lnTo>
                    <a:lnTo>
                      <a:pt x="247" y="216"/>
                    </a:lnTo>
                    <a:lnTo>
                      <a:pt x="248" y="216"/>
                    </a:lnTo>
                    <a:lnTo>
                      <a:pt x="248" y="216"/>
                    </a:lnTo>
                    <a:lnTo>
                      <a:pt x="253" y="215"/>
                    </a:lnTo>
                    <a:lnTo>
                      <a:pt x="253" y="215"/>
                    </a:lnTo>
                    <a:lnTo>
                      <a:pt x="256" y="214"/>
                    </a:lnTo>
                    <a:lnTo>
                      <a:pt x="256" y="214"/>
                    </a:lnTo>
                    <a:lnTo>
                      <a:pt x="259" y="213"/>
                    </a:lnTo>
                    <a:lnTo>
                      <a:pt x="259" y="213"/>
                    </a:lnTo>
                    <a:lnTo>
                      <a:pt x="262" y="211"/>
                    </a:lnTo>
                    <a:lnTo>
                      <a:pt x="262" y="211"/>
                    </a:lnTo>
                    <a:lnTo>
                      <a:pt x="265" y="211"/>
                    </a:lnTo>
                    <a:lnTo>
                      <a:pt x="265" y="211"/>
                    </a:lnTo>
                    <a:lnTo>
                      <a:pt x="269" y="209"/>
                    </a:lnTo>
                    <a:lnTo>
                      <a:pt x="269" y="209"/>
                    </a:lnTo>
                    <a:lnTo>
                      <a:pt x="269" y="209"/>
                    </a:lnTo>
                    <a:lnTo>
                      <a:pt x="269" y="209"/>
                    </a:lnTo>
                    <a:lnTo>
                      <a:pt x="279" y="205"/>
                    </a:lnTo>
                    <a:lnTo>
                      <a:pt x="287" y="200"/>
                    </a:lnTo>
                    <a:lnTo>
                      <a:pt x="296" y="194"/>
                    </a:lnTo>
                    <a:lnTo>
                      <a:pt x="303" y="188"/>
                    </a:lnTo>
                    <a:lnTo>
                      <a:pt x="311" y="181"/>
                    </a:lnTo>
                    <a:lnTo>
                      <a:pt x="317" y="174"/>
                    </a:lnTo>
                    <a:lnTo>
                      <a:pt x="324" y="166"/>
                    </a:lnTo>
                    <a:lnTo>
                      <a:pt x="329" y="159"/>
                    </a:lnTo>
                    <a:lnTo>
                      <a:pt x="334" y="150"/>
                    </a:lnTo>
                    <a:lnTo>
                      <a:pt x="340" y="141"/>
                    </a:lnTo>
                    <a:lnTo>
                      <a:pt x="343" y="132"/>
                    </a:lnTo>
                    <a:lnTo>
                      <a:pt x="346" y="122"/>
                    </a:lnTo>
                    <a:lnTo>
                      <a:pt x="349" y="112"/>
                    </a:lnTo>
                    <a:lnTo>
                      <a:pt x="352" y="103"/>
                    </a:lnTo>
                    <a:lnTo>
                      <a:pt x="353" y="92"/>
                    </a:lnTo>
                    <a:lnTo>
                      <a:pt x="353" y="81"/>
                    </a:lnTo>
                    <a:lnTo>
                      <a:pt x="353" y="81"/>
                    </a:lnTo>
                    <a:lnTo>
                      <a:pt x="352" y="66"/>
                    </a:lnTo>
                    <a:lnTo>
                      <a:pt x="352" y="66"/>
                    </a:lnTo>
                    <a:lnTo>
                      <a:pt x="352" y="65"/>
                    </a:lnTo>
                    <a:lnTo>
                      <a:pt x="352" y="65"/>
                    </a:lnTo>
                    <a:lnTo>
                      <a:pt x="351" y="54"/>
                    </a:lnTo>
                    <a:lnTo>
                      <a:pt x="351" y="54"/>
                    </a:lnTo>
                    <a:lnTo>
                      <a:pt x="349" y="50"/>
                    </a:lnTo>
                    <a:lnTo>
                      <a:pt x="349" y="50"/>
                    </a:lnTo>
                    <a:lnTo>
                      <a:pt x="348" y="45"/>
                    </a:lnTo>
                    <a:lnTo>
                      <a:pt x="348" y="45"/>
                    </a:lnTo>
                    <a:lnTo>
                      <a:pt x="346" y="39"/>
                    </a:lnTo>
                    <a:lnTo>
                      <a:pt x="346" y="39"/>
                    </a:lnTo>
                    <a:lnTo>
                      <a:pt x="346" y="37"/>
                    </a:lnTo>
                    <a:lnTo>
                      <a:pt x="346" y="37"/>
                    </a:lnTo>
                    <a:lnTo>
                      <a:pt x="342" y="28"/>
                    </a:lnTo>
                    <a:lnTo>
                      <a:pt x="342" y="28"/>
                    </a:lnTo>
                    <a:lnTo>
                      <a:pt x="342" y="27"/>
                    </a:lnTo>
                    <a:lnTo>
                      <a:pt x="342" y="27"/>
                    </a:lnTo>
                    <a:lnTo>
                      <a:pt x="341" y="23"/>
                    </a:lnTo>
                    <a:lnTo>
                      <a:pt x="341" y="23"/>
                    </a:lnTo>
                    <a:lnTo>
                      <a:pt x="340" y="23"/>
                    </a:lnTo>
                    <a:lnTo>
                      <a:pt x="340" y="23"/>
                    </a:lnTo>
                    <a:lnTo>
                      <a:pt x="334" y="11"/>
                    </a:lnTo>
                    <a:lnTo>
                      <a:pt x="327" y="0"/>
                    </a:lnTo>
                    <a:lnTo>
                      <a:pt x="327" y="0"/>
                    </a:lnTo>
                    <a:lnTo>
                      <a:pt x="269" y="0"/>
                    </a:lnTo>
                    <a:lnTo>
                      <a:pt x="269" y="0"/>
                    </a:lnTo>
                    <a:lnTo>
                      <a:pt x="276" y="6"/>
                    </a:lnTo>
                    <a:lnTo>
                      <a:pt x="284" y="12"/>
                    </a:lnTo>
                    <a:lnTo>
                      <a:pt x="290" y="20"/>
                    </a:lnTo>
                    <a:lnTo>
                      <a:pt x="296" y="27"/>
                    </a:lnTo>
                    <a:lnTo>
                      <a:pt x="300" y="36"/>
                    </a:lnTo>
                    <a:lnTo>
                      <a:pt x="304" y="44"/>
                    </a:lnTo>
                    <a:lnTo>
                      <a:pt x="308" y="53"/>
                    </a:lnTo>
                    <a:lnTo>
                      <a:pt x="310" y="63"/>
                    </a:lnTo>
                    <a:lnTo>
                      <a:pt x="310" y="63"/>
                    </a:lnTo>
                    <a:lnTo>
                      <a:pt x="310" y="63"/>
                    </a:lnTo>
                    <a:lnTo>
                      <a:pt x="310" y="63"/>
                    </a:lnTo>
                    <a:lnTo>
                      <a:pt x="311" y="68"/>
                    </a:lnTo>
                    <a:lnTo>
                      <a:pt x="311" y="68"/>
                    </a:lnTo>
                    <a:lnTo>
                      <a:pt x="311" y="69"/>
                    </a:lnTo>
                    <a:lnTo>
                      <a:pt x="311" y="69"/>
                    </a:lnTo>
                    <a:lnTo>
                      <a:pt x="312" y="73"/>
                    </a:lnTo>
                    <a:lnTo>
                      <a:pt x="312" y="73"/>
                    </a:lnTo>
                    <a:lnTo>
                      <a:pt x="312" y="76"/>
                    </a:lnTo>
                    <a:lnTo>
                      <a:pt x="312" y="76"/>
                    </a:lnTo>
                    <a:lnTo>
                      <a:pt x="312" y="77"/>
                    </a:lnTo>
                    <a:lnTo>
                      <a:pt x="312" y="77"/>
                    </a:lnTo>
                    <a:lnTo>
                      <a:pt x="312" y="81"/>
                    </a:lnTo>
                    <a:lnTo>
                      <a:pt x="312" y="81"/>
                    </a:lnTo>
                    <a:lnTo>
                      <a:pt x="311" y="96"/>
                    </a:lnTo>
                    <a:lnTo>
                      <a:pt x="308" y="110"/>
                    </a:lnTo>
                    <a:lnTo>
                      <a:pt x="302" y="123"/>
                    </a:lnTo>
                    <a:lnTo>
                      <a:pt x="295" y="136"/>
                    </a:lnTo>
                    <a:lnTo>
                      <a:pt x="286" y="147"/>
                    </a:lnTo>
                    <a:lnTo>
                      <a:pt x="276" y="156"/>
                    </a:lnTo>
                    <a:lnTo>
                      <a:pt x="265" y="165"/>
                    </a:lnTo>
                    <a:lnTo>
                      <a:pt x="252" y="172"/>
                    </a:lnTo>
                    <a:lnTo>
                      <a:pt x="252" y="172"/>
                    </a:lnTo>
                    <a:lnTo>
                      <a:pt x="243" y="175"/>
                    </a:lnTo>
                    <a:lnTo>
                      <a:pt x="233" y="177"/>
                    </a:lnTo>
                    <a:lnTo>
                      <a:pt x="224" y="179"/>
                    </a:lnTo>
                    <a:lnTo>
                      <a:pt x="214" y="179"/>
                    </a:lnTo>
                    <a:lnTo>
                      <a:pt x="214" y="179"/>
                    </a:lnTo>
                    <a:lnTo>
                      <a:pt x="213" y="179"/>
                    </a:lnTo>
                    <a:lnTo>
                      <a:pt x="213" y="179"/>
                    </a:lnTo>
                    <a:lnTo>
                      <a:pt x="79" y="179"/>
                    </a:lnTo>
                    <a:lnTo>
                      <a:pt x="79" y="166"/>
                    </a:lnTo>
                    <a:lnTo>
                      <a:pt x="79" y="166"/>
                    </a:lnTo>
                    <a:lnTo>
                      <a:pt x="77" y="160"/>
                    </a:lnTo>
                    <a:lnTo>
                      <a:pt x="76" y="158"/>
                    </a:lnTo>
                    <a:lnTo>
                      <a:pt x="74" y="156"/>
                    </a:lnTo>
                    <a:lnTo>
                      <a:pt x="73" y="155"/>
                    </a:lnTo>
                    <a:lnTo>
                      <a:pt x="70" y="155"/>
                    </a:lnTo>
                    <a:lnTo>
                      <a:pt x="68" y="155"/>
                    </a:lnTo>
                    <a:lnTo>
                      <a:pt x="66" y="156"/>
                    </a:lnTo>
                    <a:lnTo>
                      <a:pt x="5" y="192"/>
                    </a:lnTo>
                    <a:lnTo>
                      <a:pt x="5" y="192"/>
                    </a:lnTo>
                    <a:lnTo>
                      <a:pt x="1" y="195"/>
                    </a:lnTo>
                    <a:lnTo>
                      <a:pt x="0" y="197"/>
                    </a:lnTo>
                    <a:lnTo>
                      <a:pt x="0" y="200"/>
                    </a:lnTo>
                    <a:lnTo>
                      <a:pt x="0" y="202"/>
                    </a:lnTo>
                    <a:lnTo>
                      <a:pt x="1" y="204"/>
                    </a:lnTo>
                    <a:lnTo>
                      <a:pt x="5" y="207"/>
                    </a:lnTo>
                    <a:lnTo>
                      <a:pt x="5" y="207"/>
                    </a:lnTo>
                    <a:close/>
                  </a:path>
                </a:pathLst>
              </a:custGeom>
              <a:solidFill>
                <a:srgbClr val="009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30" name="Freeform 5"/>
            <p:cNvSpPr>
              <a:spLocks noEditPoints="1"/>
            </p:cNvSpPr>
            <p:nvPr/>
          </p:nvSpPr>
          <p:spPr bwMode="auto">
            <a:xfrm>
              <a:off x="2587934" y="3169197"/>
              <a:ext cx="423292" cy="427284"/>
            </a:xfrm>
            <a:custGeom>
              <a:avLst/>
              <a:gdLst>
                <a:gd name="T0" fmla="*/ 426 w 426"/>
                <a:gd name="T1" fmla="*/ 93 h 426"/>
                <a:gd name="T2" fmla="*/ 394 w 426"/>
                <a:gd name="T3" fmla="*/ 65 h 426"/>
                <a:gd name="T4" fmla="*/ 393 w 426"/>
                <a:gd name="T5" fmla="*/ 59 h 426"/>
                <a:gd name="T6" fmla="*/ 388 w 426"/>
                <a:gd name="T7" fmla="*/ 47 h 426"/>
                <a:gd name="T8" fmla="*/ 379 w 426"/>
                <a:gd name="T9" fmla="*/ 38 h 426"/>
                <a:gd name="T10" fmla="*/ 368 w 426"/>
                <a:gd name="T11" fmla="*/ 33 h 426"/>
                <a:gd name="T12" fmla="*/ 332 w 426"/>
                <a:gd name="T13" fmla="*/ 32 h 426"/>
                <a:gd name="T14" fmla="*/ 304 w 426"/>
                <a:gd name="T15" fmla="*/ 0 h 426"/>
                <a:gd name="T16" fmla="*/ 262 w 426"/>
                <a:gd name="T17" fmla="*/ 32 h 426"/>
                <a:gd name="T18" fmla="*/ 235 w 426"/>
                <a:gd name="T19" fmla="*/ 0 h 426"/>
                <a:gd name="T20" fmla="*/ 192 w 426"/>
                <a:gd name="T21" fmla="*/ 32 h 426"/>
                <a:gd name="T22" fmla="*/ 164 w 426"/>
                <a:gd name="T23" fmla="*/ 0 h 426"/>
                <a:gd name="T24" fmla="*/ 122 w 426"/>
                <a:gd name="T25" fmla="*/ 32 h 426"/>
                <a:gd name="T26" fmla="*/ 94 w 426"/>
                <a:gd name="T27" fmla="*/ 0 h 426"/>
                <a:gd name="T28" fmla="*/ 32 w 426"/>
                <a:gd name="T29" fmla="*/ 32 h 426"/>
                <a:gd name="T30" fmla="*/ 0 w 426"/>
                <a:gd name="T31" fmla="*/ 93 h 426"/>
                <a:gd name="T32" fmla="*/ 32 w 426"/>
                <a:gd name="T33" fmla="*/ 121 h 426"/>
                <a:gd name="T34" fmla="*/ 0 w 426"/>
                <a:gd name="T35" fmla="*/ 163 h 426"/>
                <a:gd name="T36" fmla="*/ 32 w 426"/>
                <a:gd name="T37" fmla="*/ 191 h 426"/>
                <a:gd name="T38" fmla="*/ 0 w 426"/>
                <a:gd name="T39" fmla="*/ 235 h 426"/>
                <a:gd name="T40" fmla="*/ 32 w 426"/>
                <a:gd name="T41" fmla="*/ 263 h 426"/>
                <a:gd name="T42" fmla="*/ 0 w 426"/>
                <a:gd name="T43" fmla="*/ 305 h 426"/>
                <a:gd name="T44" fmla="*/ 32 w 426"/>
                <a:gd name="T45" fmla="*/ 333 h 426"/>
                <a:gd name="T46" fmla="*/ 32 w 426"/>
                <a:gd name="T47" fmla="*/ 362 h 426"/>
                <a:gd name="T48" fmla="*/ 36 w 426"/>
                <a:gd name="T49" fmla="*/ 374 h 426"/>
                <a:gd name="T50" fmla="*/ 42 w 426"/>
                <a:gd name="T51" fmla="*/ 384 h 426"/>
                <a:gd name="T52" fmla="*/ 53 w 426"/>
                <a:gd name="T53" fmla="*/ 392 h 426"/>
                <a:gd name="T54" fmla="*/ 66 w 426"/>
                <a:gd name="T55" fmla="*/ 394 h 426"/>
                <a:gd name="T56" fmla="*/ 94 w 426"/>
                <a:gd name="T57" fmla="*/ 426 h 426"/>
                <a:gd name="T58" fmla="*/ 122 w 426"/>
                <a:gd name="T59" fmla="*/ 394 h 426"/>
                <a:gd name="T60" fmla="*/ 164 w 426"/>
                <a:gd name="T61" fmla="*/ 426 h 426"/>
                <a:gd name="T62" fmla="*/ 192 w 426"/>
                <a:gd name="T63" fmla="*/ 394 h 426"/>
                <a:gd name="T64" fmla="*/ 235 w 426"/>
                <a:gd name="T65" fmla="*/ 426 h 426"/>
                <a:gd name="T66" fmla="*/ 262 w 426"/>
                <a:gd name="T67" fmla="*/ 394 h 426"/>
                <a:gd name="T68" fmla="*/ 304 w 426"/>
                <a:gd name="T69" fmla="*/ 426 h 426"/>
                <a:gd name="T70" fmla="*/ 332 w 426"/>
                <a:gd name="T71" fmla="*/ 394 h 426"/>
                <a:gd name="T72" fmla="*/ 394 w 426"/>
                <a:gd name="T73" fmla="*/ 333 h 426"/>
                <a:gd name="T74" fmla="*/ 426 w 426"/>
                <a:gd name="T75" fmla="*/ 305 h 426"/>
                <a:gd name="T76" fmla="*/ 394 w 426"/>
                <a:gd name="T77" fmla="*/ 263 h 426"/>
                <a:gd name="T78" fmla="*/ 426 w 426"/>
                <a:gd name="T79" fmla="*/ 235 h 426"/>
                <a:gd name="T80" fmla="*/ 394 w 426"/>
                <a:gd name="T81" fmla="*/ 191 h 426"/>
                <a:gd name="T82" fmla="*/ 426 w 426"/>
                <a:gd name="T83" fmla="*/ 163 h 426"/>
                <a:gd name="T84" fmla="*/ 394 w 426"/>
                <a:gd name="T85" fmla="*/ 121 h 426"/>
                <a:gd name="T86" fmla="*/ 359 w 426"/>
                <a:gd name="T87" fmla="*/ 360 h 426"/>
                <a:gd name="T88" fmla="*/ 67 w 426"/>
                <a:gd name="T89" fmla="*/ 66 h 426"/>
                <a:gd name="T90" fmla="*/ 359 w 426"/>
                <a:gd name="T91" fmla="*/ 360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26" h="426">
                  <a:moveTo>
                    <a:pt x="426" y="121"/>
                  </a:moveTo>
                  <a:lnTo>
                    <a:pt x="426" y="93"/>
                  </a:lnTo>
                  <a:lnTo>
                    <a:pt x="394" y="93"/>
                  </a:lnTo>
                  <a:lnTo>
                    <a:pt x="394" y="65"/>
                  </a:lnTo>
                  <a:lnTo>
                    <a:pt x="394" y="65"/>
                  </a:lnTo>
                  <a:lnTo>
                    <a:pt x="393" y="59"/>
                  </a:lnTo>
                  <a:lnTo>
                    <a:pt x="390" y="52"/>
                  </a:lnTo>
                  <a:lnTo>
                    <a:pt x="388" y="47"/>
                  </a:lnTo>
                  <a:lnTo>
                    <a:pt x="384" y="42"/>
                  </a:lnTo>
                  <a:lnTo>
                    <a:pt x="379" y="38"/>
                  </a:lnTo>
                  <a:lnTo>
                    <a:pt x="373" y="35"/>
                  </a:lnTo>
                  <a:lnTo>
                    <a:pt x="368" y="33"/>
                  </a:lnTo>
                  <a:lnTo>
                    <a:pt x="360" y="32"/>
                  </a:lnTo>
                  <a:lnTo>
                    <a:pt x="332" y="32"/>
                  </a:lnTo>
                  <a:lnTo>
                    <a:pt x="332" y="0"/>
                  </a:lnTo>
                  <a:lnTo>
                    <a:pt x="304" y="0"/>
                  </a:lnTo>
                  <a:lnTo>
                    <a:pt x="304" y="32"/>
                  </a:lnTo>
                  <a:lnTo>
                    <a:pt x="262" y="32"/>
                  </a:lnTo>
                  <a:lnTo>
                    <a:pt x="262" y="0"/>
                  </a:lnTo>
                  <a:lnTo>
                    <a:pt x="235" y="0"/>
                  </a:lnTo>
                  <a:lnTo>
                    <a:pt x="235" y="32"/>
                  </a:lnTo>
                  <a:lnTo>
                    <a:pt x="192" y="32"/>
                  </a:lnTo>
                  <a:lnTo>
                    <a:pt x="192" y="0"/>
                  </a:lnTo>
                  <a:lnTo>
                    <a:pt x="164" y="0"/>
                  </a:lnTo>
                  <a:lnTo>
                    <a:pt x="164" y="32"/>
                  </a:lnTo>
                  <a:lnTo>
                    <a:pt x="122" y="32"/>
                  </a:lnTo>
                  <a:lnTo>
                    <a:pt x="122" y="0"/>
                  </a:lnTo>
                  <a:lnTo>
                    <a:pt x="94" y="0"/>
                  </a:lnTo>
                  <a:lnTo>
                    <a:pt x="94" y="32"/>
                  </a:lnTo>
                  <a:lnTo>
                    <a:pt x="32" y="32"/>
                  </a:lnTo>
                  <a:lnTo>
                    <a:pt x="32" y="93"/>
                  </a:lnTo>
                  <a:lnTo>
                    <a:pt x="0" y="93"/>
                  </a:lnTo>
                  <a:lnTo>
                    <a:pt x="0" y="121"/>
                  </a:lnTo>
                  <a:lnTo>
                    <a:pt x="32" y="121"/>
                  </a:lnTo>
                  <a:lnTo>
                    <a:pt x="32" y="163"/>
                  </a:lnTo>
                  <a:lnTo>
                    <a:pt x="0" y="163"/>
                  </a:lnTo>
                  <a:lnTo>
                    <a:pt x="0" y="191"/>
                  </a:lnTo>
                  <a:lnTo>
                    <a:pt x="32" y="191"/>
                  </a:lnTo>
                  <a:lnTo>
                    <a:pt x="32" y="235"/>
                  </a:lnTo>
                  <a:lnTo>
                    <a:pt x="0" y="235"/>
                  </a:lnTo>
                  <a:lnTo>
                    <a:pt x="0" y="263"/>
                  </a:lnTo>
                  <a:lnTo>
                    <a:pt x="32" y="263"/>
                  </a:lnTo>
                  <a:lnTo>
                    <a:pt x="32" y="305"/>
                  </a:lnTo>
                  <a:lnTo>
                    <a:pt x="0" y="305"/>
                  </a:lnTo>
                  <a:lnTo>
                    <a:pt x="0" y="333"/>
                  </a:lnTo>
                  <a:lnTo>
                    <a:pt x="32" y="333"/>
                  </a:lnTo>
                  <a:lnTo>
                    <a:pt x="32" y="362"/>
                  </a:lnTo>
                  <a:lnTo>
                    <a:pt x="32" y="362"/>
                  </a:lnTo>
                  <a:lnTo>
                    <a:pt x="33" y="368"/>
                  </a:lnTo>
                  <a:lnTo>
                    <a:pt x="36" y="374"/>
                  </a:lnTo>
                  <a:lnTo>
                    <a:pt x="38" y="380"/>
                  </a:lnTo>
                  <a:lnTo>
                    <a:pt x="42" y="384"/>
                  </a:lnTo>
                  <a:lnTo>
                    <a:pt x="47" y="389"/>
                  </a:lnTo>
                  <a:lnTo>
                    <a:pt x="53" y="392"/>
                  </a:lnTo>
                  <a:lnTo>
                    <a:pt x="58" y="393"/>
                  </a:lnTo>
                  <a:lnTo>
                    <a:pt x="66" y="394"/>
                  </a:lnTo>
                  <a:lnTo>
                    <a:pt x="94" y="394"/>
                  </a:lnTo>
                  <a:lnTo>
                    <a:pt x="94" y="426"/>
                  </a:lnTo>
                  <a:lnTo>
                    <a:pt x="122" y="426"/>
                  </a:lnTo>
                  <a:lnTo>
                    <a:pt x="122" y="394"/>
                  </a:lnTo>
                  <a:lnTo>
                    <a:pt x="164" y="394"/>
                  </a:lnTo>
                  <a:lnTo>
                    <a:pt x="164" y="426"/>
                  </a:lnTo>
                  <a:lnTo>
                    <a:pt x="192" y="426"/>
                  </a:lnTo>
                  <a:lnTo>
                    <a:pt x="192" y="394"/>
                  </a:lnTo>
                  <a:lnTo>
                    <a:pt x="235" y="394"/>
                  </a:lnTo>
                  <a:lnTo>
                    <a:pt x="235" y="426"/>
                  </a:lnTo>
                  <a:lnTo>
                    <a:pt x="262" y="426"/>
                  </a:lnTo>
                  <a:lnTo>
                    <a:pt x="262" y="394"/>
                  </a:lnTo>
                  <a:lnTo>
                    <a:pt x="304" y="394"/>
                  </a:lnTo>
                  <a:lnTo>
                    <a:pt x="304" y="426"/>
                  </a:lnTo>
                  <a:lnTo>
                    <a:pt x="332" y="426"/>
                  </a:lnTo>
                  <a:lnTo>
                    <a:pt x="332" y="394"/>
                  </a:lnTo>
                  <a:lnTo>
                    <a:pt x="394" y="394"/>
                  </a:lnTo>
                  <a:lnTo>
                    <a:pt x="394" y="333"/>
                  </a:lnTo>
                  <a:lnTo>
                    <a:pt x="426" y="333"/>
                  </a:lnTo>
                  <a:lnTo>
                    <a:pt x="426" y="305"/>
                  </a:lnTo>
                  <a:lnTo>
                    <a:pt x="394" y="305"/>
                  </a:lnTo>
                  <a:lnTo>
                    <a:pt x="394" y="263"/>
                  </a:lnTo>
                  <a:lnTo>
                    <a:pt x="426" y="263"/>
                  </a:lnTo>
                  <a:lnTo>
                    <a:pt x="426" y="235"/>
                  </a:lnTo>
                  <a:lnTo>
                    <a:pt x="394" y="235"/>
                  </a:lnTo>
                  <a:lnTo>
                    <a:pt x="394" y="191"/>
                  </a:lnTo>
                  <a:lnTo>
                    <a:pt x="426" y="191"/>
                  </a:lnTo>
                  <a:lnTo>
                    <a:pt x="426" y="163"/>
                  </a:lnTo>
                  <a:lnTo>
                    <a:pt x="394" y="163"/>
                  </a:lnTo>
                  <a:lnTo>
                    <a:pt x="394" y="121"/>
                  </a:lnTo>
                  <a:lnTo>
                    <a:pt x="426" y="121"/>
                  </a:lnTo>
                  <a:close/>
                  <a:moveTo>
                    <a:pt x="359" y="360"/>
                  </a:moveTo>
                  <a:lnTo>
                    <a:pt x="67" y="360"/>
                  </a:lnTo>
                  <a:lnTo>
                    <a:pt x="67" y="66"/>
                  </a:lnTo>
                  <a:lnTo>
                    <a:pt x="359" y="66"/>
                  </a:lnTo>
                  <a:lnTo>
                    <a:pt x="359" y="36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1712566" y="4116913"/>
            <a:ext cx="2286000" cy="3545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ctr"/>
            <a:r>
              <a:rPr lang="en-US" b="1">
                <a:solidFill>
                  <a:srgbClr val="0096D6"/>
                </a:solidFill>
              </a:rPr>
              <a:t>Recovery at the firmware layer</a:t>
            </a:r>
            <a:endParaRPr lang="en-US" b="1" dirty="0">
              <a:solidFill>
                <a:srgbClr val="0096D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29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Recover:</a:t>
            </a:r>
            <a:r>
              <a:rPr lang="en-GB" dirty="0" smtClean="0"/>
              <a:t> Recover from kernel level malware 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Out-of-band integrity measurements trigger an alarm</a:t>
            </a:r>
            <a:endParaRPr lang="en-GB" dirty="0"/>
          </a:p>
        </p:txBody>
      </p:sp>
      <p:grpSp>
        <p:nvGrpSpPr>
          <p:cNvPr id="15" name="Group 422"/>
          <p:cNvGrpSpPr>
            <a:grpSpLocks noChangeAspect="1"/>
          </p:cNvGrpSpPr>
          <p:nvPr/>
        </p:nvGrpSpPr>
        <p:grpSpPr bwMode="auto">
          <a:xfrm>
            <a:off x="11052014" y="685800"/>
            <a:ext cx="527370" cy="603922"/>
            <a:chOff x="5326" y="548"/>
            <a:chExt cx="186" cy="213"/>
          </a:xfrm>
          <a:solidFill>
            <a:schemeClr val="accent1"/>
          </a:solidFill>
        </p:grpSpPr>
        <p:sp>
          <p:nvSpPr>
            <p:cNvPr id="16" name="Freeform 423"/>
            <p:cNvSpPr>
              <a:spLocks noEditPoints="1"/>
            </p:cNvSpPr>
            <p:nvPr/>
          </p:nvSpPr>
          <p:spPr bwMode="auto">
            <a:xfrm>
              <a:off x="5426" y="548"/>
              <a:ext cx="86" cy="153"/>
            </a:xfrm>
            <a:custGeom>
              <a:avLst/>
              <a:gdLst>
                <a:gd name="T0" fmla="*/ 85 w 172"/>
                <a:gd name="T1" fmla="*/ 94 h 306"/>
                <a:gd name="T2" fmla="*/ 106 w 172"/>
                <a:gd name="T3" fmla="*/ 91 h 306"/>
                <a:gd name="T4" fmla="*/ 120 w 172"/>
                <a:gd name="T5" fmla="*/ 84 h 306"/>
                <a:gd name="T6" fmla="*/ 128 w 172"/>
                <a:gd name="T7" fmla="*/ 69 h 306"/>
                <a:gd name="T8" fmla="*/ 131 w 172"/>
                <a:gd name="T9" fmla="*/ 47 h 306"/>
                <a:gd name="T10" fmla="*/ 129 w 172"/>
                <a:gd name="T11" fmla="*/ 35 h 306"/>
                <a:gd name="T12" fmla="*/ 125 w 172"/>
                <a:gd name="T13" fmla="*/ 17 h 306"/>
                <a:gd name="T14" fmla="*/ 114 w 172"/>
                <a:gd name="T15" fmla="*/ 6 h 306"/>
                <a:gd name="T16" fmla="*/ 97 w 172"/>
                <a:gd name="T17" fmla="*/ 0 h 306"/>
                <a:gd name="T18" fmla="*/ 85 w 172"/>
                <a:gd name="T19" fmla="*/ 0 h 306"/>
                <a:gd name="T20" fmla="*/ 65 w 172"/>
                <a:gd name="T21" fmla="*/ 2 h 306"/>
                <a:gd name="T22" fmla="*/ 51 w 172"/>
                <a:gd name="T23" fmla="*/ 10 h 306"/>
                <a:gd name="T24" fmla="*/ 43 w 172"/>
                <a:gd name="T25" fmla="*/ 25 h 306"/>
                <a:gd name="T26" fmla="*/ 41 w 172"/>
                <a:gd name="T27" fmla="*/ 47 h 306"/>
                <a:gd name="T28" fmla="*/ 41 w 172"/>
                <a:gd name="T29" fmla="*/ 59 h 306"/>
                <a:gd name="T30" fmla="*/ 46 w 172"/>
                <a:gd name="T31" fmla="*/ 76 h 306"/>
                <a:gd name="T32" fmla="*/ 57 w 172"/>
                <a:gd name="T33" fmla="*/ 88 h 306"/>
                <a:gd name="T34" fmla="*/ 74 w 172"/>
                <a:gd name="T35" fmla="*/ 93 h 306"/>
                <a:gd name="T36" fmla="*/ 85 w 172"/>
                <a:gd name="T37" fmla="*/ 94 h 306"/>
                <a:gd name="T38" fmla="*/ 36 w 172"/>
                <a:gd name="T39" fmla="*/ 108 h 306"/>
                <a:gd name="T40" fmla="*/ 28 w 172"/>
                <a:gd name="T41" fmla="*/ 108 h 306"/>
                <a:gd name="T42" fmla="*/ 14 w 172"/>
                <a:gd name="T43" fmla="*/ 113 h 306"/>
                <a:gd name="T44" fmla="*/ 5 w 172"/>
                <a:gd name="T45" fmla="*/ 122 h 306"/>
                <a:gd name="T46" fmla="*/ 0 w 172"/>
                <a:gd name="T47" fmla="*/ 138 h 306"/>
                <a:gd name="T48" fmla="*/ 0 w 172"/>
                <a:gd name="T49" fmla="*/ 173 h 306"/>
                <a:gd name="T50" fmla="*/ 28 w 172"/>
                <a:gd name="T51" fmla="*/ 156 h 306"/>
                <a:gd name="T52" fmla="*/ 29 w 172"/>
                <a:gd name="T53" fmla="*/ 154 h 306"/>
                <a:gd name="T54" fmla="*/ 32 w 172"/>
                <a:gd name="T55" fmla="*/ 153 h 306"/>
                <a:gd name="T56" fmla="*/ 36 w 172"/>
                <a:gd name="T57" fmla="*/ 156 h 306"/>
                <a:gd name="T58" fmla="*/ 133 w 172"/>
                <a:gd name="T59" fmla="*/ 306 h 306"/>
                <a:gd name="T60" fmla="*/ 135 w 172"/>
                <a:gd name="T61" fmla="*/ 281 h 306"/>
                <a:gd name="T62" fmla="*/ 136 w 172"/>
                <a:gd name="T63" fmla="*/ 265 h 306"/>
                <a:gd name="T64" fmla="*/ 136 w 172"/>
                <a:gd name="T65" fmla="*/ 156 h 306"/>
                <a:gd name="T66" fmla="*/ 139 w 172"/>
                <a:gd name="T67" fmla="*/ 153 h 306"/>
                <a:gd name="T68" fmla="*/ 142 w 172"/>
                <a:gd name="T69" fmla="*/ 154 h 306"/>
                <a:gd name="T70" fmla="*/ 142 w 172"/>
                <a:gd name="T71" fmla="*/ 258 h 306"/>
                <a:gd name="T72" fmla="*/ 143 w 172"/>
                <a:gd name="T73" fmla="*/ 260 h 306"/>
                <a:gd name="T74" fmla="*/ 145 w 172"/>
                <a:gd name="T75" fmla="*/ 266 h 306"/>
                <a:gd name="T76" fmla="*/ 152 w 172"/>
                <a:gd name="T77" fmla="*/ 272 h 306"/>
                <a:gd name="T78" fmla="*/ 158 w 172"/>
                <a:gd name="T79" fmla="*/ 272 h 306"/>
                <a:gd name="T80" fmla="*/ 167 w 172"/>
                <a:gd name="T81" fmla="*/ 269 h 306"/>
                <a:gd name="T82" fmla="*/ 172 w 172"/>
                <a:gd name="T83" fmla="*/ 258 h 306"/>
                <a:gd name="T84" fmla="*/ 172 w 172"/>
                <a:gd name="T85" fmla="*/ 146 h 306"/>
                <a:gd name="T86" fmla="*/ 169 w 172"/>
                <a:gd name="T87" fmla="*/ 129 h 306"/>
                <a:gd name="T88" fmla="*/ 162 w 172"/>
                <a:gd name="T89" fmla="*/ 117 h 306"/>
                <a:gd name="T90" fmla="*/ 151 w 172"/>
                <a:gd name="T91" fmla="*/ 111 h 306"/>
                <a:gd name="T92" fmla="*/ 136 w 172"/>
                <a:gd name="T93" fmla="*/ 108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2" h="306">
                  <a:moveTo>
                    <a:pt x="85" y="94"/>
                  </a:moveTo>
                  <a:lnTo>
                    <a:pt x="85" y="94"/>
                  </a:lnTo>
                  <a:lnTo>
                    <a:pt x="97" y="93"/>
                  </a:lnTo>
                  <a:lnTo>
                    <a:pt x="106" y="91"/>
                  </a:lnTo>
                  <a:lnTo>
                    <a:pt x="114" y="88"/>
                  </a:lnTo>
                  <a:lnTo>
                    <a:pt x="120" y="84"/>
                  </a:lnTo>
                  <a:lnTo>
                    <a:pt x="125" y="76"/>
                  </a:lnTo>
                  <a:lnTo>
                    <a:pt x="128" y="69"/>
                  </a:lnTo>
                  <a:lnTo>
                    <a:pt x="129" y="59"/>
                  </a:lnTo>
                  <a:lnTo>
                    <a:pt x="131" y="47"/>
                  </a:lnTo>
                  <a:lnTo>
                    <a:pt x="131" y="47"/>
                  </a:lnTo>
                  <a:lnTo>
                    <a:pt x="129" y="35"/>
                  </a:lnTo>
                  <a:lnTo>
                    <a:pt x="128" y="25"/>
                  </a:lnTo>
                  <a:lnTo>
                    <a:pt x="125" y="17"/>
                  </a:lnTo>
                  <a:lnTo>
                    <a:pt x="120" y="10"/>
                  </a:lnTo>
                  <a:lnTo>
                    <a:pt x="114" y="6"/>
                  </a:lnTo>
                  <a:lnTo>
                    <a:pt x="106" y="2"/>
                  </a:lnTo>
                  <a:lnTo>
                    <a:pt x="97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65" y="2"/>
                  </a:lnTo>
                  <a:lnTo>
                    <a:pt x="57" y="6"/>
                  </a:lnTo>
                  <a:lnTo>
                    <a:pt x="51" y="10"/>
                  </a:lnTo>
                  <a:lnTo>
                    <a:pt x="46" y="17"/>
                  </a:lnTo>
                  <a:lnTo>
                    <a:pt x="43" y="25"/>
                  </a:lnTo>
                  <a:lnTo>
                    <a:pt x="41" y="35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59"/>
                  </a:lnTo>
                  <a:lnTo>
                    <a:pt x="43" y="69"/>
                  </a:lnTo>
                  <a:lnTo>
                    <a:pt x="46" y="76"/>
                  </a:lnTo>
                  <a:lnTo>
                    <a:pt x="51" y="84"/>
                  </a:lnTo>
                  <a:lnTo>
                    <a:pt x="57" y="88"/>
                  </a:lnTo>
                  <a:lnTo>
                    <a:pt x="65" y="91"/>
                  </a:lnTo>
                  <a:lnTo>
                    <a:pt x="74" y="93"/>
                  </a:lnTo>
                  <a:lnTo>
                    <a:pt x="85" y="94"/>
                  </a:lnTo>
                  <a:lnTo>
                    <a:pt x="85" y="94"/>
                  </a:lnTo>
                  <a:close/>
                  <a:moveTo>
                    <a:pt x="136" y="108"/>
                  </a:moveTo>
                  <a:lnTo>
                    <a:pt x="36" y="108"/>
                  </a:lnTo>
                  <a:lnTo>
                    <a:pt x="36" y="108"/>
                  </a:lnTo>
                  <a:lnTo>
                    <a:pt x="28" y="108"/>
                  </a:lnTo>
                  <a:lnTo>
                    <a:pt x="21" y="111"/>
                  </a:lnTo>
                  <a:lnTo>
                    <a:pt x="14" y="113"/>
                  </a:lnTo>
                  <a:lnTo>
                    <a:pt x="10" y="117"/>
                  </a:lnTo>
                  <a:lnTo>
                    <a:pt x="5" y="122"/>
                  </a:lnTo>
                  <a:lnTo>
                    <a:pt x="2" y="129"/>
                  </a:lnTo>
                  <a:lnTo>
                    <a:pt x="0" y="138"/>
                  </a:lnTo>
                  <a:lnTo>
                    <a:pt x="0" y="146"/>
                  </a:lnTo>
                  <a:lnTo>
                    <a:pt x="0" y="173"/>
                  </a:lnTo>
                  <a:lnTo>
                    <a:pt x="28" y="201"/>
                  </a:lnTo>
                  <a:lnTo>
                    <a:pt x="28" y="156"/>
                  </a:lnTo>
                  <a:lnTo>
                    <a:pt x="28" y="156"/>
                  </a:lnTo>
                  <a:lnTo>
                    <a:pt x="29" y="154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5" y="154"/>
                  </a:lnTo>
                  <a:lnTo>
                    <a:pt x="36" y="156"/>
                  </a:lnTo>
                  <a:lnTo>
                    <a:pt x="36" y="209"/>
                  </a:lnTo>
                  <a:lnTo>
                    <a:pt x="133" y="306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6" y="265"/>
                  </a:lnTo>
                  <a:lnTo>
                    <a:pt x="136" y="156"/>
                  </a:lnTo>
                  <a:lnTo>
                    <a:pt x="136" y="156"/>
                  </a:lnTo>
                  <a:lnTo>
                    <a:pt x="137" y="154"/>
                  </a:lnTo>
                  <a:lnTo>
                    <a:pt x="139" y="153"/>
                  </a:lnTo>
                  <a:lnTo>
                    <a:pt x="139" y="153"/>
                  </a:lnTo>
                  <a:lnTo>
                    <a:pt x="142" y="154"/>
                  </a:lnTo>
                  <a:lnTo>
                    <a:pt x="142" y="156"/>
                  </a:lnTo>
                  <a:lnTo>
                    <a:pt x="142" y="258"/>
                  </a:lnTo>
                  <a:lnTo>
                    <a:pt x="142" y="258"/>
                  </a:lnTo>
                  <a:lnTo>
                    <a:pt x="143" y="260"/>
                  </a:lnTo>
                  <a:lnTo>
                    <a:pt x="143" y="260"/>
                  </a:lnTo>
                  <a:lnTo>
                    <a:pt x="145" y="266"/>
                  </a:lnTo>
                  <a:lnTo>
                    <a:pt x="148" y="269"/>
                  </a:lnTo>
                  <a:lnTo>
                    <a:pt x="152" y="272"/>
                  </a:lnTo>
                  <a:lnTo>
                    <a:pt x="158" y="272"/>
                  </a:lnTo>
                  <a:lnTo>
                    <a:pt x="158" y="272"/>
                  </a:lnTo>
                  <a:lnTo>
                    <a:pt x="163" y="271"/>
                  </a:lnTo>
                  <a:lnTo>
                    <a:pt x="167" y="269"/>
                  </a:lnTo>
                  <a:lnTo>
                    <a:pt x="170" y="264"/>
                  </a:lnTo>
                  <a:lnTo>
                    <a:pt x="172" y="258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2" y="138"/>
                  </a:lnTo>
                  <a:lnTo>
                    <a:pt x="169" y="129"/>
                  </a:lnTo>
                  <a:lnTo>
                    <a:pt x="166" y="122"/>
                  </a:lnTo>
                  <a:lnTo>
                    <a:pt x="162" y="117"/>
                  </a:lnTo>
                  <a:lnTo>
                    <a:pt x="158" y="113"/>
                  </a:lnTo>
                  <a:lnTo>
                    <a:pt x="151" y="111"/>
                  </a:lnTo>
                  <a:lnTo>
                    <a:pt x="143" y="108"/>
                  </a:lnTo>
                  <a:lnTo>
                    <a:pt x="136" y="108"/>
                  </a:lnTo>
                  <a:lnTo>
                    <a:pt x="136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424"/>
            <p:cNvSpPr>
              <a:spLocks noEditPoints="1"/>
            </p:cNvSpPr>
            <p:nvPr/>
          </p:nvSpPr>
          <p:spPr bwMode="auto">
            <a:xfrm>
              <a:off x="5326" y="580"/>
              <a:ext cx="181" cy="181"/>
            </a:xfrm>
            <a:custGeom>
              <a:avLst/>
              <a:gdLst>
                <a:gd name="T0" fmla="*/ 179 w 362"/>
                <a:gd name="T1" fmla="*/ 112 h 362"/>
                <a:gd name="T2" fmla="*/ 181 w 362"/>
                <a:gd name="T3" fmla="*/ 101 h 362"/>
                <a:gd name="T4" fmla="*/ 180 w 362"/>
                <a:gd name="T5" fmla="*/ 79 h 362"/>
                <a:gd name="T6" fmla="*/ 174 w 362"/>
                <a:gd name="T7" fmla="*/ 56 h 362"/>
                <a:gd name="T8" fmla="*/ 162 w 362"/>
                <a:gd name="T9" fmla="*/ 36 h 362"/>
                <a:gd name="T10" fmla="*/ 155 w 362"/>
                <a:gd name="T11" fmla="*/ 27 h 362"/>
                <a:gd name="T12" fmla="*/ 132 w 362"/>
                <a:gd name="T13" fmla="*/ 11 h 362"/>
                <a:gd name="T14" fmla="*/ 106 w 362"/>
                <a:gd name="T15" fmla="*/ 2 h 362"/>
                <a:gd name="T16" fmla="*/ 79 w 362"/>
                <a:gd name="T17" fmla="*/ 1 h 362"/>
                <a:gd name="T18" fmla="*/ 53 w 362"/>
                <a:gd name="T19" fmla="*/ 8 h 362"/>
                <a:gd name="T20" fmla="*/ 102 w 362"/>
                <a:gd name="T21" fmla="*/ 56 h 362"/>
                <a:gd name="T22" fmla="*/ 110 w 362"/>
                <a:gd name="T23" fmla="*/ 67 h 362"/>
                <a:gd name="T24" fmla="*/ 112 w 362"/>
                <a:gd name="T25" fmla="*/ 80 h 362"/>
                <a:gd name="T26" fmla="*/ 110 w 362"/>
                <a:gd name="T27" fmla="*/ 92 h 362"/>
                <a:gd name="T28" fmla="*/ 102 w 362"/>
                <a:gd name="T29" fmla="*/ 103 h 362"/>
                <a:gd name="T30" fmla="*/ 97 w 362"/>
                <a:gd name="T31" fmla="*/ 107 h 362"/>
                <a:gd name="T32" fmla="*/ 85 w 362"/>
                <a:gd name="T33" fmla="*/ 112 h 362"/>
                <a:gd name="T34" fmla="*/ 72 w 362"/>
                <a:gd name="T35" fmla="*/ 112 h 362"/>
                <a:gd name="T36" fmla="*/ 60 w 362"/>
                <a:gd name="T37" fmla="*/ 107 h 362"/>
                <a:gd name="T38" fmla="*/ 7 w 362"/>
                <a:gd name="T39" fmla="*/ 55 h 362"/>
                <a:gd name="T40" fmla="*/ 3 w 362"/>
                <a:gd name="T41" fmla="*/ 67 h 362"/>
                <a:gd name="T42" fmla="*/ 0 w 362"/>
                <a:gd name="T43" fmla="*/ 94 h 362"/>
                <a:gd name="T44" fmla="*/ 4 w 362"/>
                <a:gd name="T45" fmla="*/ 120 h 362"/>
                <a:gd name="T46" fmla="*/ 17 w 362"/>
                <a:gd name="T47" fmla="*/ 145 h 362"/>
                <a:gd name="T48" fmla="*/ 27 w 362"/>
                <a:gd name="T49" fmla="*/ 155 h 362"/>
                <a:gd name="T50" fmla="*/ 45 w 362"/>
                <a:gd name="T51" fmla="*/ 169 h 362"/>
                <a:gd name="T52" fmla="*/ 66 w 362"/>
                <a:gd name="T53" fmla="*/ 179 h 362"/>
                <a:gd name="T54" fmla="*/ 89 w 362"/>
                <a:gd name="T55" fmla="*/ 182 h 362"/>
                <a:gd name="T56" fmla="*/ 112 w 362"/>
                <a:gd name="T57" fmla="*/ 179 h 362"/>
                <a:gd name="T58" fmla="*/ 282 w 362"/>
                <a:gd name="T59" fmla="*/ 349 h 362"/>
                <a:gd name="T60" fmla="*/ 297 w 362"/>
                <a:gd name="T61" fmla="*/ 359 h 362"/>
                <a:gd name="T62" fmla="*/ 314 w 362"/>
                <a:gd name="T63" fmla="*/ 362 h 362"/>
                <a:gd name="T64" fmla="*/ 324 w 362"/>
                <a:gd name="T65" fmla="*/ 362 h 362"/>
                <a:gd name="T66" fmla="*/ 340 w 362"/>
                <a:gd name="T67" fmla="*/ 355 h 362"/>
                <a:gd name="T68" fmla="*/ 348 w 362"/>
                <a:gd name="T69" fmla="*/ 349 h 362"/>
                <a:gd name="T70" fmla="*/ 359 w 362"/>
                <a:gd name="T71" fmla="*/ 333 h 362"/>
                <a:gd name="T72" fmla="*/ 362 w 362"/>
                <a:gd name="T73" fmla="*/ 316 h 362"/>
                <a:gd name="T74" fmla="*/ 359 w 362"/>
                <a:gd name="T75" fmla="*/ 298 h 362"/>
                <a:gd name="T76" fmla="*/ 348 w 362"/>
                <a:gd name="T77" fmla="*/ 283 h 362"/>
                <a:gd name="T78" fmla="*/ 329 w 362"/>
                <a:gd name="T79" fmla="*/ 330 h 362"/>
                <a:gd name="T80" fmla="*/ 326 w 362"/>
                <a:gd name="T81" fmla="*/ 333 h 362"/>
                <a:gd name="T82" fmla="*/ 319 w 362"/>
                <a:gd name="T83" fmla="*/ 336 h 362"/>
                <a:gd name="T84" fmla="*/ 311 w 362"/>
                <a:gd name="T85" fmla="*/ 336 h 362"/>
                <a:gd name="T86" fmla="*/ 304 w 362"/>
                <a:gd name="T87" fmla="*/ 333 h 362"/>
                <a:gd name="T88" fmla="*/ 300 w 362"/>
                <a:gd name="T89" fmla="*/ 330 h 362"/>
                <a:gd name="T90" fmla="*/ 296 w 362"/>
                <a:gd name="T91" fmla="*/ 324 h 362"/>
                <a:gd name="T92" fmla="*/ 294 w 362"/>
                <a:gd name="T93" fmla="*/ 316 h 362"/>
                <a:gd name="T94" fmla="*/ 296 w 362"/>
                <a:gd name="T95" fmla="*/ 308 h 362"/>
                <a:gd name="T96" fmla="*/ 300 w 362"/>
                <a:gd name="T97" fmla="*/ 301 h 362"/>
                <a:gd name="T98" fmla="*/ 304 w 362"/>
                <a:gd name="T99" fmla="*/ 299 h 362"/>
                <a:gd name="T100" fmla="*/ 311 w 362"/>
                <a:gd name="T101" fmla="*/ 296 h 362"/>
                <a:gd name="T102" fmla="*/ 319 w 362"/>
                <a:gd name="T103" fmla="*/ 296 h 362"/>
                <a:gd name="T104" fmla="*/ 326 w 362"/>
                <a:gd name="T105" fmla="*/ 299 h 362"/>
                <a:gd name="T106" fmla="*/ 329 w 362"/>
                <a:gd name="T107" fmla="*/ 301 h 362"/>
                <a:gd name="T108" fmla="*/ 334 w 362"/>
                <a:gd name="T109" fmla="*/ 308 h 362"/>
                <a:gd name="T110" fmla="*/ 336 w 362"/>
                <a:gd name="T111" fmla="*/ 316 h 362"/>
                <a:gd name="T112" fmla="*/ 334 w 362"/>
                <a:gd name="T113" fmla="*/ 324 h 362"/>
                <a:gd name="T114" fmla="*/ 329 w 362"/>
                <a:gd name="T115" fmla="*/ 33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2" h="362">
                  <a:moveTo>
                    <a:pt x="348" y="283"/>
                  </a:moveTo>
                  <a:lnTo>
                    <a:pt x="179" y="112"/>
                  </a:lnTo>
                  <a:lnTo>
                    <a:pt x="179" y="112"/>
                  </a:lnTo>
                  <a:lnTo>
                    <a:pt x="181" y="101"/>
                  </a:lnTo>
                  <a:lnTo>
                    <a:pt x="181" y="90"/>
                  </a:lnTo>
                  <a:lnTo>
                    <a:pt x="180" y="79"/>
                  </a:lnTo>
                  <a:lnTo>
                    <a:pt x="177" y="67"/>
                  </a:lnTo>
                  <a:lnTo>
                    <a:pt x="174" y="56"/>
                  </a:lnTo>
                  <a:lnTo>
                    <a:pt x="169" y="47"/>
                  </a:lnTo>
                  <a:lnTo>
                    <a:pt x="162" y="36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44" y="17"/>
                  </a:lnTo>
                  <a:lnTo>
                    <a:pt x="132" y="11"/>
                  </a:lnTo>
                  <a:lnTo>
                    <a:pt x="119" y="6"/>
                  </a:lnTo>
                  <a:lnTo>
                    <a:pt x="106" y="2"/>
                  </a:lnTo>
                  <a:lnTo>
                    <a:pt x="93" y="0"/>
                  </a:lnTo>
                  <a:lnTo>
                    <a:pt x="79" y="1"/>
                  </a:lnTo>
                  <a:lnTo>
                    <a:pt x="66" y="3"/>
                  </a:lnTo>
                  <a:lnTo>
                    <a:pt x="53" y="8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6" y="62"/>
                  </a:lnTo>
                  <a:lnTo>
                    <a:pt x="110" y="67"/>
                  </a:lnTo>
                  <a:lnTo>
                    <a:pt x="111" y="73"/>
                  </a:lnTo>
                  <a:lnTo>
                    <a:pt x="112" y="80"/>
                  </a:lnTo>
                  <a:lnTo>
                    <a:pt x="111" y="85"/>
                  </a:lnTo>
                  <a:lnTo>
                    <a:pt x="110" y="92"/>
                  </a:lnTo>
                  <a:lnTo>
                    <a:pt x="106" y="97"/>
                  </a:lnTo>
                  <a:lnTo>
                    <a:pt x="102" y="103"/>
                  </a:lnTo>
                  <a:lnTo>
                    <a:pt x="102" y="103"/>
                  </a:lnTo>
                  <a:lnTo>
                    <a:pt x="97" y="107"/>
                  </a:lnTo>
                  <a:lnTo>
                    <a:pt x="91" y="110"/>
                  </a:lnTo>
                  <a:lnTo>
                    <a:pt x="85" y="112"/>
                  </a:lnTo>
                  <a:lnTo>
                    <a:pt x="78" y="112"/>
                  </a:lnTo>
                  <a:lnTo>
                    <a:pt x="72" y="112"/>
                  </a:lnTo>
                  <a:lnTo>
                    <a:pt x="66" y="110"/>
                  </a:lnTo>
                  <a:lnTo>
                    <a:pt x="60" y="107"/>
                  </a:lnTo>
                  <a:lnTo>
                    <a:pt x="56" y="103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3" y="67"/>
                  </a:lnTo>
                  <a:lnTo>
                    <a:pt x="1" y="81"/>
                  </a:lnTo>
                  <a:lnTo>
                    <a:pt x="0" y="94"/>
                  </a:lnTo>
                  <a:lnTo>
                    <a:pt x="1" y="107"/>
                  </a:lnTo>
                  <a:lnTo>
                    <a:pt x="4" y="120"/>
                  </a:lnTo>
                  <a:lnTo>
                    <a:pt x="9" y="133"/>
                  </a:lnTo>
                  <a:lnTo>
                    <a:pt x="17" y="14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35" y="163"/>
                  </a:lnTo>
                  <a:lnTo>
                    <a:pt x="45" y="169"/>
                  </a:lnTo>
                  <a:lnTo>
                    <a:pt x="56" y="175"/>
                  </a:lnTo>
                  <a:lnTo>
                    <a:pt x="66" y="179"/>
                  </a:lnTo>
                  <a:lnTo>
                    <a:pt x="77" y="181"/>
                  </a:lnTo>
                  <a:lnTo>
                    <a:pt x="89" y="182"/>
                  </a:lnTo>
                  <a:lnTo>
                    <a:pt x="101" y="181"/>
                  </a:lnTo>
                  <a:lnTo>
                    <a:pt x="112" y="179"/>
                  </a:lnTo>
                  <a:lnTo>
                    <a:pt x="282" y="349"/>
                  </a:lnTo>
                  <a:lnTo>
                    <a:pt x="282" y="349"/>
                  </a:lnTo>
                  <a:lnTo>
                    <a:pt x="289" y="355"/>
                  </a:lnTo>
                  <a:lnTo>
                    <a:pt x="297" y="359"/>
                  </a:lnTo>
                  <a:lnTo>
                    <a:pt x="306" y="362"/>
                  </a:lnTo>
                  <a:lnTo>
                    <a:pt x="314" y="362"/>
                  </a:lnTo>
                  <a:lnTo>
                    <a:pt x="314" y="362"/>
                  </a:lnTo>
                  <a:lnTo>
                    <a:pt x="324" y="362"/>
                  </a:lnTo>
                  <a:lnTo>
                    <a:pt x="333" y="359"/>
                  </a:lnTo>
                  <a:lnTo>
                    <a:pt x="340" y="355"/>
                  </a:lnTo>
                  <a:lnTo>
                    <a:pt x="348" y="349"/>
                  </a:lnTo>
                  <a:lnTo>
                    <a:pt x="348" y="349"/>
                  </a:lnTo>
                  <a:lnTo>
                    <a:pt x="354" y="342"/>
                  </a:lnTo>
                  <a:lnTo>
                    <a:pt x="359" y="333"/>
                  </a:lnTo>
                  <a:lnTo>
                    <a:pt x="361" y="325"/>
                  </a:lnTo>
                  <a:lnTo>
                    <a:pt x="362" y="316"/>
                  </a:lnTo>
                  <a:lnTo>
                    <a:pt x="361" y="306"/>
                  </a:lnTo>
                  <a:lnTo>
                    <a:pt x="359" y="298"/>
                  </a:lnTo>
                  <a:lnTo>
                    <a:pt x="354" y="290"/>
                  </a:lnTo>
                  <a:lnTo>
                    <a:pt x="348" y="283"/>
                  </a:lnTo>
                  <a:lnTo>
                    <a:pt x="348" y="283"/>
                  </a:lnTo>
                  <a:close/>
                  <a:moveTo>
                    <a:pt x="329" y="330"/>
                  </a:moveTo>
                  <a:lnTo>
                    <a:pt x="329" y="330"/>
                  </a:lnTo>
                  <a:lnTo>
                    <a:pt x="326" y="333"/>
                  </a:lnTo>
                  <a:lnTo>
                    <a:pt x="323" y="334"/>
                  </a:lnTo>
                  <a:lnTo>
                    <a:pt x="319" y="336"/>
                  </a:lnTo>
                  <a:lnTo>
                    <a:pt x="314" y="336"/>
                  </a:lnTo>
                  <a:lnTo>
                    <a:pt x="311" y="336"/>
                  </a:lnTo>
                  <a:lnTo>
                    <a:pt x="307" y="334"/>
                  </a:lnTo>
                  <a:lnTo>
                    <a:pt x="304" y="333"/>
                  </a:lnTo>
                  <a:lnTo>
                    <a:pt x="300" y="330"/>
                  </a:lnTo>
                  <a:lnTo>
                    <a:pt x="300" y="330"/>
                  </a:lnTo>
                  <a:lnTo>
                    <a:pt x="297" y="327"/>
                  </a:lnTo>
                  <a:lnTo>
                    <a:pt x="296" y="324"/>
                  </a:lnTo>
                  <a:lnTo>
                    <a:pt x="295" y="319"/>
                  </a:lnTo>
                  <a:lnTo>
                    <a:pt x="294" y="316"/>
                  </a:lnTo>
                  <a:lnTo>
                    <a:pt x="295" y="312"/>
                  </a:lnTo>
                  <a:lnTo>
                    <a:pt x="296" y="308"/>
                  </a:lnTo>
                  <a:lnTo>
                    <a:pt x="297" y="304"/>
                  </a:lnTo>
                  <a:lnTo>
                    <a:pt x="300" y="301"/>
                  </a:lnTo>
                  <a:lnTo>
                    <a:pt x="300" y="301"/>
                  </a:lnTo>
                  <a:lnTo>
                    <a:pt x="304" y="299"/>
                  </a:lnTo>
                  <a:lnTo>
                    <a:pt x="307" y="297"/>
                  </a:lnTo>
                  <a:lnTo>
                    <a:pt x="311" y="296"/>
                  </a:lnTo>
                  <a:lnTo>
                    <a:pt x="314" y="296"/>
                  </a:lnTo>
                  <a:lnTo>
                    <a:pt x="319" y="296"/>
                  </a:lnTo>
                  <a:lnTo>
                    <a:pt x="323" y="297"/>
                  </a:lnTo>
                  <a:lnTo>
                    <a:pt x="326" y="299"/>
                  </a:lnTo>
                  <a:lnTo>
                    <a:pt x="329" y="301"/>
                  </a:lnTo>
                  <a:lnTo>
                    <a:pt x="329" y="301"/>
                  </a:lnTo>
                  <a:lnTo>
                    <a:pt x="332" y="304"/>
                  </a:lnTo>
                  <a:lnTo>
                    <a:pt x="334" y="308"/>
                  </a:lnTo>
                  <a:lnTo>
                    <a:pt x="335" y="312"/>
                  </a:lnTo>
                  <a:lnTo>
                    <a:pt x="336" y="316"/>
                  </a:lnTo>
                  <a:lnTo>
                    <a:pt x="335" y="319"/>
                  </a:lnTo>
                  <a:lnTo>
                    <a:pt x="334" y="324"/>
                  </a:lnTo>
                  <a:lnTo>
                    <a:pt x="332" y="327"/>
                  </a:lnTo>
                  <a:lnTo>
                    <a:pt x="329" y="330"/>
                  </a:lnTo>
                  <a:lnTo>
                    <a:pt x="329" y="3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3488800" y="2857650"/>
            <a:ext cx="589993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573474">
              <a:spcAft>
                <a:spcPts val="2000"/>
              </a:spcAft>
              <a:buSzPct val="50000"/>
              <a:buFont typeface="Arial" panose="020B0604020202020204" pitchFamily="34" charset="0"/>
              <a:buChar char="•"/>
            </a:pPr>
            <a:r>
              <a:rPr lang="en-GB" sz="2000" dirty="0">
                <a:latin typeface="HP Simplified" pitchFamily="34" charset="0"/>
                <a:cs typeface="HP Simplified" pitchFamily="34" charset="0"/>
              </a:rPr>
              <a:t>Perform secure reboot to restore to trusted </a:t>
            </a:r>
            <a:r>
              <a:rPr lang="en-GB" sz="2000" dirty="0" smtClean="0">
                <a:latin typeface="HP Simplified" pitchFamily="34" charset="0"/>
                <a:cs typeface="HP Simplified" pitchFamily="34" charset="0"/>
              </a:rPr>
              <a:t>state</a:t>
            </a:r>
          </a:p>
          <a:p>
            <a:pPr marL="171450" indent="-171450" defTabSz="573474">
              <a:spcAft>
                <a:spcPts val="2000"/>
              </a:spcAft>
              <a:buSzPct val="50000"/>
              <a:buFont typeface="Arial" panose="020B0604020202020204" pitchFamily="34" charset="0"/>
              <a:buChar char="•"/>
            </a:pPr>
            <a:r>
              <a:rPr lang="en-GB" sz="2000" dirty="0" smtClean="0">
                <a:latin typeface="HP Simplified" pitchFamily="34" charset="0"/>
                <a:cs typeface="HP Simplified" pitchFamily="34" charset="0"/>
              </a:rPr>
              <a:t>Freeze </a:t>
            </a:r>
            <a:r>
              <a:rPr lang="en-GB" sz="2000" dirty="0">
                <a:latin typeface="HP Simplified" pitchFamily="34" charset="0"/>
                <a:cs typeface="HP Simplified" pitchFamily="34" charset="0"/>
              </a:rPr>
              <a:t>m</a:t>
            </a:r>
            <a:r>
              <a:rPr lang="en-GB" sz="2000" dirty="0" smtClean="0">
                <a:latin typeface="HP Simplified" pitchFamily="34" charset="0"/>
                <a:cs typeface="HP Simplified" pitchFamily="34" charset="0"/>
              </a:rPr>
              <a:t>achine </a:t>
            </a:r>
            <a:r>
              <a:rPr lang="en-GB" sz="2000" dirty="0">
                <a:latin typeface="HP Simplified" pitchFamily="34" charset="0"/>
                <a:cs typeface="HP Simplified" pitchFamily="34" charset="0"/>
              </a:rPr>
              <a:t>core and send for forensic analysis</a:t>
            </a:r>
          </a:p>
          <a:p>
            <a:pPr marL="171450" indent="-171450" defTabSz="573474">
              <a:spcAft>
                <a:spcPts val="2000"/>
              </a:spcAft>
              <a:buSzPct val="50000"/>
              <a:buFont typeface="Arial" panose="020B0604020202020204" pitchFamily="34" charset="0"/>
              <a:buChar char="•"/>
            </a:pPr>
            <a:r>
              <a:rPr lang="en-GB" sz="2000" dirty="0" smtClean="0">
                <a:latin typeface="HP Simplified" pitchFamily="34" charset="0"/>
                <a:cs typeface="HP Simplified" pitchFamily="34" charset="0"/>
              </a:rPr>
              <a:t>Migrate workload </a:t>
            </a:r>
            <a:r>
              <a:rPr lang="en-GB" sz="2000" dirty="0">
                <a:latin typeface="HP Simplified" pitchFamily="34" charset="0"/>
                <a:cs typeface="HP Simplified" pitchFamily="34" charset="0"/>
              </a:rPr>
              <a:t>to new </a:t>
            </a:r>
            <a:r>
              <a:rPr lang="en-GB" sz="2000" dirty="0" smtClean="0">
                <a:latin typeface="HP Simplified" pitchFamily="34" charset="0"/>
                <a:cs typeface="HP Simplified" pitchFamily="34" charset="0"/>
              </a:rPr>
              <a:t>core</a:t>
            </a:r>
            <a:endParaRPr lang="en-GB" sz="2000" dirty="0">
              <a:latin typeface="HP Simplified" pitchFamily="34" charset="0"/>
              <a:cs typeface="HP Simplified" pitchFamily="34" charset="0"/>
            </a:endParaRPr>
          </a:p>
          <a:p>
            <a:pPr marL="171450" indent="-171450" defTabSz="573474">
              <a:spcAft>
                <a:spcPts val="2000"/>
              </a:spcAft>
              <a:buSzPct val="50000"/>
              <a:buFont typeface="Arial" panose="020B0604020202020204" pitchFamily="34" charset="0"/>
              <a:buChar char="•"/>
            </a:pPr>
            <a:r>
              <a:rPr lang="en-GB" sz="2000" dirty="0">
                <a:latin typeface="HP Simplified" pitchFamily="34" charset="0"/>
                <a:cs typeface="HP Simplified" pitchFamily="34" charset="0"/>
              </a:rPr>
              <a:t>Turn on advanced monitoring</a:t>
            </a:r>
          </a:p>
        </p:txBody>
      </p:sp>
      <p:sp>
        <p:nvSpPr>
          <p:cNvPr id="18" name="Freeform 454"/>
          <p:cNvSpPr>
            <a:spLocks/>
          </p:cNvSpPr>
          <p:nvPr/>
        </p:nvSpPr>
        <p:spPr bwMode="auto">
          <a:xfrm>
            <a:off x="3521062" y="2926644"/>
            <a:ext cx="138113" cy="242888"/>
          </a:xfrm>
          <a:custGeom>
            <a:avLst/>
            <a:gdLst>
              <a:gd name="T0" fmla="*/ 29 w 174"/>
              <a:gd name="T1" fmla="*/ 5 h 305"/>
              <a:gd name="T2" fmla="*/ 3 w 174"/>
              <a:gd name="T3" fmla="*/ 31 h 305"/>
              <a:gd name="T4" fmla="*/ 3 w 174"/>
              <a:gd name="T5" fmla="*/ 31 h 305"/>
              <a:gd name="T6" fmla="*/ 1 w 174"/>
              <a:gd name="T7" fmla="*/ 35 h 305"/>
              <a:gd name="T8" fmla="*/ 0 w 174"/>
              <a:gd name="T9" fmla="*/ 39 h 305"/>
              <a:gd name="T10" fmla="*/ 1 w 174"/>
              <a:gd name="T11" fmla="*/ 44 h 305"/>
              <a:gd name="T12" fmla="*/ 3 w 174"/>
              <a:gd name="T13" fmla="*/ 48 h 305"/>
              <a:gd name="T14" fmla="*/ 97 w 174"/>
              <a:gd name="T15" fmla="*/ 154 h 305"/>
              <a:gd name="T16" fmla="*/ 5 w 174"/>
              <a:gd name="T17" fmla="*/ 258 h 305"/>
              <a:gd name="T18" fmla="*/ 5 w 174"/>
              <a:gd name="T19" fmla="*/ 258 h 305"/>
              <a:gd name="T20" fmla="*/ 3 w 174"/>
              <a:gd name="T21" fmla="*/ 262 h 305"/>
              <a:gd name="T22" fmla="*/ 2 w 174"/>
              <a:gd name="T23" fmla="*/ 266 h 305"/>
              <a:gd name="T24" fmla="*/ 3 w 174"/>
              <a:gd name="T25" fmla="*/ 271 h 305"/>
              <a:gd name="T26" fmla="*/ 5 w 174"/>
              <a:gd name="T27" fmla="*/ 275 h 305"/>
              <a:gd name="T28" fmla="*/ 31 w 174"/>
              <a:gd name="T29" fmla="*/ 301 h 305"/>
              <a:gd name="T30" fmla="*/ 31 w 174"/>
              <a:gd name="T31" fmla="*/ 301 h 305"/>
              <a:gd name="T32" fmla="*/ 34 w 174"/>
              <a:gd name="T33" fmla="*/ 304 h 305"/>
              <a:gd name="T34" fmla="*/ 40 w 174"/>
              <a:gd name="T35" fmla="*/ 305 h 305"/>
              <a:gd name="T36" fmla="*/ 44 w 174"/>
              <a:gd name="T37" fmla="*/ 304 h 305"/>
              <a:gd name="T38" fmla="*/ 47 w 174"/>
              <a:gd name="T39" fmla="*/ 301 h 305"/>
              <a:gd name="T40" fmla="*/ 171 w 174"/>
              <a:gd name="T41" fmla="*/ 163 h 305"/>
              <a:gd name="T42" fmla="*/ 171 w 174"/>
              <a:gd name="T43" fmla="*/ 163 h 305"/>
              <a:gd name="T44" fmla="*/ 173 w 174"/>
              <a:gd name="T45" fmla="*/ 158 h 305"/>
              <a:gd name="T46" fmla="*/ 174 w 174"/>
              <a:gd name="T47" fmla="*/ 154 h 305"/>
              <a:gd name="T48" fmla="*/ 173 w 174"/>
              <a:gd name="T49" fmla="*/ 150 h 305"/>
              <a:gd name="T50" fmla="*/ 171 w 174"/>
              <a:gd name="T51" fmla="*/ 145 h 305"/>
              <a:gd name="T52" fmla="*/ 169 w 174"/>
              <a:gd name="T53" fmla="*/ 143 h 305"/>
              <a:gd name="T54" fmla="*/ 46 w 174"/>
              <a:gd name="T55" fmla="*/ 5 h 305"/>
              <a:gd name="T56" fmla="*/ 46 w 174"/>
              <a:gd name="T57" fmla="*/ 5 h 305"/>
              <a:gd name="T58" fmla="*/ 42 w 174"/>
              <a:gd name="T59" fmla="*/ 2 h 305"/>
              <a:gd name="T60" fmla="*/ 37 w 174"/>
              <a:gd name="T61" fmla="*/ 0 h 305"/>
              <a:gd name="T62" fmla="*/ 32 w 174"/>
              <a:gd name="T63" fmla="*/ 2 h 305"/>
              <a:gd name="T64" fmla="*/ 29 w 174"/>
              <a:gd name="T65" fmla="*/ 5 h 305"/>
              <a:gd name="T66" fmla="*/ 29 w 174"/>
              <a:gd name="T67" fmla="*/ 5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4" h="305">
                <a:moveTo>
                  <a:pt x="29" y="5"/>
                </a:moveTo>
                <a:lnTo>
                  <a:pt x="3" y="31"/>
                </a:lnTo>
                <a:lnTo>
                  <a:pt x="3" y="31"/>
                </a:lnTo>
                <a:lnTo>
                  <a:pt x="1" y="35"/>
                </a:lnTo>
                <a:lnTo>
                  <a:pt x="0" y="39"/>
                </a:lnTo>
                <a:lnTo>
                  <a:pt x="1" y="44"/>
                </a:lnTo>
                <a:lnTo>
                  <a:pt x="3" y="48"/>
                </a:lnTo>
                <a:lnTo>
                  <a:pt x="97" y="154"/>
                </a:lnTo>
                <a:lnTo>
                  <a:pt x="5" y="258"/>
                </a:lnTo>
                <a:lnTo>
                  <a:pt x="5" y="258"/>
                </a:lnTo>
                <a:lnTo>
                  <a:pt x="3" y="262"/>
                </a:lnTo>
                <a:lnTo>
                  <a:pt x="2" y="266"/>
                </a:lnTo>
                <a:lnTo>
                  <a:pt x="3" y="271"/>
                </a:lnTo>
                <a:lnTo>
                  <a:pt x="5" y="275"/>
                </a:lnTo>
                <a:lnTo>
                  <a:pt x="31" y="301"/>
                </a:lnTo>
                <a:lnTo>
                  <a:pt x="31" y="301"/>
                </a:lnTo>
                <a:lnTo>
                  <a:pt x="34" y="304"/>
                </a:lnTo>
                <a:lnTo>
                  <a:pt x="40" y="305"/>
                </a:lnTo>
                <a:lnTo>
                  <a:pt x="44" y="304"/>
                </a:lnTo>
                <a:lnTo>
                  <a:pt x="47" y="301"/>
                </a:lnTo>
                <a:lnTo>
                  <a:pt x="171" y="163"/>
                </a:lnTo>
                <a:lnTo>
                  <a:pt x="171" y="163"/>
                </a:lnTo>
                <a:lnTo>
                  <a:pt x="173" y="158"/>
                </a:lnTo>
                <a:lnTo>
                  <a:pt x="174" y="154"/>
                </a:lnTo>
                <a:lnTo>
                  <a:pt x="173" y="150"/>
                </a:lnTo>
                <a:lnTo>
                  <a:pt x="171" y="145"/>
                </a:lnTo>
                <a:lnTo>
                  <a:pt x="169" y="143"/>
                </a:lnTo>
                <a:lnTo>
                  <a:pt x="46" y="5"/>
                </a:lnTo>
                <a:lnTo>
                  <a:pt x="46" y="5"/>
                </a:lnTo>
                <a:lnTo>
                  <a:pt x="42" y="2"/>
                </a:lnTo>
                <a:lnTo>
                  <a:pt x="37" y="0"/>
                </a:lnTo>
                <a:lnTo>
                  <a:pt x="32" y="2"/>
                </a:lnTo>
                <a:lnTo>
                  <a:pt x="29" y="5"/>
                </a:lnTo>
                <a:lnTo>
                  <a:pt x="29" y="5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454"/>
          <p:cNvSpPr>
            <a:spLocks/>
          </p:cNvSpPr>
          <p:nvPr/>
        </p:nvSpPr>
        <p:spPr bwMode="auto">
          <a:xfrm>
            <a:off x="3521062" y="3487083"/>
            <a:ext cx="138113" cy="242888"/>
          </a:xfrm>
          <a:custGeom>
            <a:avLst/>
            <a:gdLst>
              <a:gd name="T0" fmla="*/ 29 w 174"/>
              <a:gd name="T1" fmla="*/ 5 h 305"/>
              <a:gd name="T2" fmla="*/ 3 w 174"/>
              <a:gd name="T3" fmla="*/ 31 h 305"/>
              <a:gd name="T4" fmla="*/ 3 w 174"/>
              <a:gd name="T5" fmla="*/ 31 h 305"/>
              <a:gd name="T6" fmla="*/ 1 w 174"/>
              <a:gd name="T7" fmla="*/ 35 h 305"/>
              <a:gd name="T8" fmla="*/ 0 w 174"/>
              <a:gd name="T9" fmla="*/ 39 h 305"/>
              <a:gd name="T10" fmla="*/ 1 w 174"/>
              <a:gd name="T11" fmla="*/ 44 h 305"/>
              <a:gd name="T12" fmla="*/ 3 w 174"/>
              <a:gd name="T13" fmla="*/ 48 h 305"/>
              <a:gd name="T14" fmla="*/ 97 w 174"/>
              <a:gd name="T15" fmla="*/ 154 h 305"/>
              <a:gd name="T16" fmla="*/ 5 w 174"/>
              <a:gd name="T17" fmla="*/ 258 h 305"/>
              <a:gd name="T18" fmla="*/ 5 w 174"/>
              <a:gd name="T19" fmla="*/ 258 h 305"/>
              <a:gd name="T20" fmla="*/ 3 w 174"/>
              <a:gd name="T21" fmla="*/ 262 h 305"/>
              <a:gd name="T22" fmla="*/ 2 w 174"/>
              <a:gd name="T23" fmla="*/ 266 h 305"/>
              <a:gd name="T24" fmla="*/ 3 w 174"/>
              <a:gd name="T25" fmla="*/ 271 h 305"/>
              <a:gd name="T26" fmla="*/ 5 w 174"/>
              <a:gd name="T27" fmla="*/ 275 h 305"/>
              <a:gd name="T28" fmla="*/ 31 w 174"/>
              <a:gd name="T29" fmla="*/ 301 h 305"/>
              <a:gd name="T30" fmla="*/ 31 w 174"/>
              <a:gd name="T31" fmla="*/ 301 h 305"/>
              <a:gd name="T32" fmla="*/ 34 w 174"/>
              <a:gd name="T33" fmla="*/ 304 h 305"/>
              <a:gd name="T34" fmla="*/ 40 w 174"/>
              <a:gd name="T35" fmla="*/ 305 h 305"/>
              <a:gd name="T36" fmla="*/ 44 w 174"/>
              <a:gd name="T37" fmla="*/ 304 h 305"/>
              <a:gd name="T38" fmla="*/ 47 w 174"/>
              <a:gd name="T39" fmla="*/ 301 h 305"/>
              <a:gd name="T40" fmla="*/ 171 w 174"/>
              <a:gd name="T41" fmla="*/ 163 h 305"/>
              <a:gd name="T42" fmla="*/ 171 w 174"/>
              <a:gd name="T43" fmla="*/ 163 h 305"/>
              <a:gd name="T44" fmla="*/ 173 w 174"/>
              <a:gd name="T45" fmla="*/ 158 h 305"/>
              <a:gd name="T46" fmla="*/ 174 w 174"/>
              <a:gd name="T47" fmla="*/ 154 h 305"/>
              <a:gd name="T48" fmla="*/ 173 w 174"/>
              <a:gd name="T49" fmla="*/ 150 h 305"/>
              <a:gd name="T50" fmla="*/ 171 w 174"/>
              <a:gd name="T51" fmla="*/ 145 h 305"/>
              <a:gd name="T52" fmla="*/ 169 w 174"/>
              <a:gd name="T53" fmla="*/ 143 h 305"/>
              <a:gd name="T54" fmla="*/ 46 w 174"/>
              <a:gd name="T55" fmla="*/ 5 h 305"/>
              <a:gd name="T56" fmla="*/ 46 w 174"/>
              <a:gd name="T57" fmla="*/ 5 h 305"/>
              <a:gd name="T58" fmla="*/ 42 w 174"/>
              <a:gd name="T59" fmla="*/ 2 h 305"/>
              <a:gd name="T60" fmla="*/ 37 w 174"/>
              <a:gd name="T61" fmla="*/ 0 h 305"/>
              <a:gd name="T62" fmla="*/ 32 w 174"/>
              <a:gd name="T63" fmla="*/ 2 h 305"/>
              <a:gd name="T64" fmla="*/ 29 w 174"/>
              <a:gd name="T65" fmla="*/ 5 h 305"/>
              <a:gd name="T66" fmla="*/ 29 w 174"/>
              <a:gd name="T67" fmla="*/ 5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4" h="305">
                <a:moveTo>
                  <a:pt x="29" y="5"/>
                </a:moveTo>
                <a:lnTo>
                  <a:pt x="3" y="31"/>
                </a:lnTo>
                <a:lnTo>
                  <a:pt x="3" y="31"/>
                </a:lnTo>
                <a:lnTo>
                  <a:pt x="1" y="35"/>
                </a:lnTo>
                <a:lnTo>
                  <a:pt x="0" y="39"/>
                </a:lnTo>
                <a:lnTo>
                  <a:pt x="1" y="44"/>
                </a:lnTo>
                <a:lnTo>
                  <a:pt x="3" y="48"/>
                </a:lnTo>
                <a:lnTo>
                  <a:pt x="97" y="154"/>
                </a:lnTo>
                <a:lnTo>
                  <a:pt x="5" y="258"/>
                </a:lnTo>
                <a:lnTo>
                  <a:pt x="5" y="258"/>
                </a:lnTo>
                <a:lnTo>
                  <a:pt x="3" y="262"/>
                </a:lnTo>
                <a:lnTo>
                  <a:pt x="2" y="266"/>
                </a:lnTo>
                <a:lnTo>
                  <a:pt x="3" y="271"/>
                </a:lnTo>
                <a:lnTo>
                  <a:pt x="5" y="275"/>
                </a:lnTo>
                <a:lnTo>
                  <a:pt x="31" y="301"/>
                </a:lnTo>
                <a:lnTo>
                  <a:pt x="31" y="301"/>
                </a:lnTo>
                <a:lnTo>
                  <a:pt x="34" y="304"/>
                </a:lnTo>
                <a:lnTo>
                  <a:pt x="40" y="305"/>
                </a:lnTo>
                <a:lnTo>
                  <a:pt x="44" y="304"/>
                </a:lnTo>
                <a:lnTo>
                  <a:pt x="47" y="301"/>
                </a:lnTo>
                <a:lnTo>
                  <a:pt x="171" y="163"/>
                </a:lnTo>
                <a:lnTo>
                  <a:pt x="171" y="163"/>
                </a:lnTo>
                <a:lnTo>
                  <a:pt x="173" y="158"/>
                </a:lnTo>
                <a:lnTo>
                  <a:pt x="174" y="154"/>
                </a:lnTo>
                <a:lnTo>
                  <a:pt x="173" y="150"/>
                </a:lnTo>
                <a:lnTo>
                  <a:pt x="171" y="145"/>
                </a:lnTo>
                <a:lnTo>
                  <a:pt x="169" y="143"/>
                </a:lnTo>
                <a:lnTo>
                  <a:pt x="46" y="5"/>
                </a:lnTo>
                <a:lnTo>
                  <a:pt x="46" y="5"/>
                </a:lnTo>
                <a:lnTo>
                  <a:pt x="42" y="2"/>
                </a:lnTo>
                <a:lnTo>
                  <a:pt x="37" y="0"/>
                </a:lnTo>
                <a:lnTo>
                  <a:pt x="32" y="2"/>
                </a:lnTo>
                <a:lnTo>
                  <a:pt x="29" y="5"/>
                </a:lnTo>
                <a:lnTo>
                  <a:pt x="29" y="5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454"/>
          <p:cNvSpPr>
            <a:spLocks/>
          </p:cNvSpPr>
          <p:nvPr/>
        </p:nvSpPr>
        <p:spPr bwMode="auto">
          <a:xfrm>
            <a:off x="3521062" y="4047522"/>
            <a:ext cx="138113" cy="242888"/>
          </a:xfrm>
          <a:custGeom>
            <a:avLst/>
            <a:gdLst>
              <a:gd name="T0" fmla="*/ 29 w 174"/>
              <a:gd name="T1" fmla="*/ 5 h 305"/>
              <a:gd name="T2" fmla="*/ 3 w 174"/>
              <a:gd name="T3" fmla="*/ 31 h 305"/>
              <a:gd name="T4" fmla="*/ 3 w 174"/>
              <a:gd name="T5" fmla="*/ 31 h 305"/>
              <a:gd name="T6" fmla="*/ 1 w 174"/>
              <a:gd name="T7" fmla="*/ 35 h 305"/>
              <a:gd name="T8" fmla="*/ 0 w 174"/>
              <a:gd name="T9" fmla="*/ 39 h 305"/>
              <a:gd name="T10" fmla="*/ 1 w 174"/>
              <a:gd name="T11" fmla="*/ 44 h 305"/>
              <a:gd name="T12" fmla="*/ 3 w 174"/>
              <a:gd name="T13" fmla="*/ 48 h 305"/>
              <a:gd name="T14" fmla="*/ 97 w 174"/>
              <a:gd name="T15" fmla="*/ 154 h 305"/>
              <a:gd name="T16" fmla="*/ 5 w 174"/>
              <a:gd name="T17" fmla="*/ 258 h 305"/>
              <a:gd name="T18" fmla="*/ 5 w 174"/>
              <a:gd name="T19" fmla="*/ 258 h 305"/>
              <a:gd name="T20" fmla="*/ 3 w 174"/>
              <a:gd name="T21" fmla="*/ 262 h 305"/>
              <a:gd name="T22" fmla="*/ 2 w 174"/>
              <a:gd name="T23" fmla="*/ 266 h 305"/>
              <a:gd name="T24" fmla="*/ 3 w 174"/>
              <a:gd name="T25" fmla="*/ 271 h 305"/>
              <a:gd name="T26" fmla="*/ 5 w 174"/>
              <a:gd name="T27" fmla="*/ 275 h 305"/>
              <a:gd name="T28" fmla="*/ 31 w 174"/>
              <a:gd name="T29" fmla="*/ 301 h 305"/>
              <a:gd name="T30" fmla="*/ 31 w 174"/>
              <a:gd name="T31" fmla="*/ 301 h 305"/>
              <a:gd name="T32" fmla="*/ 34 w 174"/>
              <a:gd name="T33" fmla="*/ 304 h 305"/>
              <a:gd name="T34" fmla="*/ 40 w 174"/>
              <a:gd name="T35" fmla="*/ 305 h 305"/>
              <a:gd name="T36" fmla="*/ 44 w 174"/>
              <a:gd name="T37" fmla="*/ 304 h 305"/>
              <a:gd name="T38" fmla="*/ 47 w 174"/>
              <a:gd name="T39" fmla="*/ 301 h 305"/>
              <a:gd name="T40" fmla="*/ 171 w 174"/>
              <a:gd name="T41" fmla="*/ 163 h 305"/>
              <a:gd name="T42" fmla="*/ 171 w 174"/>
              <a:gd name="T43" fmla="*/ 163 h 305"/>
              <a:gd name="T44" fmla="*/ 173 w 174"/>
              <a:gd name="T45" fmla="*/ 158 h 305"/>
              <a:gd name="T46" fmla="*/ 174 w 174"/>
              <a:gd name="T47" fmla="*/ 154 h 305"/>
              <a:gd name="T48" fmla="*/ 173 w 174"/>
              <a:gd name="T49" fmla="*/ 150 h 305"/>
              <a:gd name="T50" fmla="*/ 171 w 174"/>
              <a:gd name="T51" fmla="*/ 145 h 305"/>
              <a:gd name="T52" fmla="*/ 169 w 174"/>
              <a:gd name="T53" fmla="*/ 143 h 305"/>
              <a:gd name="T54" fmla="*/ 46 w 174"/>
              <a:gd name="T55" fmla="*/ 5 h 305"/>
              <a:gd name="T56" fmla="*/ 46 w 174"/>
              <a:gd name="T57" fmla="*/ 5 h 305"/>
              <a:gd name="T58" fmla="*/ 42 w 174"/>
              <a:gd name="T59" fmla="*/ 2 h 305"/>
              <a:gd name="T60" fmla="*/ 37 w 174"/>
              <a:gd name="T61" fmla="*/ 0 h 305"/>
              <a:gd name="T62" fmla="*/ 32 w 174"/>
              <a:gd name="T63" fmla="*/ 2 h 305"/>
              <a:gd name="T64" fmla="*/ 29 w 174"/>
              <a:gd name="T65" fmla="*/ 5 h 305"/>
              <a:gd name="T66" fmla="*/ 29 w 174"/>
              <a:gd name="T67" fmla="*/ 5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4" h="305">
                <a:moveTo>
                  <a:pt x="29" y="5"/>
                </a:moveTo>
                <a:lnTo>
                  <a:pt x="3" y="31"/>
                </a:lnTo>
                <a:lnTo>
                  <a:pt x="3" y="31"/>
                </a:lnTo>
                <a:lnTo>
                  <a:pt x="1" y="35"/>
                </a:lnTo>
                <a:lnTo>
                  <a:pt x="0" y="39"/>
                </a:lnTo>
                <a:lnTo>
                  <a:pt x="1" y="44"/>
                </a:lnTo>
                <a:lnTo>
                  <a:pt x="3" y="48"/>
                </a:lnTo>
                <a:lnTo>
                  <a:pt x="97" y="154"/>
                </a:lnTo>
                <a:lnTo>
                  <a:pt x="5" y="258"/>
                </a:lnTo>
                <a:lnTo>
                  <a:pt x="5" y="258"/>
                </a:lnTo>
                <a:lnTo>
                  <a:pt x="3" y="262"/>
                </a:lnTo>
                <a:lnTo>
                  <a:pt x="2" y="266"/>
                </a:lnTo>
                <a:lnTo>
                  <a:pt x="3" y="271"/>
                </a:lnTo>
                <a:lnTo>
                  <a:pt x="5" y="275"/>
                </a:lnTo>
                <a:lnTo>
                  <a:pt x="31" y="301"/>
                </a:lnTo>
                <a:lnTo>
                  <a:pt x="31" y="301"/>
                </a:lnTo>
                <a:lnTo>
                  <a:pt x="34" y="304"/>
                </a:lnTo>
                <a:lnTo>
                  <a:pt x="40" y="305"/>
                </a:lnTo>
                <a:lnTo>
                  <a:pt x="44" y="304"/>
                </a:lnTo>
                <a:lnTo>
                  <a:pt x="47" y="301"/>
                </a:lnTo>
                <a:lnTo>
                  <a:pt x="171" y="163"/>
                </a:lnTo>
                <a:lnTo>
                  <a:pt x="171" y="163"/>
                </a:lnTo>
                <a:lnTo>
                  <a:pt x="173" y="158"/>
                </a:lnTo>
                <a:lnTo>
                  <a:pt x="174" y="154"/>
                </a:lnTo>
                <a:lnTo>
                  <a:pt x="173" y="150"/>
                </a:lnTo>
                <a:lnTo>
                  <a:pt x="171" y="145"/>
                </a:lnTo>
                <a:lnTo>
                  <a:pt x="169" y="143"/>
                </a:lnTo>
                <a:lnTo>
                  <a:pt x="46" y="5"/>
                </a:lnTo>
                <a:lnTo>
                  <a:pt x="46" y="5"/>
                </a:lnTo>
                <a:lnTo>
                  <a:pt x="42" y="2"/>
                </a:lnTo>
                <a:lnTo>
                  <a:pt x="37" y="0"/>
                </a:lnTo>
                <a:lnTo>
                  <a:pt x="32" y="2"/>
                </a:lnTo>
                <a:lnTo>
                  <a:pt x="29" y="5"/>
                </a:lnTo>
                <a:lnTo>
                  <a:pt x="29" y="5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454"/>
          <p:cNvSpPr>
            <a:spLocks/>
          </p:cNvSpPr>
          <p:nvPr/>
        </p:nvSpPr>
        <p:spPr bwMode="auto">
          <a:xfrm>
            <a:off x="3521062" y="4607961"/>
            <a:ext cx="138113" cy="242888"/>
          </a:xfrm>
          <a:custGeom>
            <a:avLst/>
            <a:gdLst>
              <a:gd name="T0" fmla="*/ 29 w 174"/>
              <a:gd name="T1" fmla="*/ 5 h 305"/>
              <a:gd name="T2" fmla="*/ 3 w 174"/>
              <a:gd name="T3" fmla="*/ 31 h 305"/>
              <a:gd name="T4" fmla="*/ 3 w 174"/>
              <a:gd name="T5" fmla="*/ 31 h 305"/>
              <a:gd name="T6" fmla="*/ 1 w 174"/>
              <a:gd name="T7" fmla="*/ 35 h 305"/>
              <a:gd name="T8" fmla="*/ 0 w 174"/>
              <a:gd name="T9" fmla="*/ 39 h 305"/>
              <a:gd name="T10" fmla="*/ 1 w 174"/>
              <a:gd name="T11" fmla="*/ 44 h 305"/>
              <a:gd name="T12" fmla="*/ 3 w 174"/>
              <a:gd name="T13" fmla="*/ 48 h 305"/>
              <a:gd name="T14" fmla="*/ 97 w 174"/>
              <a:gd name="T15" fmla="*/ 154 h 305"/>
              <a:gd name="T16" fmla="*/ 5 w 174"/>
              <a:gd name="T17" fmla="*/ 258 h 305"/>
              <a:gd name="T18" fmla="*/ 5 w 174"/>
              <a:gd name="T19" fmla="*/ 258 h 305"/>
              <a:gd name="T20" fmla="*/ 3 w 174"/>
              <a:gd name="T21" fmla="*/ 262 h 305"/>
              <a:gd name="T22" fmla="*/ 2 w 174"/>
              <a:gd name="T23" fmla="*/ 266 h 305"/>
              <a:gd name="T24" fmla="*/ 3 w 174"/>
              <a:gd name="T25" fmla="*/ 271 h 305"/>
              <a:gd name="T26" fmla="*/ 5 w 174"/>
              <a:gd name="T27" fmla="*/ 275 h 305"/>
              <a:gd name="T28" fmla="*/ 31 w 174"/>
              <a:gd name="T29" fmla="*/ 301 h 305"/>
              <a:gd name="T30" fmla="*/ 31 w 174"/>
              <a:gd name="T31" fmla="*/ 301 h 305"/>
              <a:gd name="T32" fmla="*/ 34 w 174"/>
              <a:gd name="T33" fmla="*/ 304 h 305"/>
              <a:gd name="T34" fmla="*/ 40 w 174"/>
              <a:gd name="T35" fmla="*/ 305 h 305"/>
              <a:gd name="T36" fmla="*/ 44 w 174"/>
              <a:gd name="T37" fmla="*/ 304 h 305"/>
              <a:gd name="T38" fmla="*/ 47 w 174"/>
              <a:gd name="T39" fmla="*/ 301 h 305"/>
              <a:gd name="T40" fmla="*/ 171 w 174"/>
              <a:gd name="T41" fmla="*/ 163 h 305"/>
              <a:gd name="T42" fmla="*/ 171 w 174"/>
              <a:gd name="T43" fmla="*/ 163 h 305"/>
              <a:gd name="T44" fmla="*/ 173 w 174"/>
              <a:gd name="T45" fmla="*/ 158 h 305"/>
              <a:gd name="T46" fmla="*/ 174 w 174"/>
              <a:gd name="T47" fmla="*/ 154 h 305"/>
              <a:gd name="T48" fmla="*/ 173 w 174"/>
              <a:gd name="T49" fmla="*/ 150 h 305"/>
              <a:gd name="T50" fmla="*/ 171 w 174"/>
              <a:gd name="T51" fmla="*/ 145 h 305"/>
              <a:gd name="T52" fmla="*/ 169 w 174"/>
              <a:gd name="T53" fmla="*/ 143 h 305"/>
              <a:gd name="T54" fmla="*/ 46 w 174"/>
              <a:gd name="T55" fmla="*/ 5 h 305"/>
              <a:gd name="T56" fmla="*/ 46 w 174"/>
              <a:gd name="T57" fmla="*/ 5 h 305"/>
              <a:gd name="T58" fmla="*/ 42 w 174"/>
              <a:gd name="T59" fmla="*/ 2 h 305"/>
              <a:gd name="T60" fmla="*/ 37 w 174"/>
              <a:gd name="T61" fmla="*/ 0 h 305"/>
              <a:gd name="T62" fmla="*/ 32 w 174"/>
              <a:gd name="T63" fmla="*/ 2 h 305"/>
              <a:gd name="T64" fmla="*/ 29 w 174"/>
              <a:gd name="T65" fmla="*/ 5 h 305"/>
              <a:gd name="T66" fmla="*/ 29 w 174"/>
              <a:gd name="T67" fmla="*/ 5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4" h="305">
                <a:moveTo>
                  <a:pt x="29" y="5"/>
                </a:moveTo>
                <a:lnTo>
                  <a:pt x="3" y="31"/>
                </a:lnTo>
                <a:lnTo>
                  <a:pt x="3" y="31"/>
                </a:lnTo>
                <a:lnTo>
                  <a:pt x="1" y="35"/>
                </a:lnTo>
                <a:lnTo>
                  <a:pt x="0" y="39"/>
                </a:lnTo>
                <a:lnTo>
                  <a:pt x="1" y="44"/>
                </a:lnTo>
                <a:lnTo>
                  <a:pt x="3" y="48"/>
                </a:lnTo>
                <a:lnTo>
                  <a:pt x="97" y="154"/>
                </a:lnTo>
                <a:lnTo>
                  <a:pt x="5" y="258"/>
                </a:lnTo>
                <a:lnTo>
                  <a:pt x="5" y="258"/>
                </a:lnTo>
                <a:lnTo>
                  <a:pt x="3" y="262"/>
                </a:lnTo>
                <a:lnTo>
                  <a:pt x="2" y="266"/>
                </a:lnTo>
                <a:lnTo>
                  <a:pt x="3" y="271"/>
                </a:lnTo>
                <a:lnTo>
                  <a:pt x="5" y="275"/>
                </a:lnTo>
                <a:lnTo>
                  <a:pt x="31" y="301"/>
                </a:lnTo>
                <a:lnTo>
                  <a:pt x="31" y="301"/>
                </a:lnTo>
                <a:lnTo>
                  <a:pt x="34" y="304"/>
                </a:lnTo>
                <a:lnTo>
                  <a:pt x="40" y="305"/>
                </a:lnTo>
                <a:lnTo>
                  <a:pt x="44" y="304"/>
                </a:lnTo>
                <a:lnTo>
                  <a:pt x="47" y="301"/>
                </a:lnTo>
                <a:lnTo>
                  <a:pt x="171" y="163"/>
                </a:lnTo>
                <a:lnTo>
                  <a:pt x="171" y="163"/>
                </a:lnTo>
                <a:lnTo>
                  <a:pt x="173" y="158"/>
                </a:lnTo>
                <a:lnTo>
                  <a:pt x="174" y="154"/>
                </a:lnTo>
                <a:lnTo>
                  <a:pt x="173" y="150"/>
                </a:lnTo>
                <a:lnTo>
                  <a:pt x="171" y="145"/>
                </a:lnTo>
                <a:lnTo>
                  <a:pt x="169" y="143"/>
                </a:lnTo>
                <a:lnTo>
                  <a:pt x="46" y="5"/>
                </a:lnTo>
                <a:lnTo>
                  <a:pt x="46" y="5"/>
                </a:lnTo>
                <a:lnTo>
                  <a:pt x="42" y="2"/>
                </a:lnTo>
                <a:lnTo>
                  <a:pt x="37" y="0"/>
                </a:lnTo>
                <a:lnTo>
                  <a:pt x="32" y="2"/>
                </a:lnTo>
                <a:lnTo>
                  <a:pt x="29" y="5"/>
                </a:lnTo>
                <a:lnTo>
                  <a:pt x="29" y="5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ound Diagonal Corner Rectangle 8"/>
          <p:cNvSpPr/>
          <p:nvPr/>
        </p:nvSpPr>
        <p:spPr>
          <a:xfrm flipH="1">
            <a:off x="635151" y="2733676"/>
            <a:ext cx="2636982" cy="2340828"/>
          </a:xfrm>
          <a:prstGeom prst="round2DiagRect">
            <a:avLst>
              <a:gd name="adj1" fmla="val 10243"/>
              <a:gd name="adj2" fmla="val 0"/>
            </a:avLst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grpSp>
        <p:nvGrpSpPr>
          <p:cNvPr id="8" name="Group 7"/>
          <p:cNvGrpSpPr/>
          <p:nvPr/>
        </p:nvGrpSpPr>
        <p:grpSpPr>
          <a:xfrm>
            <a:off x="1170025" y="3210891"/>
            <a:ext cx="1567234" cy="1386399"/>
            <a:chOff x="6890921" y="3227678"/>
            <a:chExt cx="165100" cy="146050"/>
          </a:xfrm>
          <a:solidFill>
            <a:schemeClr val="bg1"/>
          </a:solidFill>
        </p:grpSpPr>
        <p:sp>
          <p:nvSpPr>
            <p:cNvPr id="22" name="Freeform 614"/>
            <p:cNvSpPr>
              <a:spLocks noEditPoints="1"/>
            </p:cNvSpPr>
            <p:nvPr/>
          </p:nvSpPr>
          <p:spPr bwMode="auto">
            <a:xfrm>
              <a:off x="6890921" y="3227678"/>
              <a:ext cx="165100" cy="146050"/>
            </a:xfrm>
            <a:custGeom>
              <a:avLst/>
              <a:gdLst>
                <a:gd name="T0" fmla="*/ 209 w 209"/>
                <a:gd name="T1" fmla="*/ 171 h 184"/>
                <a:gd name="T2" fmla="*/ 209 w 209"/>
                <a:gd name="T3" fmla="*/ 171 h 184"/>
                <a:gd name="T4" fmla="*/ 208 w 209"/>
                <a:gd name="T5" fmla="*/ 168 h 184"/>
                <a:gd name="T6" fmla="*/ 208 w 209"/>
                <a:gd name="T7" fmla="*/ 166 h 184"/>
                <a:gd name="T8" fmla="*/ 208 w 209"/>
                <a:gd name="T9" fmla="*/ 166 h 184"/>
                <a:gd name="T10" fmla="*/ 207 w 209"/>
                <a:gd name="T11" fmla="*/ 164 h 184"/>
                <a:gd name="T12" fmla="*/ 116 w 209"/>
                <a:gd name="T13" fmla="*/ 6 h 184"/>
                <a:gd name="T14" fmla="*/ 116 w 209"/>
                <a:gd name="T15" fmla="*/ 6 h 184"/>
                <a:gd name="T16" fmla="*/ 116 w 209"/>
                <a:gd name="T17" fmla="*/ 5 h 184"/>
                <a:gd name="T18" fmla="*/ 116 w 209"/>
                <a:gd name="T19" fmla="*/ 5 h 184"/>
                <a:gd name="T20" fmla="*/ 114 w 209"/>
                <a:gd name="T21" fmla="*/ 3 h 184"/>
                <a:gd name="T22" fmla="*/ 114 w 209"/>
                <a:gd name="T23" fmla="*/ 3 h 184"/>
                <a:gd name="T24" fmla="*/ 109 w 209"/>
                <a:gd name="T25" fmla="*/ 1 h 184"/>
                <a:gd name="T26" fmla="*/ 105 w 209"/>
                <a:gd name="T27" fmla="*/ 0 h 184"/>
                <a:gd name="T28" fmla="*/ 105 w 209"/>
                <a:gd name="T29" fmla="*/ 0 h 184"/>
                <a:gd name="T30" fmla="*/ 102 w 209"/>
                <a:gd name="T31" fmla="*/ 0 h 184"/>
                <a:gd name="T32" fmla="*/ 98 w 209"/>
                <a:gd name="T33" fmla="*/ 1 h 184"/>
                <a:gd name="T34" fmla="*/ 95 w 209"/>
                <a:gd name="T35" fmla="*/ 3 h 184"/>
                <a:gd name="T36" fmla="*/ 93 w 209"/>
                <a:gd name="T37" fmla="*/ 5 h 184"/>
                <a:gd name="T38" fmla="*/ 93 w 209"/>
                <a:gd name="T39" fmla="*/ 5 h 184"/>
                <a:gd name="T40" fmla="*/ 93 w 209"/>
                <a:gd name="T41" fmla="*/ 6 h 184"/>
                <a:gd name="T42" fmla="*/ 2 w 209"/>
                <a:gd name="T43" fmla="*/ 164 h 184"/>
                <a:gd name="T44" fmla="*/ 2 w 209"/>
                <a:gd name="T45" fmla="*/ 164 h 184"/>
                <a:gd name="T46" fmla="*/ 1 w 209"/>
                <a:gd name="T47" fmla="*/ 166 h 184"/>
                <a:gd name="T48" fmla="*/ 1 w 209"/>
                <a:gd name="T49" fmla="*/ 166 h 184"/>
                <a:gd name="T50" fmla="*/ 0 w 209"/>
                <a:gd name="T51" fmla="*/ 168 h 184"/>
                <a:gd name="T52" fmla="*/ 0 w 209"/>
                <a:gd name="T53" fmla="*/ 171 h 184"/>
                <a:gd name="T54" fmla="*/ 0 w 209"/>
                <a:gd name="T55" fmla="*/ 171 h 184"/>
                <a:gd name="T56" fmla="*/ 1 w 209"/>
                <a:gd name="T57" fmla="*/ 176 h 184"/>
                <a:gd name="T58" fmla="*/ 4 w 209"/>
                <a:gd name="T59" fmla="*/ 180 h 184"/>
                <a:gd name="T60" fmla="*/ 7 w 209"/>
                <a:gd name="T61" fmla="*/ 183 h 184"/>
                <a:gd name="T62" fmla="*/ 12 w 209"/>
                <a:gd name="T63" fmla="*/ 184 h 184"/>
                <a:gd name="T64" fmla="*/ 12 w 209"/>
                <a:gd name="T65" fmla="*/ 184 h 184"/>
                <a:gd name="T66" fmla="*/ 13 w 209"/>
                <a:gd name="T67" fmla="*/ 184 h 184"/>
                <a:gd name="T68" fmla="*/ 13 w 209"/>
                <a:gd name="T69" fmla="*/ 184 h 184"/>
                <a:gd name="T70" fmla="*/ 14 w 209"/>
                <a:gd name="T71" fmla="*/ 184 h 184"/>
                <a:gd name="T72" fmla="*/ 24 w 209"/>
                <a:gd name="T73" fmla="*/ 184 h 184"/>
                <a:gd name="T74" fmla="*/ 24 w 209"/>
                <a:gd name="T75" fmla="*/ 184 h 184"/>
                <a:gd name="T76" fmla="*/ 195 w 209"/>
                <a:gd name="T77" fmla="*/ 184 h 184"/>
                <a:gd name="T78" fmla="*/ 195 w 209"/>
                <a:gd name="T79" fmla="*/ 184 h 184"/>
                <a:gd name="T80" fmla="*/ 197 w 209"/>
                <a:gd name="T81" fmla="*/ 184 h 184"/>
                <a:gd name="T82" fmla="*/ 197 w 209"/>
                <a:gd name="T83" fmla="*/ 184 h 184"/>
                <a:gd name="T84" fmla="*/ 198 w 209"/>
                <a:gd name="T85" fmla="*/ 184 h 184"/>
                <a:gd name="T86" fmla="*/ 198 w 209"/>
                <a:gd name="T87" fmla="*/ 184 h 184"/>
                <a:gd name="T88" fmla="*/ 202 w 209"/>
                <a:gd name="T89" fmla="*/ 183 h 184"/>
                <a:gd name="T90" fmla="*/ 206 w 209"/>
                <a:gd name="T91" fmla="*/ 180 h 184"/>
                <a:gd name="T92" fmla="*/ 208 w 209"/>
                <a:gd name="T93" fmla="*/ 176 h 184"/>
                <a:gd name="T94" fmla="*/ 209 w 209"/>
                <a:gd name="T95" fmla="*/ 171 h 184"/>
                <a:gd name="T96" fmla="*/ 209 w 209"/>
                <a:gd name="T97" fmla="*/ 171 h 184"/>
                <a:gd name="T98" fmla="*/ 24 w 209"/>
                <a:gd name="T99" fmla="*/ 165 h 184"/>
                <a:gd name="T100" fmla="*/ 104 w 209"/>
                <a:gd name="T101" fmla="*/ 27 h 184"/>
                <a:gd name="T102" fmla="*/ 105 w 209"/>
                <a:gd name="T103" fmla="*/ 26 h 184"/>
                <a:gd name="T104" fmla="*/ 185 w 209"/>
                <a:gd name="T105" fmla="*/ 165 h 184"/>
                <a:gd name="T106" fmla="*/ 24 w 209"/>
                <a:gd name="T107" fmla="*/ 16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9" h="184">
                  <a:moveTo>
                    <a:pt x="209" y="171"/>
                  </a:moveTo>
                  <a:lnTo>
                    <a:pt x="209" y="171"/>
                  </a:lnTo>
                  <a:lnTo>
                    <a:pt x="208" y="168"/>
                  </a:lnTo>
                  <a:lnTo>
                    <a:pt x="208" y="166"/>
                  </a:lnTo>
                  <a:lnTo>
                    <a:pt x="208" y="166"/>
                  </a:lnTo>
                  <a:lnTo>
                    <a:pt x="207" y="164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09" y="1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2" y="0"/>
                  </a:lnTo>
                  <a:lnTo>
                    <a:pt x="98" y="1"/>
                  </a:lnTo>
                  <a:lnTo>
                    <a:pt x="95" y="3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3" y="6"/>
                  </a:lnTo>
                  <a:lnTo>
                    <a:pt x="2" y="164"/>
                  </a:lnTo>
                  <a:lnTo>
                    <a:pt x="2" y="164"/>
                  </a:lnTo>
                  <a:lnTo>
                    <a:pt x="1" y="166"/>
                  </a:lnTo>
                  <a:lnTo>
                    <a:pt x="1" y="166"/>
                  </a:lnTo>
                  <a:lnTo>
                    <a:pt x="0" y="168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1" y="176"/>
                  </a:lnTo>
                  <a:lnTo>
                    <a:pt x="4" y="180"/>
                  </a:lnTo>
                  <a:lnTo>
                    <a:pt x="7" y="183"/>
                  </a:lnTo>
                  <a:lnTo>
                    <a:pt x="12" y="184"/>
                  </a:lnTo>
                  <a:lnTo>
                    <a:pt x="12" y="184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4" y="184"/>
                  </a:lnTo>
                  <a:lnTo>
                    <a:pt x="24" y="184"/>
                  </a:lnTo>
                  <a:lnTo>
                    <a:pt x="24" y="184"/>
                  </a:lnTo>
                  <a:lnTo>
                    <a:pt x="195" y="184"/>
                  </a:lnTo>
                  <a:lnTo>
                    <a:pt x="195" y="184"/>
                  </a:lnTo>
                  <a:lnTo>
                    <a:pt x="197" y="184"/>
                  </a:lnTo>
                  <a:lnTo>
                    <a:pt x="197" y="184"/>
                  </a:lnTo>
                  <a:lnTo>
                    <a:pt x="198" y="184"/>
                  </a:lnTo>
                  <a:lnTo>
                    <a:pt x="198" y="184"/>
                  </a:lnTo>
                  <a:lnTo>
                    <a:pt x="202" y="183"/>
                  </a:lnTo>
                  <a:lnTo>
                    <a:pt x="206" y="180"/>
                  </a:lnTo>
                  <a:lnTo>
                    <a:pt x="208" y="176"/>
                  </a:lnTo>
                  <a:lnTo>
                    <a:pt x="209" y="171"/>
                  </a:lnTo>
                  <a:lnTo>
                    <a:pt x="209" y="171"/>
                  </a:lnTo>
                  <a:close/>
                  <a:moveTo>
                    <a:pt x="24" y="165"/>
                  </a:moveTo>
                  <a:lnTo>
                    <a:pt x="104" y="27"/>
                  </a:lnTo>
                  <a:lnTo>
                    <a:pt x="105" y="26"/>
                  </a:lnTo>
                  <a:lnTo>
                    <a:pt x="185" y="165"/>
                  </a:lnTo>
                  <a:lnTo>
                    <a:pt x="24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615"/>
            <p:cNvSpPr>
              <a:spLocks noEditPoints="1"/>
            </p:cNvSpPr>
            <p:nvPr/>
          </p:nvSpPr>
          <p:spPr bwMode="auto">
            <a:xfrm>
              <a:off x="6962359" y="3278478"/>
              <a:ext cx="20637" cy="73025"/>
            </a:xfrm>
            <a:custGeom>
              <a:avLst/>
              <a:gdLst>
                <a:gd name="T0" fmla="*/ 25 w 25"/>
                <a:gd name="T1" fmla="*/ 80 h 92"/>
                <a:gd name="T2" fmla="*/ 25 w 25"/>
                <a:gd name="T3" fmla="*/ 80 h 92"/>
                <a:gd name="T4" fmla="*/ 25 w 25"/>
                <a:gd name="T5" fmla="*/ 86 h 92"/>
                <a:gd name="T6" fmla="*/ 23 w 25"/>
                <a:gd name="T7" fmla="*/ 89 h 92"/>
                <a:gd name="T8" fmla="*/ 23 w 25"/>
                <a:gd name="T9" fmla="*/ 89 h 92"/>
                <a:gd name="T10" fmla="*/ 18 w 25"/>
                <a:gd name="T11" fmla="*/ 91 h 92"/>
                <a:gd name="T12" fmla="*/ 13 w 25"/>
                <a:gd name="T13" fmla="*/ 92 h 92"/>
                <a:gd name="T14" fmla="*/ 13 w 25"/>
                <a:gd name="T15" fmla="*/ 92 h 92"/>
                <a:gd name="T16" fmla="*/ 6 w 25"/>
                <a:gd name="T17" fmla="*/ 91 h 92"/>
                <a:gd name="T18" fmla="*/ 3 w 25"/>
                <a:gd name="T19" fmla="*/ 89 h 92"/>
                <a:gd name="T20" fmla="*/ 3 w 25"/>
                <a:gd name="T21" fmla="*/ 89 h 92"/>
                <a:gd name="T22" fmla="*/ 1 w 25"/>
                <a:gd name="T23" fmla="*/ 86 h 92"/>
                <a:gd name="T24" fmla="*/ 0 w 25"/>
                <a:gd name="T25" fmla="*/ 80 h 92"/>
                <a:gd name="T26" fmla="*/ 0 w 25"/>
                <a:gd name="T27" fmla="*/ 80 h 92"/>
                <a:gd name="T28" fmla="*/ 1 w 25"/>
                <a:gd name="T29" fmla="*/ 75 h 92"/>
                <a:gd name="T30" fmla="*/ 3 w 25"/>
                <a:gd name="T31" fmla="*/ 72 h 92"/>
                <a:gd name="T32" fmla="*/ 3 w 25"/>
                <a:gd name="T33" fmla="*/ 72 h 92"/>
                <a:gd name="T34" fmla="*/ 6 w 25"/>
                <a:gd name="T35" fmla="*/ 69 h 92"/>
                <a:gd name="T36" fmla="*/ 13 w 25"/>
                <a:gd name="T37" fmla="*/ 68 h 92"/>
                <a:gd name="T38" fmla="*/ 13 w 25"/>
                <a:gd name="T39" fmla="*/ 68 h 92"/>
                <a:gd name="T40" fmla="*/ 18 w 25"/>
                <a:gd name="T41" fmla="*/ 69 h 92"/>
                <a:gd name="T42" fmla="*/ 23 w 25"/>
                <a:gd name="T43" fmla="*/ 72 h 92"/>
                <a:gd name="T44" fmla="*/ 23 w 25"/>
                <a:gd name="T45" fmla="*/ 72 h 92"/>
                <a:gd name="T46" fmla="*/ 25 w 25"/>
                <a:gd name="T47" fmla="*/ 75 h 92"/>
                <a:gd name="T48" fmla="*/ 25 w 25"/>
                <a:gd name="T49" fmla="*/ 80 h 92"/>
                <a:gd name="T50" fmla="*/ 25 w 25"/>
                <a:gd name="T51" fmla="*/ 80 h 92"/>
                <a:gd name="T52" fmla="*/ 4 w 25"/>
                <a:gd name="T53" fmla="*/ 56 h 92"/>
                <a:gd name="T54" fmla="*/ 4 w 25"/>
                <a:gd name="T55" fmla="*/ 56 h 92"/>
                <a:gd name="T56" fmla="*/ 3 w 25"/>
                <a:gd name="T57" fmla="*/ 47 h 92"/>
                <a:gd name="T58" fmla="*/ 3 w 25"/>
                <a:gd name="T59" fmla="*/ 47 h 92"/>
                <a:gd name="T60" fmla="*/ 2 w 25"/>
                <a:gd name="T61" fmla="*/ 37 h 92"/>
                <a:gd name="T62" fmla="*/ 2 w 25"/>
                <a:gd name="T63" fmla="*/ 37 h 92"/>
                <a:gd name="T64" fmla="*/ 2 w 25"/>
                <a:gd name="T65" fmla="*/ 27 h 92"/>
                <a:gd name="T66" fmla="*/ 2 w 25"/>
                <a:gd name="T67" fmla="*/ 27 h 92"/>
                <a:gd name="T68" fmla="*/ 1 w 25"/>
                <a:gd name="T69" fmla="*/ 20 h 92"/>
                <a:gd name="T70" fmla="*/ 1 w 25"/>
                <a:gd name="T71" fmla="*/ 0 h 92"/>
                <a:gd name="T72" fmla="*/ 19 w 25"/>
                <a:gd name="T73" fmla="*/ 0 h 92"/>
                <a:gd name="T74" fmla="*/ 19 w 25"/>
                <a:gd name="T75" fmla="*/ 0 h 92"/>
                <a:gd name="T76" fmla="*/ 22 w 25"/>
                <a:gd name="T77" fmla="*/ 0 h 92"/>
                <a:gd name="T78" fmla="*/ 23 w 25"/>
                <a:gd name="T79" fmla="*/ 1 h 92"/>
                <a:gd name="T80" fmla="*/ 24 w 25"/>
                <a:gd name="T81" fmla="*/ 4 h 92"/>
                <a:gd name="T82" fmla="*/ 24 w 25"/>
                <a:gd name="T83" fmla="*/ 5 h 92"/>
                <a:gd name="T84" fmla="*/ 24 w 25"/>
                <a:gd name="T85" fmla="*/ 19 h 92"/>
                <a:gd name="T86" fmla="*/ 24 w 25"/>
                <a:gd name="T87" fmla="*/ 19 h 92"/>
                <a:gd name="T88" fmla="*/ 24 w 25"/>
                <a:gd name="T89" fmla="*/ 28 h 92"/>
                <a:gd name="T90" fmla="*/ 24 w 25"/>
                <a:gd name="T91" fmla="*/ 28 h 92"/>
                <a:gd name="T92" fmla="*/ 23 w 25"/>
                <a:gd name="T93" fmla="*/ 39 h 92"/>
                <a:gd name="T94" fmla="*/ 23 w 25"/>
                <a:gd name="T95" fmla="*/ 39 h 92"/>
                <a:gd name="T96" fmla="*/ 22 w 25"/>
                <a:gd name="T97" fmla="*/ 51 h 92"/>
                <a:gd name="T98" fmla="*/ 22 w 25"/>
                <a:gd name="T99" fmla="*/ 51 h 92"/>
                <a:gd name="T100" fmla="*/ 20 w 25"/>
                <a:gd name="T101" fmla="*/ 61 h 92"/>
                <a:gd name="T102" fmla="*/ 9 w 25"/>
                <a:gd name="T103" fmla="*/ 61 h 92"/>
                <a:gd name="T104" fmla="*/ 9 w 25"/>
                <a:gd name="T105" fmla="*/ 61 h 92"/>
                <a:gd name="T106" fmla="*/ 8 w 25"/>
                <a:gd name="T107" fmla="*/ 61 h 92"/>
                <a:gd name="T108" fmla="*/ 5 w 25"/>
                <a:gd name="T109" fmla="*/ 60 h 92"/>
                <a:gd name="T110" fmla="*/ 5 w 25"/>
                <a:gd name="T111" fmla="*/ 60 h 92"/>
                <a:gd name="T112" fmla="*/ 4 w 25"/>
                <a:gd name="T113" fmla="*/ 56 h 92"/>
                <a:gd name="T114" fmla="*/ 4 w 25"/>
                <a:gd name="T115" fmla="*/ 5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" h="92">
                  <a:moveTo>
                    <a:pt x="25" y="80"/>
                  </a:moveTo>
                  <a:lnTo>
                    <a:pt x="25" y="80"/>
                  </a:lnTo>
                  <a:lnTo>
                    <a:pt x="25" y="86"/>
                  </a:lnTo>
                  <a:lnTo>
                    <a:pt x="23" y="89"/>
                  </a:lnTo>
                  <a:lnTo>
                    <a:pt x="23" y="89"/>
                  </a:lnTo>
                  <a:lnTo>
                    <a:pt x="18" y="91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6" y="91"/>
                  </a:lnTo>
                  <a:lnTo>
                    <a:pt x="3" y="89"/>
                  </a:lnTo>
                  <a:lnTo>
                    <a:pt x="3" y="89"/>
                  </a:lnTo>
                  <a:lnTo>
                    <a:pt x="1" y="86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1" y="75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6" y="69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8" y="69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5" y="75"/>
                  </a:lnTo>
                  <a:lnTo>
                    <a:pt x="25" y="80"/>
                  </a:lnTo>
                  <a:lnTo>
                    <a:pt x="25" y="80"/>
                  </a:lnTo>
                  <a:close/>
                  <a:moveTo>
                    <a:pt x="4" y="56"/>
                  </a:moveTo>
                  <a:lnTo>
                    <a:pt x="4" y="56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1" y="20"/>
                  </a:lnTo>
                  <a:lnTo>
                    <a:pt x="1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2" y="0"/>
                  </a:lnTo>
                  <a:lnTo>
                    <a:pt x="23" y="1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0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8" y="61"/>
                  </a:lnTo>
                  <a:lnTo>
                    <a:pt x="5" y="60"/>
                  </a:lnTo>
                  <a:lnTo>
                    <a:pt x="5" y="60"/>
                  </a:lnTo>
                  <a:lnTo>
                    <a:pt x="4" y="56"/>
                  </a:lnTo>
                  <a:lnTo>
                    <a:pt x="4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08139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hi-IN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025596" y="2126215"/>
            <a:ext cx="10439400" cy="65906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An opportunity to design and implement security from the ground up</a:t>
            </a:r>
          </a:p>
          <a:p>
            <a:r>
              <a:rPr lang="en-US" dirty="0" smtClean="0"/>
              <a:t>Security is not an afterthought, but a conscious design decision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 rot="10800000">
            <a:off x="1007706" y="2981326"/>
            <a:ext cx="2394678" cy="2181224"/>
          </a:xfrm>
          <a:prstGeom prst="round1Rect">
            <a:avLst/>
          </a:prstGeom>
          <a:solidFill>
            <a:schemeClr val="accent1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endParaRPr lang="en-US" sz="2000" b="1" dirty="0" smtClean="0">
              <a:solidFill>
                <a:schemeClr val="bg1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 flipH="1">
            <a:off x="3514072" y="2981326"/>
            <a:ext cx="2526084" cy="2181224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2000" b="1" dirty="0" smtClean="0">
                <a:solidFill>
                  <a:schemeClr val="bg1"/>
                </a:solidFill>
              </a:rPr>
              <a:t>Resilient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 flipH="1">
            <a:off x="6151844" y="2981326"/>
            <a:ext cx="2526084" cy="2181224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2000" b="1" dirty="0" smtClean="0">
                <a:solidFill>
                  <a:schemeClr val="bg1"/>
                </a:solidFill>
              </a:rPr>
              <a:t>Scalable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8789616" y="2981326"/>
            <a:ext cx="2526084" cy="2181224"/>
          </a:xfrm>
          <a:prstGeom prst="round1Rect">
            <a:avLst/>
          </a:prstGeom>
          <a:solidFill>
            <a:schemeClr val="accent1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2000" b="1" dirty="0" smtClean="0">
                <a:solidFill>
                  <a:schemeClr val="bg1"/>
                </a:solidFill>
              </a:rPr>
              <a:t>Manageable</a:t>
            </a:r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622103" y="3254843"/>
            <a:ext cx="1034478" cy="1218385"/>
            <a:chOff x="811" y="1729"/>
            <a:chExt cx="180" cy="212"/>
          </a:xfrm>
          <a:solidFill>
            <a:schemeClr val="bg1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894" y="1791"/>
              <a:ext cx="10" cy="4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Rectangle 6"/>
            <p:cNvSpPr>
              <a:spLocks noChangeArrowheads="1"/>
            </p:cNvSpPr>
            <p:nvPr/>
          </p:nvSpPr>
          <p:spPr bwMode="auto">
            <a:xfrm>
              <a:off x="923" y="1848"/>
              <a:ext cx="29" cy="1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888" y="1841"/>
              <a:ext cx="22" cy="22"/>
            </a:xfrm>
            <a:custGeom>
              <a:avLst/>
              <a:gdLst>
                <a:gd name="T0" fmla="*/ 43 w 43"/>
                <a:gd name="T1" fmla="*/ 21 h 43"/>
                <a:gd name="T2" fmla="*/ 43 w 43"/>
                <a:gd name="T3" fmla="*/ 21 h 43"/>
                <a:gd name="T4" fmla="*/ 43 w 43"/>
                <a:gd name="T5" fmla="*/ 26 h 43"/>
                <a:gd name="T6" fmla="*/ 42 w 43"/>
                <a:gd name="T7" fmla="*/ 30 h 43"/>
                <a:gd name="T8" fmla="*/ 40 w 43"/>
                <a:gd name="T9" fmla="*/ 33 h 43"/>
                <a:gd name="T10" fmla="*/ 37 w 43"/>
                <a:gd name="T11" fmla="*/ 37 h 43"/>
                <a:gd name="T12" fmla="*/ 34 w 43"/>
                <a:gd name="T13" fmla="*/ 40 h 43"/>
                <a:gd name="T14" fmla="*/ 30 w 43"/>
                <a:gd name="T15" fmla="*/ 42 h 43"/>
                <a:gd name="T16" fmla="*/ 26 w 43"/>
                <a:gd name="T17" fmla="*/ 43 h 43"/>
                <a:gd name="T18" fmla="*/ 22 w 43"/>
                <a:gd name="T19" fmla="*/ 43 h 43"/>
                <a:gd name="T20" fmla="*/ 22 w 43"/>
                <a:gd name="T21" fmla="*/ 43 h 43"/>
                <a:gd name="T22" fmla="*/ 17 w 43"/>
                <a:gd name="T23" fmla="*/ 43 h 43"/>
                <a:gd name="T24" fmla="*/ 13 w 43"/>
                <a:gd name="T25" fmla="*/ 42 h 43"/>
                <a:gd name="T26" fmla="*/ 10 w 43"/>
                <a:gd name="T27" fmla="*/ 40 h 43"/>
                <a:gd name="T28" fmla="*/ 7 w 43"/>
                <a:gd name="T29" fmla="*/ 37 h 43"/>
                <a:gd name="T30" fmla="*/ 3 w 43"/>
                <a:gd name="T31" fmla="*/ 33 h 43"/>
                <a:gd name="T32" fmla="*/ 1 w 43"/>
                <a:gd name="T33" fmla="*/ 30 h 43"/>
                <a:gd name="T34" fmla="*/ 0 w 43"/>
                <a:gd name="T35" fmla="*/ 26 h 43"/>
                <a:gd name="T36" fmla="*/ 0 w 43"/>
                <a:gd name="T37" fmla="*/ 21 h 43"/>
                <a:gd name="T38" fmla="*/ 0 w 43"/>
                <a:gd name="T39" fmla="*/ 21 h 43"/>
                <a:gd name="T40" fmla="*/ 0 w 43"/>
                <a:gd name="T41" fmla="*/ 17 h 43"/>
                <a:gd name="T42" fmla="*/ 1 w 43"/>
                <a:gd name="T43" fmla="*/ 13 h 43"/>
                <a:gd name="T44" fmla="*/ 3 w 43"/>
                <a:gd name="T45" fmla="*/ 10 h 43"/>
                <a:gd name="T46" fmla="*/ 7 w 43"/>
                <a:gd name="T47" fmla="*/ 6 h 43"/>
                <a:gd name="T48" fmla="*/ 10 w 43"/>
                <a:gd name="T49" fmla="*/ 3 h 43"/>
                <a:gd name="T50" fmla="*/ 13 w 43"/>
                <a:gd name="T51" fmla="*/ 1 h 43"/>
                <a:gd name="T52" fmla="*/ 17 w 43"/>
                <a:gd name="T53" fmla="*/ 0 h 43"/>
                <a:gd name="T54" fmla="*/ 22 w 43"/>
                <a:gd name="T55" fmla="*/ 0 h 43"/>
                <a:gd name="T56" fmla="*/ 22 w 43"/>
                <a:gd name="T57" fmla="*/ 0 h 43"/>
                <a:gd name="T58" fmla="*/ 26 w 43"/>
                <a:gd name="T59" fmla="*/ 0 h 43"/>
                <a:gd name="T60" fmla="*/ 30 w 43"/>
                <a:gd name="T61" fmla="*/ 1 h 43"/>
                <a:gd name="T62" fmla="*/ 34 w 43"/>
                <a:gd name="T63" fmla="*/ 3 h 43"/>
                <a:gd name="T64" fmla="*/ 37 w 43"/>
                <a:gd name="T65" fmla="*/ 6 h 43"/>
                <a:gd name="T66" fmla="*/ 40 w 43"/>
                <a:gd name="T67" fmla="*/ 10 h 43"/>
                <a:gd name="T68" fmla="*/ 42 w 43"/>
                <a:gd name="T69" fmla="*/ 13 h 43"/>
                <a:gd name="T70" fmla="*/ 43 w 43"/>
                <a:gd name="T71" fmla="*/ 17 h 43"/>
                <a:gd name="T72" fmla="*/ 43 w 43"/>
                <a:gd name="T73" fmla="*/ 21 h 43"/>
                <a:gd name="T74" fmla="*/ 43 w 43"/>
                <a:gd name="T75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3" h="43">
                  <a:moveTo>
                    <a:pt x="43" y="21"/>
                  </a:moveTo>
                  <a:lnTo>
                    <a:pt x="43" y="21"/>
                  </a:lnTo>
                  <a:lnTo>
                    <a:pt x="43" y="26"/>
                  </a:lnTo>
                  <a:lnTo>
                    <a:pt x="42" y="30"/>
                  </a:lnTo>
                  <a:lnTo>
                    <a:pt x="40" y="33"/>
                  </a:lnTo>
                  <a:lnTo>
                    <a:pt x="37" y="37"/>
                  </a:lnTo>
                  <a:lnTo>
                    <a:pt x="34" y="40"/>
                  </a:lnTo>
                  <a:lnTo>
                    <a:pt x="30" y="42"/>
                  </a:lnTo>
                  <a:lnTo>
                    <a:pt x="26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17" y="43"/>
                  </a:lnTo>
                  <a:lnTo>
                    <a:pt x="13" y="42"/>
                  </a:lnTo>
                  <a:lnTo>
                    <a:pt x="10" y="40"/>
                  </a:lnTo>
                  <a:lnTo>
                    <a:pt x="7" y="37"/>
                  </a:lnTo>
                  <a:lnTo>
                    <a:pt x="3" y="33"/>
                  </a:lnTo>
                  <a:lnTo>
                    <a:pt x="1" y="30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7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7" y="6"/>
                  </a:lnTo>
                  <a:lnTo>
                    <a:pt x="10" y="3"/>
                  </a:lnTo>
                  <a:lnTo>
                    <a:pt x="13" y="1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0" y="1"/>
                  </a:lnTo>
                  <a:lnTo>
                    <a:pt x="34" y="3"/>
                  </a:lnTo>
                  <a:lnTo>
                    <a:pt x="37" y="6"/>
                  </a:lnTo>
                  <a:lnTo>
                    <a:pt x="40" y="10"/>
                  </a:lnTo>
                  <a:lnTo>
                    <a:pt x="42" y="13"/>
                  </a:lnTo>
                  <a:lnTo>
                    <a:pt x="43" y="17"/>
                  </a:lnTo>
                  <a:lnTo>
                    <a:pt x="43" y="21"/>
                  </a:lnTo>
                  <a:lnTo>
                    <a:pt x="4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811" y="1729"/>
              <a:ext cx="180" cy="212"/>
            </a:xfrm>
            <a:custGeom>
              <a:avLst/>
              <a:gdLst>
                <a:gd name="T0" fmla="*/ 360 w 360"/>
                <a:gd name="T1" fmla="*/ 94 h 422"/>
                <a:gd name="T2" fmla="*/ 317 w 360"/>
                <a:gd name="T3" fmla="*/ 90 h 422"/>
                <a:gd name="T4" fmla="*/ 281 w 360"/>
                <a:gd name="T5" fmla="*/ 106 h 422"/>
                <a:gd name="T6" fmla="*/ 247 w 360"/>
                <a:gd name="T7" fmla="*/ 86 h 422"/>
                <a:gd name="T8" fmla="*/ 208 w 360"/>
                <a:gd name="T9" fmla="*/ 74 h 422"/>
                <a:gd name="T10" fmla="*/ 223 w 360"/>
                <a:gd name="T11" fmla="*/ 47 h 422"/>
                <a:gd name="T12" fmla="*/ 222 w 360"/>
                <a:gd name="T13" fmla="*/ 19 h 422"/>
                <a:gd name="T14" fmla="*/ 214 w 360"/>
                <a:gd name="T15" fmla="*/ 6 h 422"/>
                <a:gd name="T16" fmla="*/ 200 w 360"/>
                <a:gd name="T17" fmla="*/ 0 h 422"/>
                <a:gd name="T18" fmla="*/ 128 w 360"/>
                <a:gd name="T19" fmla="*/ 23 h 422"/>
                <a:gd name="T20" fmla="*/ 131 w 360"/>
                <a:gd name="T21" fmla="*/ 33 h 422"/>
                <a:gd name="T22" fmla="*/ 141 w 360"/>
                <a:gd name="T23" fmla="*/ 43 h 422"/>
                <a:gd name="T24" fmla="*/ 156 w 360"/>
                <a:gd name="T25" fmla="*/ 47 h 422"/>
                <a:gd name="T26" fmla="*/ 140 w 360"/>
                <a:gd name="T27" fmla="*/ 75 h 422"/>
                <a:gd name="T28" fmla="*/ 95 w 360"/>
                <a:gd name="T29" fmla="*/ 90 h 422"/>
                <a:gd name="T30" fmla="*/ 56 w 360"/>
                <a:gd name="T31" fmla="*/ 118 h 422"/>
                <a:gd name="T32" fmla="*/ 27 w 360"/>
                <a:gd name="T33" fmla="*/ 154 h 422"/>
                <a:gd name="T34" fmla="*/ 7 w 360"/>
                <a:gd name="T35" fmla="*/ 198 h 422"/>
                <a:gd name="T36" fmla="*/ 0 w 360"/>
                <a:gd name="T37" fmla="*/ 247 h 422"/>
                <a:gd name="T38" fmla="*/ 4 w 360"/>
                <a:gd name="T39" fmla="*/ 282 h 422"/>
                <a:gd name="T40" fmla="*/ 22 w 360"/>
                <a:gd name="T41" fmla="*/ 331 h 422"/>
                <a:gd name="T42" fmla="*/ 52 w 360"/>
                <a:gd name="T43" fmla="*/ 371 h 422"/>
                <a:gd name="T44" fmla="*/ 92 w 360"/>
                <a:gd name="T45" fmla="*/ 401 h 422"/>
                <a:gd name="T46" fmla="*/ 140 w 360"/>
                <a:gd name="T47" fmla="*/ 419 h 422"/>
                <a:gd name="T48" fmla="*/ 176 w 360"/>
                <a:gd name="T49" fmla="*/ 422 h 422"/>
                <a:gd name="T50" fmla="*/ 227 w 360"/>
                <a:gd name="T51" fmla="*/ 415 h 422"/>
                <a:gd name="T52" fmla="*/ 274 w 360"/>
                <a:gd name="T53" fmla="*/ 392 h 422"/>
                <a:gd name="T54" fmla="*/ 311 w 360"/>
                <a:gd name="T55" fmla="*/ 359 h 422"/>
                <a:gd name="T56" fmla="*/ 337 w 360"/>
                <a:gd name="T57" fmla="*/ 314 h 422"/>
                <a:gd name="T58" fmla="*/ 350 w 360"/>
                <a:gd name="T59" fmla="*/ 265 h 422"/>
                <a:gd name="T60" fmla="*/ 350 w 360"/>
                <a:gd name="T61" fmla="*/ 229 h 422"/>
                <a:gd name="T62" fmla="*/ 338 w 360"/>
                <a:gd name="T63" fmla="*/ 182 h 422"/>
                <a:gd name="T64" fmla="*/ 315 w 360"/>
                <a:gd name="T65" fmla="*/ 141 h 422"/>
                <a:gd name="T66" fmla="*/ 176 w 360"/>
                <a:gd name="T67" fmla="*/ 393 h 422"/>
                <a:gd name="T68" fmla="*/ 147 w 360"/>
                <a:gd name="T69" fmla="*/ 390 h 422"/>
                <a:gd name="T70" fmla="*/ 106 w 360"/>
                <a:gd name="T71" fmla="*/ 375 h 422"/>
                <a:gd name="T72" fmla="*/ 73 w 360"/>
                <a:gd name="T73" fmla="*/ 350 h 422"/>
                <a:gd name="T74" fmla="*/ 48 w 360"/>
                <a:gd name="T75" fmla="*/ 317 h 422"/>
                <a:gd name="T76" fmla="*/ 33 w 360"/>
                <a:gd name="T77" fmla="*/ 276 h 422"/>
                <a:gd name="T78" fmla="*/ 30 w 360"/>
                <a:gd name="T79" fmla="*/ 247 h 422"/>
                <a:gd name="T80" fmla="*/ 36 w 360"/>
                <a:gd name="T81" fmla="*/ 203 h 422"/>
                <a:gd name="T82" fmla="*/ 54 w 360"/>
                <a:gd name="T83" fmla="*/ 165 h 422"/>
                <a:gd name="T84" fmla="*/ 83 w 360"/>
                <a:gd name="T85" fmla="*/ 133 h 422"/>
                <a:gd name="T86" fmla="*/ 119 w 360"/>
                <a:gd name="T87" fmla="*/ 112 h 422"/>
                <a:gd name="T88" fmla="*/ 161 w 360"/>
                <a:gd name="T89" fmla="*/ 101 h 422"/>
                <a:gd name="T90" fmla="*/ 191 w 360"/>
                <a:gd name="T91" fmla="*/ 101 h 422"/>
                <a:gd name="T92" fmla="*/ 233 w 360"/>
                <a:gd name="T93" fmla="*/ 112 h 422"/>
                <a:gd name="T94" fmla="*/ 268 w 360"/>
                <a:gd name="T95" fmla="*/ 133 h 422"/>
                <a:gd name="T96" fmla="*/ 296 w 360"/>
                <a:gd name="T97" fmla="*/ 165 h 422"/>
                <a:gd name="T98" fmla="*/ 315 w 360"/>
                <a:gd name="T99" fmla="*/ 203 h 422"/>
                <a:gd name="T100" fmla="*/ 322 w 360"/>
                <a:gd name="T101" fmla="*/ 247 h 422"/>
                <a:gd name="T102" fmla="*/ 319 w 360"/>
                <a:gd name="T103" fmla="*/ 276 h 422"/>
                <a:gd name="T104" fmla="*/ 304 w 360"/>
                <a:gd name="T105" fmla="*/ 317 h 422"/>
                <a:gd name="T106" fmla="*/ 279 w 360"/>
                <a:gd name="T107" fmla="*/ 350 h 422"/>
                <a:gd name="T108" fmla="*/ 246 w 360"/>
                <a:gd name="T109" fmla="*/ 375 h 422"/>
                <a:gd name="T110" fmla="*/ 205 w 360"/>
                <a:gd name="T111" fmla="*/ 390 h 422"/>
                <a:gd name="T112" fmla="*/ 176 w 360"/>
                <a:gd name="T113" fmla="*/ 393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60" h="422">
                  <a:moveTo>
                    <a:pt x="329" y="103"/>
                  </a:moveTo>
                  <a:lnTo>
                    <a:pt x="339" y="113"/>
                  </a:lnTo>
                  <a:lnTo>
                    <a:pt x="360" y="94"/>
                  </a:lnTo>
                  <a:lnTo>
                    <a:pt x="326" y="60"/>
                  </a:lnTo>
                  <a:lnTo>
                    <a:pt x="306" y="79"/>
                  </a:lnTo>
                  <a:lnTo>
                    <a:pt x="317" y="90"/>
                  </a:lnTo>
                  <a:lnTo>
                    <a:pt x="292" y="115"/>
                  </a:lnTo>
                  <a:lnTo>
                    <a:pt x="292" y="115"/>
                  </a:lnTo>
                  <a:lnTo>
                    <a:pt x="281" y="106"/>
                  </a:lnTo>
                  <a:lnTo>
                    <a:pt x="270" y="99"/>
                  </a:lnTo>
                  <a:lnTo>
                    <a:pt x="258" y="92"/>
                  </a:lnTo>
                  <a:lnTo>
                    <a:pt x="247" y="86"/>
                  </a:lnTo>
                  <a:lnTo>
                    <a:pt x="235" y="82"/>
                  </a:lnTo>
                  <a:lnTo>
                    <a:pt x="222" y="77"/>
                  </a:lnTo>
                  <a:lnTo>
                    <a:pt x="208" y="74"/>
                  </a:lnTo>
                  <a:lnTo>
                    <a:pt x="195" y="72"/>
                  </a:lnTo>
                  <a:lnTo>
                    <a:pt x="195" y="47"/>
                  </a:lnTo>
                  <a:lnTo>
                    <a:pt x="223" y="47"/>
                  </a:lnTo>
                  <a:lnTo>
                    <a:pt x="223" y="23"/>
                  </a:lnTo>
                  <a:lnTo>
                    <a:pt x="223" y="23"/>
                  </a:lnTo>
                  <a:lnTo>
                    <a:pt x="222" y="19"/>
                  </a:lnTo>
                  <a:lnTo>
                    <a:pt x="221" y="14"/>
                  </a:lnTo>
                  <a:lnTo>
                    <a:pt x="218" y="11"/>
                  </a:lnTo>
                  <a:lnTo>
                    <a:pt x="214" y="6"/>
                  </a:lnTo>
                  <a:lnTo>
                    <a:pt x="210" y="4"/>
                  </a:lnTo>
                  <a:lnTo>
                    <a:pt x="206" y="2"/>
                  </a:lnTo>
                  <a:lnTo>
                    <a:pt x="200" y="0"/>
                  </a:lnTo>
                  <a:lnTo>
                    <a:pt x="195" y="0"/>
                  </a:lnTo>
                  <a:lnTo>
                    <a:pt x="128" y="0"/>
                  </a:lnTo>
                  <a:lnTo>
                    <a:pt x="128" y="23"/>
                  </a:lnTo>
                  <a:lnTo>
                    <a:pt x="128" y="23"/>
                  </a:lnTo>
                  <a:lnTo>
                    <a:pt x="128" y="28"/>
                  </a:lnTo>
                  <a:lnTo>
                    <a:pt x="131" y="33"/>
                  </a:lnTo>
                  <a:lnTo>
                    <a:pt x="133" y="36"/>
                  </a:lnTo>
                  <a:lnTo>
                    <a:pt x="137" y="41"/>
                  </a:lnTo>
                  <a:lnTo>
                    <a:pt x="141" y="43"/>
                  </a:lnTo>
                  <a:lnTo>
                    <a:pt x="146" y="45"/>
                  </a:lnTo>
                  <a:lnTo>
                    <a:pt x="151" y="47"/>
                  </a:lnTo>
                  <a:lnTo>
                    <a:pt x="156" y="47"/>
                  </a:lnTo>
                  <a:lnTo>
                    <a:pt x="156" y="72"/>
                  </a:lnTo>
                  <a:lnTo>
                    <a:pt x="156" y="72"/>
                  </a:lnTo>
                  <a:lnTo>
                    <a:pt x="140" y="75"/>
                  </a:lnTo>
                  <a:lnTo>
                    <a:pt x="125" y="78"/>
                  </a:lnTo>
                  <a:lnTo>
                    <a:pt x="110" y="84"/>
                  </a:lnTo>
                  <a:lnTo>
                    <a:pt x="95" y="90"/>
                  </a:lnTo>
                  <a:lnTo>
                    <a:pt x="81" y="99"/>
                  </a:lnTo>
                  <a:lnTo>
                    <a:pt x="69" y="108"/>
                  </a:lnTo>
                  <a:lnTo>
                    <a:pt x="56" y="118"/>
                  </a:lnTo>
                  <a:lnTo>
                    <a:pt x="46" y="129"/>
                  </a:lnTo>
                  <a:lnTo>
                    <a:pt x="36" y="141"/>
                  </a:lnTo>
                  <a:lnTo>
                    <a:pt x="27" y="154"/>
                  </a:lnTo>
                  <a:lnTo>
                    <a:pt x="19" y="168"/>
                  </a:lnTo>
                  <a:lnTo>
                    <a:pt x="12" y="183"/>
                  </a:lnTo>
                  <a:lnTo>
                    <a:pt x="7" y="198"/>
                  </a:lnTo>
                  <a:lnTo>
                    <a:pt x="4" y="213"/>
                  </a:lnTo>
                  <a:lnTo>
                    <a:pt x="2" y="230"/>
                  </a:lnTo>
                  <a:lnTo>
                    <a:pt x="0" y="247"/>
                  </a:lnTo>
                  <a:lnTo>
                    <a:pt x="0" y="247"/>
                  </a:lnTo>
                  <a:lnTo>
                    <a:pt x="2" y="265"/>
                  </a:lnTo>
                  <a:lnTo>
                    <a:pt x="4" y="282"/>
                  </a:lnTo>
                  <a:lnTo>
                    <a:pt x="8" y="298"/>
                  </a:lnTo>
                  <a:lnTo>
                    <a:pt x="14" y="314"/>
                  </a:lnTo>
                  <a:lnTo>
                    <a:pt x="22" y="331"/>
                  </a:lnTo>
                  <a:lnTo>
                    <a:pt x="31" y="345"/>
                  </a:lnTo>
                  <a:lnTo>
                    <a:pt x="40" y="359"/>
                  </a:lnTo>
                  <a:lnTo>
                    <a:pt x="52" y="371"/>
                  </a:lnTo>
                  <a:lnTo>
                    <a:pt x="64" y="382"/>
                  </a:lnTo>
                  <a:lnTo>
                    <a:pt x="78" y="392"/>
                  </a:lnTo>
                  <a:lnTo>
                    <a:pt x="92" y="401"/>
                  </a:lnTo>
                  <a:lnTo>
                    <a:pt x="108" y="408"/>
                  </a:lnTo>
                  <a:lnTo>
                    <a:pt x="124" y="415"/>
                  </a:lnTo>
                  <a:lnTo>
                    <a:pt x="140" y="419"/>
                  </a:lnTo>
                  <a:lnTo>
                    <a:pt x="157" y="421"/>
                  </a:lnTo>
                  <a:lnTo>
                    <a:pt x="176" y="422"/>
                  </a:lnTo>
                  <a:lnTo>
                    <a:pt x="176" y="422"/>
                  </a:lnTo>
                  <a:lnTo>
                    <a:pt x="194" y="421"/>
                  </a:lnTo>
                  <a:lnTo>
                    <a:pt x="211" y="419"/>
                  </a:lnTo>
                  <a:lnTo>
                    <a:pt x="227" y="415"/>
                  </a:lnTo>
                  <a:lnTo>
                    <a:pt x="243" y="408"/>
                  </a:lnTo>
                  <a:lnTo>
                    <a:pt x="258" y="401"/>
                  </a:lnTo>
                  <a:lnTo>
                    <a:pt x="274" y="392"/>
                  </a:lnTo>
                  <a:lnTo>
                    <a:pt x="286" y="382"/>
                  </a:lnTo>
                  <a:lnTo>
                    <a:pt x="299" y="371"/>
                  </a:lnTo>
                  <a:lnTo>
                    <a:pt x="311" y="359"/>
                  </a:lnTo>
                  <a:lnTo>
                    <a:pt x="321" y="345"/>
                  </a:lnTo>
                  <a:lnTo>
                    <a:pt x="329" y="331"/>
                  </a:lnTo>
                  <a:lnTo>
                    <a:pt x="337" y="314"/>
                  </a:lnTo>
                  <a:lnTo>
                    <a:pt x="342" y="298"/>
                  </a:lnTo>
                  <a:lnTo>
                    <a:pt x="347" y="282"/>
                  </a:lnTo>
                  <a:lnTo>
                    <a:pt x="350" y="265"/>
                  </a:lnTo>
                  <a:lnTo>
                    <a:pt x="351" y="247"/>
                  </a:lnTo>
                  <a:lnTo>
                    <a:pt x="351" y="247"/>
                  </a:lnTo>
                  <a:lnTo>
                    <a:pt x="350" y="229"/>
                  </a:lnTo>
                  <a:lnTo>
                    <a:pt x="348" y="213"/>
                  </a:lnTo>
                  <a:lnTo>
                    <a:pt x="343" y="198"/>
                  </a:lnTo>
                  <a:lnTo>
                    <a:pt x="338" y="182"/>
                  </a:lnTo>
                  <a:lnTo>
                    <a:pt x="332" y="168"/>
                  </a:lnTo>
                  <a:lnTo>
                    <a:pt x="324" y="154"/>
                  </a:lnTo>
                  <a:lnTo>
                    <a:pt x="315" y="141"/>
                  </a:lnTo>
                  <a:lnTo>
                    <a:pt x="305" y="128"/>
                  </a:lnTo>
                  <a:lnTo>
                    <a:pt x="329" y="103"/>
                  </a:lnTo>
                  <a:close/>
                  <a:moveTo>
                    <a:pt x="176" y="393"/>
                  </a:moveTo>
                  <a:lnTo>
                    <a:pt x="176" y="393"/>
                  </a:lnTo>
                  <a:lnTo>
                    <a:pt x="161" y="392"/>
                  </a:lnTo>
                  <a:lnTo>
                    <a:pt x="147" y="390"/>
                  </a:lnTo>
                  <a:lnTo>
                    <a:pt x="133" y="387"/>
                  </a:lnTo>
                  <a:lnTo>
                    <a:pt x="119" y="381"/>
                  </a:lnTo>
                  <a:lnTo>
                    <a:pt x="106" y="375"/>
                  </a:lnTo>
                  <a:lnTo>
                    <a:pt x="94" y="368"/>
                  </a:lnTo>
                  <a:lnTo>
                    <a:pt x="83" y="360"/>
                  </a:lnTo>
                  <a:lnTo>
                    <a:pt x="73" y="350"/>
                  </a:lnTo>
                  <a:lnTo>
                    <a:pt x="63" y="339"/>
                  </a:lnTo>
                  <a:lnTo>
                    <a:pt x="54" y="328"/>
                  </a:lnTo>
                  <a:lnTo>
                    <a:pt x="48" y="317"/>
                  </a:lnTo>
                  <a:lnTo>
                    <a:pt x="41" y="304"/>
                  </a:lnTo>
                  <a:lnTo>
                    <a:pt x="36" y="290"/>
                  </a:lnTo>
                  <a:lnTo>
                    <a:pt x="33" y="276"/>
                  </a:lnTo>
                  <a:lnTo>
                    <a:pt x="31" y="262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1" y="231"/>
                  </a:lnTo>
                  <a:lnTo>
                    <a:pt x="33" y="217"/>
                  </a:lnTo>
                  <a:lnTo>
                    <a:pt x="36" y="203"/>
                  </a:lnTo>
                  <a:lnTo>
                    <a:pt x="41" y="189"/>
                  </a:lnTo>
                  <a:lnTo>
                    <a:pt x="48" y="177"/>
                  </a:lnTo>
                  <a:lnTo>
                    <a:pt x="54" y="165"/>
                  </a:lnTo>
                  <a:lnTo>
                    <a:pt x="63" y="154"/>
                  </a:lnTo>
                  <a:lnTo>
                    <a:pt x="73" y="143"/>
                  </a:lnTo>
                  <a:lnTo>
                    <a:pt x="83" y="133"/>
                  </a:lnTo>
                  <a:lnTo>
                    <a:pt x="94" y="126"/>
                  </a:lnTo>
                  <a:lnTo>
                    <a:pt x="106" y="118"/>
                  </a:lnTo>
                  <a:lnTo>
                    <a:pt x="119" y="112"/>
                  </a:lnTo>
                  <a:lnTo>
                    <a:pt x="133" y="108"/>
                  </a:lnTo>
                  <a:lnTo>
                    <a:pt x="147" y="103"/>
                  </a:lnTo>
                  <a:lnTo>
                    <a:pt x="161" y="101"/>
                  </a:lnTo>
                  <a:lnTo>
                    <a:pt x="176" y="100"/>
                  </a:lnTo>
                  <a:lnTo>
                    <a:pt x="176" y="100"/>
                  </a:lnTo>
                  <a:lnTo>
                    <a:pt x="191" y="101"/>
                  </a:lnTo>
                  <a:lnTo>
                    <a:pt x="205" y="103"/>
                  </a:lnTo>
                  <a:lnTo>
                    <a:pt x="219" y="108"/>
                  </a:lnTo>
                  <a:lnTo>
                    <a:pt x="233" y="112"/>
                  </a:lnTo>
                  <a:lnTo>
                    <a:pt x="246" y="118"/>
                  </a:lnTo>
                  <a:lnTo>
                    <a:pt x="257" y="126"/>
                  </a:lnTo>
                  <a:lnTo>
                    <a:pt x="268" y="133"/>
                  </a:lnTo>
                  <a:lnTo>
                    <a:pt x="279" y="143"/>
                  </a:lnTo>
                  <a:lnTo>
                    <a:pt x="289" y="154"/>
                  </a:lnTo>
                  <a:lnTo>
                    <a:pt x="296" y="165"/>
                  </a:lnTo>
                  <a:lnTo>
                    <a:pt x="304" y="177"/>
                  </a:lnTo>
                  <a:lnTo>
                    <a:pt x="310" y="189"/>
                  </a:lnTo>
                  <a:lnTo>
                    <a:pt x="315" y="203"/>
                  </a:lnTo>
                  <a:lnTo>
                    <a:pt x="319" y="217"/>
                  </a:lnTo>
                  <a:lnTo>
                    <a:pt x="321" y="231"/>
                  </a:lnTo>
                  <a:lnTo>
                    <a:pt x="322" y="247"/>
                  </a:lnTo>
                  <a:lnTo>
                    <a:pt x="322" y="247"/>
                  </a:lnTo>
                  <a:lnTo>
                    <a:pt x="321" y="262"/>
                  </a:lnTo>
                  <a:lnTo>
                    <a:pt x="319" y="276"/>
                  </a:lnTo>
                  <a:lnTo>
                    <a:pt x="315" y="290"/>
                  </a:lnTo>
                  <a:lnTo>
                    <a:pt x="310" y="304"/>
                  </a:lnTo>
                  <a:lnTo>
                    <a:pt x="304" y="317"/>
                  </a:lnTo>
                  <a:lnTo>
                    <a:pt x="296" y="328"/>
                  </a:lnTo>
                  <a:lnTo>
                    <a:pt x="289" y="339"/>
                  </a:lnTo>
                  <a:lnTo>
                    <a:pt x="279" y="350"/>
                  </a:lnTo>
                  <a:lnTo>
                    <a:pt x="268" y="360"/>
                  </a:lnTo>
                  <a:lnTo>
                    <a:pt x="257" y="368"/>
                  </a:lnTo>
                  <a:lnTo>
                    <a:pt x="246" y="375"/>
                  </a:lnTo>
                  <a:lnTo>
                    <a:pt x="233" y="381"/>
                  </a:lnTo>
                  <a:lnTo>
                    <a:pt x="219" y="387"/>
                  </a:lnTo>
                  <a:lnTo>
                    <a:pt x="205" y="390"/>
                  </a:lnTo>
                  <a:lnTo>
                    <a:pt x="191" y="392"/>
                  </a:lnTo>
                  <a:lnTo>
                    <a:pt x="176" y="393"/>
                  </a:lnTo>
                  <a:lnTo>
                    <a:pt x="176" y="3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" name="Group 4"/>
          <p:cNvGrpSpPr>
            <a:grpSpLocks noChangeAspect="1"/>
          </p:cNvGrpSpPr>
          <p:nvPr/>
        </p:nvGrpSpPr>
        <p:grpSpPr bwMode="auto">
          <a:xfrm>
            <a:off x="6838296" y="3284702"/>
            <a:ext cx="1153180" cy="1158666"/>
            <a:chOff x="4740" y="602"/>
            <a:chExt cx="210" cy="211"/>
          </a:xfrm>
          <a:solidFill>
            <a:schemeClr val="bg1"/>
          </a:solidFill>
        </p:grpSpPr>
        <p:sp>
          <p:nvSpPr>
            <p:cNvPr id="15" name="Freeform 5"/>
            <p:cNvSpPr>
              <a:spLocks/>
            </p:cNvSpPr>
            <p:nvPr/>
          </p:nvSpPr>
          <p:spPr bwMode="auto">
            <a:xfrm>
              <a:off x="4771" y="632"/>
              <a:ext cx="148" cy="151"/>
            </a:xfrm>
            <a:custGeom>
              <a:avLst/>
              <a:gdLst>
                <a:gd name="T0" fmla="*/ 200 w 298"/>
                <a:gd name="T1" fmla="*/ 26 h 303"/>
                <a:gd name="T2" fmla="*/ 196 w 298"/>
                <a:gd name="T3" fmla="*/ 27 h 303"/>
                <a:gd name="T4" fmla="*/ 192 w 298"/>
                <a:gd name="T5" fmla="*/ 32 h 303"/>
                <a:gd name="T6" fmla="*/ 191 w 298"/>
                <a:gd name="T7" fmla="*/ 36 h 303"/>
                <a:gd name="T8" fmla="*/ 193 w 298"/>
                <a:gd name="T9" fmla="*/ 43 h 303"/>
                <a:gd name="T10" fmla="*/ 207 w 298"/>
                <a:gd name="T11" fmla="*/ 57 h 303"/>
                <a:gd name="T12" fmla="*/ 44 w 298"/>
                <a:gd name="T13" fmla="*/ 200 h 303"/>
                <a:gd name="T14" fmla="*/ 41 w 298"/>
                <a:gd name="T15" fmla="*/ 198 h 303"/>
                <a:gd name="T16" fmla="*/ 36 w 298"/>
                <a:gd name="T17" fmla="*/ 196 h 303"/>
                <a:gd name="T18" fmla="*/ 30 w 298"/>
                <a:gd name="T19" fmla="*/ 196 h 303"/>
                <a:gd name="T20" fmla="*/ 26 w 298"/>
                <a:gd name="T21" fmla="*/ 200 h 303"/>
                <a:gd name="T22" fmla="*/ 1 w 298"/>
                <a:gd name="T23" fmla="*/ 289 h 303"/>
                <a:gd name="T24" fmla="*/ 0 w 298"/>
                <a:gd name="T25" fmla="*/ 292 h 303"/>
                <a:gd name="T26" fmla="*/ 1 w 298"/>
                <a:gd name="T27" fmla="*/ 298 h 303"/>
                <a:gd name="T28" fmla="*/ 4 w 298"/>
                <a:gd name="T29" fmla="*/ 302 h 303"/>
                <a:gd name="T30" fmla="*/ 10 w 298"/>
                <a:gd name="T31" fmla="*/ 303 h 303"/>
                <a:gd name="T32" fmla="*/ 98 w 298"/>
                <a:gd name="T33" fmla="*/ 278 h 303"/>
                <a:gd name="T34" fmla="*/ 101 w 298"/>
                <a:gd name="T35" fmla="*/ 277 h 303"/>
                <a:gd name="T36" fmla="*/ 106 w 298"/>
                <a:gd name="T37" fmla="*/ 272 h 303"/>
                <a:gd name="T38" fmla="*/ 107 w 298"/>
                <a:gd name="T39" fmla="*/ 267 h 303"/>
                <a:gd name="T40" fmla="*/ 105 w 298"/>
                <a:gd name="T41" fmla="*/ 262 h 303"/>
                <a:gd name="T42" fmla="*/ 91 w 298"/>
                <a:gd name="T43" fmla="*/ 247 h 303"/>
                <a:gd name="T44" fmla="*/ 243 w 298"/>
                <a:gd name="T45" fmla="*/ 91 h 303"/>
                <a:gd name="T46" fmla="*/ 255 w 298"/>
                <a:gd name="T47" fmla="*/ 103 h 303"/>
                <a:gd name="T48" fmla="*/ 257 w 298"/>
                <a:gd name="T49" fmla="*/ 105 h 303"/>
                <a:gd name="T50" fmla="*/ 263 w 298"/>
                <a:gd name="T51" fmla="*/ 108 h 303"/>
                <a:gd name="T52" fmla="*/ 269 w 298"/>
                <a:gd name="T53" fmla="*/ 107 h 303"/>
                <a:gd name="T54" fmla="*/ 272 w 298"/>
                <a:gd name="T55" fmla="*/ 103 h 303"/>
                <a:gd name="T56" fmla="*/ 297 w 298"/>
                <a:gd name="T57" fmla="*/ 14 h 303"/>
                <a:gd name="T58" fmla="*/ 298 w 298"/>
                <a:gd name="T59" fmla="*/ 10 h 303"/>
                <a:gd name="T60" fmla="*/ 297 w 298"/>
                <a:gd name="T61" fmla="*/ 5 h 303"/>
                <a:gd name="T62" fmla="*/ 293 w 298"/>
                <a:gd name="T63" fmla="*/ 1 h 303"/>
                <a:gd name="T64" fmla="*/ 288 w 298"/>
                <a:gd name="T65" fmla="*/ 0 h 303"/>
                <a:gd name="T66" fmla="*/ 284 w 298"/>
                <a:gd name="T67" fmla="*/ 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8" h="303">
                  <a:moveTo>
                    <a:pt x="284" y="1"/>
                  </a:moveTo>
                  <a:lnTo>
                    <a:pt x="200" y="26"/>
                  </a:lnTo>
                  <a:lnTo>
                    <a:pt x="200" y="26"/>
                  </a:lnTo>
                  <a:lnTo>
                    <a:pt x="196" y="27"/>
                  </a:lnTo>
                  <a:lnTo>
                    <a:pt x="193" y="28"/>
                  </a:lnTo>
                  <a:lnTo>
                    <a:pt x="192" y="32"/>
                  </a:lnTo>
                  <a:lnTo>
                    <a:pt x="191" y="34"/>
                  </a:lnTo>
                  <a:lnTo>
                    <a:pt x="191" y="36"/>
                  </a:lnTo>
                  <a:lnTo>
                    <a:pt x="192" y="39"/>
                  </a:lnTo>
                  <a:lnTo>
                    <a:pt x="193" y="43"/>
                  </a:lnTo>
                  <a:lnTo>
                    <a:pt x="195" y="46"/>
                  </a:lnTo>
                  <a:lnTo>
                    <a:pt x="207" y="57"/>
                  </a:lnTo>
                  <a:lnTo>
                    <a:pt x="56" y="212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1" y="198"/>
                  </a:lnTo>
                  <a:lnTo>
                    <a:pt x="38" y="196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30" y="196"/>
                  </a:lnTo>
                  <a:lnTo>
                    <a:pt x="28" y="198"/>
                  </a:lnTo>
                  <a:lnTo>
                    <a:pt x="26" y="200"/>
                  </a:lnTo>
                  <a:lnTo>
                    <a:pt x="25" y="203"/>
                  </a:lnTo>
                  <a:lnTo>
                    <a:pt x="1" y="289"/>
                  </a:lnTo>
                  <a:lnTo>
                    <a:pt x="1" y="289"/>
                  </a:lnTo>
                  <a:lnTo>
                    <a:pt x="0" y="292"/>
                  </a:lnTo>
                  <a:lnTo>
                    <a:pt x="0" y="295"/>
                  </a:lnTo>
                  <a:lnTo>
                    <a:pt x="1" y="298"/>
                  </a:lnTo>
                  <a:lnTo>
                    <a:pt x="2" y="301"/>
                  </a:lnTo>
                  <a:lnTo>
                    <a:pt x="4" y="302"/>
                  </a:lnTo>
                  <a:lnTo>
                    <a:pt x="8" y="303"/>
                  </a:lnTo>
                  <a:lnTo>
                    <a:pt x="10" y="303"/>
                  </a:lnTo>
                  <a:lnTo>
                    <a:pt x="14" y="302"/>
                  </a:lnTo>
                  <a:lnTo>
                    <a:pt x="98" y="278"/>
                  </a:lnTo>
                  <a:lnTo>
                    <a:pt x="98" y="278"/>
                  </a:lnTo>
                  <a:lnTo>
                    <a:pt x="101" y="277"/>
                  </a:lnTo>
                  <a:lnTo>
                    <a:pt x="105" y="275"/>
                  </a:lnTo>
                  <a:lnTo>
                    <a:pt x="106" y="272"/>
                  </a:lnTo>
                  <a:lnTo>
                    <a:pt x="107" y="270"/>
                  </a:lnTo>
                  <a:lnTo>
                    <a:pt x="107" y="267"/>
                  </a:lnTo>
                  <a:lnTo>
                    <a:pt x="107" y="264"/>
                  </a:lnTo>
                  <a:lnTo>
                    <a:pt x="105" y="262"/>
                  </a:lnTo>
                  <a:lnTo>
                    <a:pt x="103" y="258"/>
                  </a:lnTo>
                  <a:lnTo>
                    <a:pt x="91" y="247"/>
                  </a:lnTo>
                  <a:lnTo>
                    <a:pt x="243" y="91"/>
                  </a:lnTo>
                  <a:lnTo>
                    <a:pt x="243" y="91"/>
                  </a:lnTo>
                  <a:lnTo>
                    <a:pt x="243" y="91"/>
                  </a:lnTo>
                  <a:lnTo>
                    <a:pt x="255" y="103"/>
                  </a:lnTo>
                  <a:lnTo>
                    <a:pt x="255" y="103"/>
                  </a:lnTo>
                  <a:lnTo>
                    <a:pt x="257" y="105"/>
                  </a:lnTo>
                  <a:lnTo>
                    <a:pt x="260" y="107"/>
                  </a:lnTo>
                  <a:lnTo>
                    <a:pt x="263" y="108"/>
                  </a:lnTo>
                  <a:lnTo>
                    <a:pt x="265" y="107"/>
                  </a:lnTo>
                  <a:lnTo>
                    <a:pt x="269" y="107"/>
                  </a:lnTo>
                  <a:lnTo>
                    <a:pt x="271" y="105"/>
                  </a:lnTo>
                  <a:lnTo>
                    <a:pt x="272" y="103"/>
                  </a:lnTo>
                  <a:lnTo>
                    <a:pt x="274" y="100"/>
                  </a:lnTo>
                  <a:lnTo>
                    <a:pt x="297" y="14"/>
                  </a:lnTo>
                  <a:lnTo>
                    <a:pt x="297" y="14"/>
                  </a:lnTo>
                  <a:lnTo>
                    <a:pt x="298" y="10"/>
                  </a:lnTo>
                  <a:lnTo>
                    <a:pt x="298" y="7"/>
                  </a:lnTo>
                  <a:lnTo>
                    <a:pt x="297" y="5"/>
                  </a:lnTo>
                  <a:lnTo>
                    <a:pt x="296" y="3"/>
                  </a:lnTo>
                  <a:lnTo>
                    <a:pt x="293" y="1"/>
                  </a:lnTo>
                  <a:lnTo>
                    <a:pt x="290" y="0"/>
                  </a:lnTo>
                  <a:lnTo>
                    <a:pt x="288" y="0"/>
                  </a:lnTo>
                  <a:lnTo>
                    <a:pt x="284" y="1"/>
                  </a:lnTo>
                  <a:lnTo>
                    <a:pt x="2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4817" y="602"/>
              <a:ext cx="133" cy="131"/>
            </a:xfrm>
            <a:custGeom>
              <a:avLst/>
              <a:gdLst>
                <a:gd name="T0" fmla="*/ 0 w 264"/>
                <a:gd name="T1" fmla="*/ 36 h 262"/>
                <a:gd name="T2" fmla="*/ 224 w 264"/>
                <a:gd name="T3" fmla="*/ 36 h 262"/>
                <a:gd name="T4" fmla="*/ 224 w 264"/>
                <a:gd name="T5" fmla="*/ 36 h 262"/>
                <a:gd name="T6" fmla="*/ 226 w 264"/>
                <a:gd name="T7" fmla="*/ 37 h 262"/>
                <a:gd name="T8" fmla="*/ 227 w 264"/>
                <a:gd name="T9" fmla="*/ 39 h 262"/>
                <a:gd name="T10" fmla="*/ 227 w 264"/>
                <a:gd name="T11" fmla="*/ 262 h 262"/>
                <a:gd name="T12" fmla="*/ 264 w 264"/>
                <a:gd name="T13" fmla="*/ 262 h 262"/>
                <a:gd name="T14" fmla="*/ 264 w 264"/>
                <a:gd name="T15" fmla="*/ 39 h 262"/>
                <a:gd name="T16" fmla="*/ 264 w 264"/>
                <a:gd name="T17" fmla="*/ 39 h 262"/>
                <a:gd name="T18" fmla="*/ 263 w 264"/>
                <a:gd name="T19" fmla="*/ 31 h 262"/>
                <a:gd name="T20" fmla="*/ 261 w 264"/>
                <a:gd name="T21" fmla="*/ 24 h 262"/>
                <a:gd name="T22" fmla="*/ 257 w 264"/>
                <a:gd name="T23" fmla="*/ 17 h 262"/>
                <a:gd name="T24" fmla="*/ 252 w 264"/>
                <a:gd name="T25" fmla="*/ 11 h 262"/>
                <a:gd name="T26" fmla="*/ 246 w 264"/>
                <a:gd name="T27" fmla="*/ 7 h 262"/>
                <a:gd name="T28" fmla="*/ 239 w 264"/>
                <a:gd name="T29" fmla="*/ 3 h 262"/>
                <a:gd name="T30" fmla="*/ 232 w 264"/>
                <a:gd name="T31" fmla="*/ 1 h 262"/>
                <a:gd name="T32" fmla="*/ 224 w 264"/>
                <a:gd name="T33" fmla="*/ 0 h 262"/>
                <a:gd name="T34" fmla="*/ 0 w 264"/>
                <a:gd name="T35" fmla="*/ 0 h 262"/>
                <a:gd name="T36" fmla="*/ 0 w 264"/>
                <a:gd name="T37" fmla="*/ 36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4" h="262">
                  <a:moveTo>
                    <a:pt x="0" y="36"/>
                  </a:moveTo>
                  <a:lnTo>
                    <a:pt x="224" y="36"/>
                  </a:lnTo>
                  <a:lnTo>
                    <a:pt x="224" y="36"/>
                  </a:lnTo>
                  <a:lnTo>
                    <a:pt x="226" y="37"/>
                  </a:lnTo>
                  <a:lnTo>
                    <a:pt x="227" y="39"/>
                  </a:lnTo>
                  <a:lnTo>
                    <a:pt x="227" y="262"/>
                  </a:lnTo>
                  <a:lnTo>
                    <a:pt x="264" y="262"/>
                  </a:lnTo>
                  <a:lnTo>
                    <a:pt x="264" y="39"/>
                  </a:lnTo>
                  <a:lnTo>
                    <a:pt x="264" y="39"/>
                  </a:lnTo>
                  <a:lnTo>
                    <a:pt x="263" y="31"/>
                  </a:lnTo>
                  <a:lnTo>
                    <a:pt x="261" y="24"/>
                  </a:lnTo>
                  <a:lnTo>
                    <a:pt x="257" y="17"/>
                  </a:lnTo>
                  <a:lnTo>
                    <a:pt x="252" y="11"/>
                  </a:lnTo>
                  <a:lnTo>
                    <a:pt x="246" y="7"/>
                  </a:lnTo>
                  <a:lnTo>
                    <a:pt x="239" y="3"/>
                  </a:lnTo>
                  <a:lnTo>
                    <a:pt x="232" y="1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4740" y="681"/>
              <a:ext cx="130" cy="132"/>
            </a:xfrm>
            <a:custGeom>
              <a:avLst/>
              <a:gdLst>
                <a:gd name="T0" fmla="*/ 260 w 260"/>
                <a:gd name="T1" fmla="*/ 227 h 263"/>
                <a:gd name="T2" fmla="*/ 40 w 260"/>
                <a:gd name="T3" fmla="*/ 227 h 263"/>
                <a:gd name="T4" fmla="*/ 40 w 260"/>
                <a:gd name="T5" fmla="*/ 227 h 263"/>
                <a:gd name="T6" fmla="*/ 38 w 260"/>
                <a:gd name="T7" fmla="*/ 226 h 263"/>
                <a:gd name="T8" fmla="*/ 36 w 260"/>
                <a:gd name="T9" fmla="*/ 224 h 263"/>
                <a:gd name="T10" fmla="*/ 36 w 260"/>
                <a:gd name="T11" fmla="*/ 0 h 263"/>
                <a:gd name="T12" fmla="*/ 0 w 260"/>
                <a:gd name="T13" fmla="*/ 0 h 263"/>
                <a:gd name="T14" fmla="*/ 0 w 260"/>
                <a:gd name="T15" fmla="*/ 224 h 263"/>
                <a:gd name="T16" fmla="*/ 0 w 260"/>
                <a:gd name="T17" fmla="*/ 224 h 263"/>
                <a:gd name="T18" fmla="*/ 1 w 260"/>
                <a:gd name="T19" fmla="*/ 232 h 263"/>
                <a:gd name="T20" fmla="*/ 3 w 260"/>
                <a:gd name="T21" fmla="*/ 239 h 263"/>
                <a:gd name="T22" fmla="*/ 7 w 260"/>
                <a:gd name="T23" fmla="*/ 246 h 263"/>
                <a:gd name="T24" fmla="*/ 12 w 260"/>
                <a:gd name="T25" fmla="*/ 252 h 263"/>
                <a:gd name="T26" fmla="*/ 18 w 260"/>
                <a:gd name="T27" fmla="*/ 257 h 263"/>
                <a:gd name="T28" fmla="*/ 25 w 260"/>
                <a:gd name="T29" fmla="*/ 260 h 263"/>
                <a:gd name="T30" fmla="*/ 32 w 260"/>
                <a:gd name="T31" fmla="*/ 262 h 263"/>
                <a:gd name="T32" fmla="*/ 40 w 260"/>
                <a:gd name="T33" fmla="*/ 263 h 263"/>
                <a:gd name="T34" fmla="*/ 260 w 260"/>
                <a:gd name="T35" fmla="*/ 263 h 263"/>
                <a:gd name="T36" fmla="*/ 260 w 260"/>
                <a:gd name="T37" fmla="*/ 227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0" h="263">
                  <a:moveTo>
                    <a:pt x="260" y="227"/>
                  </a:moveTo>
                  <a:lnTo>
                    <a:pt x="40" y="227"/>
                  </a:lnTo>
                  <a:lnTo>
                    <a:pt x="40" y="227"/>
                  </a:lnTo>
                  <a:lnTo>
                    <a:pt x="38" y="226"/>
                  </a:lnTo>
                  <a:lnTo>
                    <a:pt x="36" y="224"/>
                  </a:lnTo>
                  <a:lnTo>
                    <a:pt x="36" y="0"/>
                  </a:lnTo>
                  <a:lnTo>
                    <a:pt x="0" y="0"/>
                  </a:lnTo>
                  <a:lnTo>
                    <a:pt x="0" y="224"/>
                  </a:lnTo>
                  <a:lnTo>
                    <a:pt x="0" y="224"/>
                  </a:lnTo>
                  <a:lnTo>
                    <a:pt x="1" y="232"/>
                  </a:lnTo>
                  <a:lnTo>
                    <a:pt x="3" y="239"/>
                  </a:lnTo>
                  <a:lnTo>
                    <a:pt x="7" y="246"/>
                  </a:lnTo>
                  <a:lnTo>
                    <a:pt x="12" y="252"/>
                  </a:lnTo>
                  <a:lnTo>
                    <a:pt x="18" y="257"/>
                  </a:lnTo>
                  <a:lnTo>
                    <a:pt x="25" y="260"/>
                  </a:lnTo>
                  <a:lnTo>
                    <a:pt x="32" y="262"/>
                  </a:lnTo>
                  <a:lnTo>
                    <a:pt x="40" y="263"/>
                  </a:lnTo>
                  <a:lnTo>
                    <a:pt x="260" y="263"/>
                  </a:lnTo>
                  <a:lnTo>
                    <a:pt x="260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" name="Group 4"/>
          <p:cNvGrpSpPr>
            <a:grpSpLocks noChangeAspect="1"/>
          </p:cNvGrpSpPr>
          <p:nvPr/>
        </p:nvGrpSpPr>
        <p:grpSpPr bwMode="auto">
          <a:xfrm>
            <a:off x="9456366" y="3300870"/>
            <a:ext cx="1192584" cy="1126330"/>
            <a:chOff x="2475" y="2315"/>
            <a:chExt cx="216" cy="204"/>
          </a:xfrm>
          <a:solidFill>
            <a:schemeClr val="bg1"/>
          </a:solidFill>
        </p:grpSpPr>
        <p:sp>
          <p:nvSpPr>
            <p:cNvPr id="19" name="Freeform 5"/>
            <p:cNvSpPr>
              <a:spLocks/>
            </p:cNvSpPr>
            <p:nvPr/>
          </p:nvSpPr>
          <p:spPr bwMode="auto">
            <a:xfrm>
              <a:off x="2475" y="2384"/>
              <a:ext cx="216" cy="135"/>
            </a:xfrm>
            <a:custGeom>
              <a:avLst/>
              <a:gdLst>
                <a:gd name="T0" fmla="*/ 385 w 432"/>
                <a:gd name="T1" fmla="*/ 191 h 269"/>
                <a:gd name="T2" fmla="*/ 229 w 432"/>
                <a:gd name="T3" fmla="*/ 131 h 269"/>
                <a:gd name="T4" fmla="*/ 320 w 432"/>
                <a:gd name="T5" fmla="*/ 93 h 269"/>
                <a:gd name="T6" fmla="*/ 320 w 432"/>
                <a:gd name="T7" fmla="*/ 34 h 269"/>
                <a:gd name="T8" fmla="*/ 317 w 432"/>
                <a:gd name="T9" fmla="*/ 21 h 269"/>
                <a:gd name="T10" fmla="*/ 310 w 432"/>
                <a:gd name="T11" fmla="*/ 10 h 269"/>
                <a:gd name="T12" fmla="*/ 299 w 432"/>
                <a:gd name="T13" fmla="*/ 3 h 269"/>
                <a:gd name="T14" fmla="*/ 286 w 432"/>
                <a:gd name="T15" fmla="*/ 0 h 269"/>
                <a:gd name="T16" fmla="*/ 112 w 432"/>
                <a:gd name="T17" fmla="*/ 61 h 269"/>
                <a:gd name="T18" fmla="*/ 113 w 432"/>
                <a:gd name="T19" fmla="*/ 67 h 269"/>
                <a:gd name="T20" fmla="*/ 118 w 432"/>
                <a:gd name="T21" fmla="*/ 79 h 269"/>
                <a:gd name="T22" fmla="*/ 127 w 432"/>
                <a:gd name="T23" fmla="*/ 88 h 269"/>
                <a:gd name="T24" fmla="*/ 139 w 432"/>
                <a:gd name="T25" fmla="*/ 93 h 269"/>
                <a:gd name="T26" fmla="*/ 203 w 432"/>
                <a:gd name="T27" fmla="*/ 93 h 269"/>
                <a:gd name="T28" fmla="*/ 47 w 432"/>
                <a:gd name="T29" fmla="*/ 131 h 269"/>
                <a:gd name="T30" fmla="*/ 0 w 432"/>
                <a:gd name="T31" fmla="*/ 191 h 269"/>
                <a:gd name="T32" fmla="*/ 0 w 432"/>
                <a:gd name="T33" fmla="*/ 243 h 269"/>
                <a:gd name="T34" fmla="*/ 2 w 432"/>
                <a:gd name="T35" fmla="*/ 253 h 269"/>
                <a:gd name="T36" fmla="*/ 7 w 432"/>
                <a:gd name="T37" fmla="*/ 262 h 269"/>
                <a:gd name="T38" fmla="*/ 16 w 432"/>
                <a:gd name="T39" fmla="*/ 267 h 269"/>
                <a:gd name="T40" fmla="*/ 26 w 432"/>
                <a:gd name="T41" fmla="*/ 269 h 269"/>
                <a:gd name="T42" fmla="*/ 121 w 432"/>
                <a:gd name="T43" fmla="*/ 217 h 269"/>
                <a:gd name="T44" fmla="*/ 121 w 432"/>
                <a:gd name="T45" fmla="*/ 212 h 269"/>
                <a:gd name="T46" fmla="*/ 117 w 432"/>
                <a:gd name="T47" fmla="*/ 202 h 269"/>
                <a:gd name="T48" fmla="*/ 110 w 432"/>
                <a:gd name="T49" fmla="*/ 196 h 269"/>
                <a:gd name="T50" fmla="*/ 100 w 432"/>
                <a:gd name="T51" fmla="*/ 191 h 269"/>
                <a:gd name="T52" fmla="*/ 73 w 432"/>
                <a:gd name="T53" fmla="*/ 191 h 269"/>
                <a:gd name="T54" fmla="*/ 203 w 432"/>
                <a:gd name="T55" fmla="*/ 157 h 269"/>
                <a:gd name="T56" fmla="*/ 155 w 432"/>
                <a:gd name="T57" fmla="*/ 191 h 269"/>
                <a:gd name="T58" fmla="*/ 155 w 432"/>
                <a:gd name="T59" fmla="*/ 243 h 269"/>
                <a:gd name="T60" fmla="*/ 158 w 432"/>
                <a:gd name="T61" fmla="*/ 253 h 269"/>
                <a:gd name="T62" fmla="*/ 163 w 432"/>
                <a:gd name="T63" fmla="*/ 262 h 269"/>
                <a:gd name="T64" fmla="*/ 172 w 432"/>
                <a:gd name="T65" fmla="*/ 267 h 269"/>
                <a:gd name="T66" fmla="*/ 181 w 432"/>
                <a:gd name="T67" fmla="*/ 269 h 269"/>
                <a:gd name="T68" fmla="*/ 277 w 432"/>
                <a:gd name="T69" fmla="*/ 217 h 269"/>
                <a:gd name="T70" fmla="*/ 275 w 432"/>
                <a:gd name="T71" fmla="*/ 212 h 269"/>
                <a:gd name="T72" fmla="*/ 272 w 432"/>
                <a:gd name="T73" fmla="*/ 202 h 269"/>
                <a:gd name="T74" fmla="*/ 265 w 432"/>
                <a:gd name="T75" fmla="*/ 196 h 269"/>
                <a:gd name="T76" fmla="*/ 256 w 432"/>
                <a:gd name="T77" fmla="*/ 191 h 269"/>
                <a:gd name="T78" fmla="*/ 229 w 432"/>
                <a:gd name="T79" fmla="*/ 191 h 269"/>
                <a:gd name="T80" fmla="*/ 359 w 432"/>
                <a:gd name="T81" fmla="*/ 157 h 269"/>
                <a:gd name="T82" fmla="*/ 311 w 432"/>
                <a:gd name="T83" fmla="*/ 191 h 269"/>
                <a:gd name="T84" fmla="*/ 311 w 432"/>
                <a:gd name="T85" fmla="*/ 243 h 269"/>
                <a:gd name="T86" fmla="*/ 313 w 432"/>
                <a:gd name="T87" fmla="*/ 253 h 269"/>
                <a:gd name="T88" fmla="*/ 319 w 432"/>
                <a:gd name="T89" fmla="*/ 262 h 269"/>
                <a:gd name="T90" fmla="*/ 326 w 432"/>
                <a:gd name="T91" fmla="*/ 267 h 269"/>
                <a:gd name="T92" fmla="*/ 337 w 432"/>
                <a:gd name="T93" fmla="*/ 269 h 269"/>
                <a:gd name="T94" fmla="*/ 432 w 432"/>
                <a:gd name="T95" fmla="*/ 217 h 269"/>
                <a:gd name="T96" fmla="*/ 431 w 432"/>
                <a:gd name="T97" fmla="*/ 212 h 269"/>
                <a:gd name="T98" fmla="*/ 427 w 432"/>
                <a:gd name="T99" fmla="*/ 202 h 269"/>
                <a:gd name="T100" fmla="*/ 420 w 432"/>
                <a:gd name="T101" fmla="*/ 196 h 269"/>
                <a:gd name="T102" fmla="*/ 411 w 432"/>
                <a:gd name="T103" fmla="*/ 191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2" h="269">
                  <a:moveTo>
                    <a:pt x="406" y="191"/>
                  </a:moveTo>
                  <a:lnTo>
                    <a:pt x="385" y="191"/>
                  </a:lnTo>
                  <a:lnTo>
                    <a:pt x="385" y="131"/>
                  </a:lnTo>
                  <a:lnTo>
                    <a:pt x="229" y="131"/>
                  </a:lnTo>
                  <a:lnTo>
                    <a:pt x="229" y="93"/>
                  </a:lnTo>
                  <a:lnTo>
                    <a:pt x="320" y="93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19" y="27"/>
                  </a:lnTo>
                  <a:lnTo>
                    <a:pt x="317" y="21"/>
                  </a:lnTo>
                  <a:lnTo>
                    <a:pt x="314" y="15"/>
                  </a:lnTo>
                  <a:lnTo>
                    <a:pt x="310" y="10"/>
                  </a:lnTo>
                  <a:lnTo>
                    <a:pt x="305" y="7"/>
                  </a:lnTo>
                  <a:lnTo>
                    <a:pt x="299" y="3"/>
                  </a:lnTo>
                  <a:lnTo>
                    <a:pt x="293" y="1"/>
                  </a:lnTo>
                  <a:lnTo>
                    <a:pt x="286" y="0"/>
                  </a:lnTo>
                  <a:lnTo>
                    <a:pt x="112" y="0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3" y="67"/>
                  </a:lnTo>
                  <a:lnTo>
                    <a:pt x="115" y="74"/>
                  </a:lnTo>
                  <a:lnTo>
                    <a:pt x="118" y="79"/>
                  </a:lnTo>
                  <a:lnTo>
                    <a:pt x="122" y="84"/>
                  </a:lnTo>
                  <a:lnTo>
                    <a:pt x="127" y="88"/>
                  </a:lnTo>
                  <a:lnTo>
                    <a:pt x="133" y="91"/>
                  </a:lnTo>
                  <a:lnTo>
                    <a:pt x="139" y="93"/>
                  </a:lnTo>
                  <a:lnTo>
                    <a:pt x="146" y="93"/>
                  </a:lnTo>
                  <a:lnTo>
                    <a:pt x="203" y="93"/>
                  </a:lnTo>
                  <a:lnTo>
                    <a:pt x="203" y="131"/>
                  </a:lnTo>
                  <a:lnTo>
                    <a:pt x="47" y="131"/>
                  </a:lnTo>
                  <a:lnTo>
                    <a:pt x="47" y="191"/>
                  </a:lnTo>
                  <a:lnTo>
                    <a:pt x="0" y="191"/>
                  </a:lnTo>
                  <a:lnTo>
                    <a:pt x="0" y="243"/>
                  </a:lnTo>
                  <a:lnTo>
                    <a:pt x="0" y="243"/>
                  </a:lnTo>
                  <a:lnTo>
                    <a:pt x="1" y="248"/>
                  </a:lnTo>
                  <a:lnTo>
                    <a:pt x="2" y="253"/>
                  </a:lnTo>
                  <a:lnTo>
                    <a:pt x="5" y="257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6" y="267"/>
                  </a:lnTo>
                  <a:lnTo>
                    <a:pt x="21" y="268"/>
                  </a:lnTo>
                  <a:lnTo>
                    <a:pt x="26" y="269"/>
                  </a:lnTo>
                  <a:lnTo>
                    <a:pt x="121" y="269"/>
                  </a:lnTo>
                  <a:lnTo>
                    <a:pt x="121" y="217"/>
                  </a:lnTo>
                  <a:lnTo>
                    <a:pt x="121" y="217"/>
                  </a:lnTo>
                  <a:lnTo>
                    <a:pt x="121" y="212"/>
                  </a:lnTo>
                  <a:lnTo>
                    <a:pt x="119" y="207"/>
                  </a:lnTo>
                  <a:lnTo>
                    <a:pt x="117" y="202"/>
                  </a:lnTo>
                  <a:lnTo>
                    <a:pt x="113" y="199"/>
                  </a:lnTo>
                  <a:lnTo>
                    <a:pt x="110" y="196"/>
                  </a:lnTo>
                  <a:lnTo>
                    <a:pt x="106" y="194"/>
                  </a:lnTo>
                  <a:lnTo>
                    <a:pt x="100" y="191"/>
                  </a:lnTo>
                  <a:lnTo>
                    <a:pt x="95" y="191"/>
                  </a:lnTo>
                  <a:lnTo>
                    <a:pt x="73" y="191"/>
                  </a:lnTo>
                  <a:lnTo>
                    <a:pt x="73" y="157"/>
                  </a:lnTo>
                  <a:lnTo>
                    <a:pt x="203" y="157"/>
                  </a:lnTo>
                  <a:lnTo>
                    <a:pt x="203" y="191"/>
                  </a:lnTo>
                  <a:lnTo>
                    <a:pt x="155" y="191"/>
                  </a:lnTo>
                  <a:lnTo>
                    <a:pt x="155" y="243"/>
                  </a:lnTo>
                  <a:lnTo>
                    <a:pt x="155" y="243"/>
                  </a:lnTo>
                  <a:lnTo>
                    <a:pt x="157" y="248"/>
                  </a:lnTo>
                  <a:lnTo>
                    <a:pt x="158" y="253"/>
                  </a:lnTo>
                  <a:lnTo>
                    <a:pt x="160" y="257"/>
                  </a:lnTo>
                  <a:lnTo>
                    <a:pt x="163" y="262"/>
                  </a:lnTo>
                  <a:lnTo>
                    <a:pt x="167" y="264"/>
                  </a:lnTo>
                  <a:lnTo>
                    <a:pt x="172" y="267"/>
                  </a:lnTo>
                  <a:lnTo>
                    <a:pt x="176" y="268"/>
                  </a:lnTo>
                  <a:lnTo>
                    <a:pt x="181" y="269"/>
                  </a:lnTo>
                  <a:lnTo>
                    <a:pt x="277" y="269"/>
                  </a:lnTo>
                  <a:lnTo>
                    <a:pt x="277" y="217"/>
                  </a:lnTo>
                  <a:lnTo>
                    <a:pt x="277" y="217"/>
                  </a:lnTo>
                  <a:lnTo>
                    <a:pt x="275" y="212"/>
                  </a:lnTo>
                  <a:lnTo>
                    <a:pt x="274" y="207"/>
                  </a:lnTo>
                  <a:lnTo>
                    <a:pt x="272" y="202"/>
                  </a:lnTo>
                  <a:lnTo>
                    <a:pt x="269" y="199"/>
                  </a:lnTo>
                  <a:lnTo>
                    <a:pt x="265" y="196"/>
                  </a:lnTo>
                  <a:lnTo>
                    <a:pt x="260" y="194"/>
                  </a:lnTo>
                  <a:lnTo>
                    <a:pt x="256" y="191"/>
                  </a:lnTo>
                  <a:lnTo>
                    <a:pt x="251" y="191"/>
                  </a:lnTo>
                  <a:lnTo>
                    <a:pt x="229" y="191"/>
                  </a:lnTo>
                  <a:lnTo>
                    <a:pt x="229" y="157"/>
                  </a:lnTo>
                  <a:lnTo>
                    <a:pt x="359" y="157"/>
                  </a:lnTo>
                  <a:lnTo>
                    <a:pt x="359" y="191"/>
                  </a:lnTo>
                  <a:lnTo>
                    <a:pt x="311" y="191"/>
                  </a:lnTo>
                  <a:lnTo>
                    <a:pt x="311" y="243"/>
                  </a:lnTo>
                  <a:lnTo>
                    <a:pt x="311" y="243"/>
                  </a:lnTo>
                  <a:lnTo>
                    <a:pt x="311" y="248"/>
                  </a:lnTo>
                  <a:lnTo>
                    <a:pt x="313" y="253"/>
                  </a:lnTo>
                  <a:lnTo>
                    <a:pt x="315" y="257"/>
                  </a:lnTo>
                  <a:lnTo>
                    <a:pt x="319" y="262"/>
                  </a:lnTo>
                  <a:lnTo>
                    <a:pt x="322" y="264"/>
                  </a:lnTo>
                  <a:lnTo>
                    <a:pt x="326" y="267"/>
                  </a:lnTo>
                  <a:lnTo>
                    <a:pt x="332" y="268"/>
                  </a:lnTo>
                  <a:lnTo>
                    <a:pt x="337" y="269"/>
                  </a:lnTo>
                  <a:lnTo>
                    <a:pt x="432" y="269"/>
                  </a:lnTo>
                  <a:lnTo>
                    <a:pt x="432" y="217"/>
                  </a:lnTo>
                  <a:lnTo>
                    <a:pt x="432" y="217"/>
                  </a:lnTo>
                  <a:lnTo>
                    <a:pt x="431" y="212"/>
                  </a:lnTo>
                  <a:lnTo>
                    <a:pt x="430" y="207"/>
                  </a:lnTo>
                  <a:lnTo>
                    <a:pt x="427" y="202"/>
                  </a:lnTo>
                  <a:lnTo>
                    <a:pt x="425" y="199"/>
                  </a:lnTo>
                  <a:lnTo>
                    <a:pt x="420" y="196"/>
                  </a:lnTo>
                  <a:lnTo>
                    <a:pt x="416" y="194"/>
                  </a:lnTo>
                  <a:lnTo>
                    <a:pt x="411" y="191"/>
                  </a:lnTo>
                  <a:lnTo>
                    <a:pt x="406" y="1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2475" y="2384"/>
              <a:ext cx="216" cy="135"/>
            </a:xfrm>
            <a:custGeom>
              <a:avLst/>
              <a:gdLst>
                <a:gd name="T0" fmla="*/ 385 w 432"/>
                <a:gd name="T1" fmla="*/ 191 h 269"/>
                <a:gd name="T2" fmla="*/ 229 w 432"/>
                <a:gd name="T3" fmla="*/ 131 h 269"/>
                <a:gd name="T4" fmla="*/ 320 w 432"/>
                <a:gd name="T5" fmla="*/ 93 h 269"/>
                <a:gd name="T6" fmla="*/ 320 w 432"/>
                <a:gd name="T7" fmla="*/ 34 h 269"/>
                <a:gd name="T8" fmla="*/ 317 w 432"/>
                <a:gd name="T9" fmla="*/ 21 h 269"/>
                <a:gd name="T10" fmla="*/ 310 w 432"/>
                <a:gd name="T11" fmla="*/ 10 h 269"/>
                <a:gd name="T12" fmla="*/ 299 w 432"/>
                <a:gd name="T13" fmla="*/ 3 h 269"/>
                <a:gd name="T14" fmla="*/ 286 w 432"/>
                <a:gd name="T15" fmla="*/ 0 h 269"/>
                <a:gd name="T16" fmla="*/ 112 w 432"/>
                <a:gd name="T17" fmla="*/ 61 h 269"/>
                <a:gd name="T18" fmla="*/ 113 w 432"/>
                <a:gd name="T19" fmla="*/ 67 h 269"/>
                <a:gd name="T20" fmla="*/ 118 w 432"/>
                <a:gd name="T21" fmla="*/ 79 h 269"/>
                <a:gd name="T22" fmla="*/ 127 w 432"/>
                <a:gd name="T23" fmla="*/ 88 h 269"/>
                <a:gd name="T24" fmla="*/ 139 w 432"/>
                <a:gd name="T25" fmla="*/ 93 h 269"/>
                <a:gd name="T26" fmla="*/ 203 w 432"/>
                <a:gd name="T27" fmla="*/ 93 h 269"/>
                <a:gd name="T28" fmla="*/ 47 w 432"/>
                <a:gd name="T29" fmla="*/ 131 h 269"/>
                <a:gd name="T30" fmla="*/ 0 w 432"/>
                <a:gd name="T31" fmla="*/ 191 h 269"/>
                <a:gd name="T32" fmla="*/ 0 w 432"/>
                <a:gd name="T33" fmla="*/ 243 h 269"/>
                <a:gd name="T34" fmla="*/ 2 w 432"/>
                <a:gd name="T35" fmla="*/ 253 h 269"/>
                <a:gd name="T36" fmla="*/ 7 w 432"/>
                <a:gd name="T37" fmla="*/ 262 h 269"/>
                <a:gd name="T38" fmla="*/ 16 w 432"/>
                <a:gd name="T39" fmla="*/ 267 h 269"/>
                <a:gd name="T40" fmla="*/ 26 w 432"/>
                <a:gd name="T41" fmla="*/ 269 h 269"/>
                <a:gd name="T42" fmla="*/ 121 w 432"/>
                <a:gd name="T43" fmla="*/ 217 h 269"/>
                <a:gd name="T44" fmla="*/ 121 w 432"/>
                <a:gd name="T45" fmla="*/ 212 h 269"/>
                <a:gd name="T46" fmla="*/ 117 w 432"/>
                <a:gd name="T47" fmla="*/ 202 h 269"/>
                <a:gd name="T48" fmla="*/ 110 w 432"/>
                <a:gd name="T49" fmla="*/ 196 h 269"/>
                <a:gd name="T50" fmla="*/ 100 w 432"/>
                <a:gd name="T51" fmla="*/ 191 h 269"/>
                <a:gd name="T52" fmla="*/ 73 w 432"/>
                <a:gd name="T53" fmla="*/ 191 h 269"/>
                <a:gd name="T54" fmla="*/ 203 w 432"/>
                <a:gd name="T55" fmla="*/ 157 h 269"/>
                <a:gd name="T56" fmla="*/ 155 w 432"/>
                <a:gd name="T57" fmla="*/ 191 h 269"/>
                <a:gd name="T58" fmla="*/ 155 w 432"/>
                <a:gd name="T59" fmla="*/ 243 h 269"/>
                <a:gd name="T60" fmla="*/ 158 w 432"/>
                <a:gd name="T61" fmla="*/ 253 h 269"/>
                <a:gd name="T62" fmla="*/ 163 w 432"/>
                <a:gd name="T63" fmla="*/ 262 h 269"/>
                <a:gd name="T64" fmla="*/ 172 w 432"/>
                <a:gd name="T65" fmla="*/ 267 h 269"/>
                <a:gd name="T66" fmla="*/ 181 w 432"/>
                <a:gd name="T67" fmla="*/ 269 h 269"/>
                <a:gd name="T68" fmla="*/ 277 w 432"/>
                <a:gd name="T69" fmla="*/ 217 h 269"/>
                <a:gd name="T70" fmla="*/ 275 w 432"/>
                <a:gd name="T71" fmla="*/ 212 h 269"/>
                <a:gd name="T72" fmla="*/ 272 w 432"/>
                <a:gd name="T73" fmla="*/ 202 h 269"/>
                <a:gd name="T74" fmla="*/ 265 w 432"/>
                <a:gd name="T75" fmla="*/ 196 h 269"/>
                <a:gd name="T76" fmla="*/ 256 w 432"/>
                <a:gd name="T77" fmla="*/ 191 h 269"/>
                <a:gd name="T78" fmla="*/ 229 w 432"/>
                <a:gd name="T79" fmla="*/ 191 h 269"/>
                <a:gd name="T80" fmla="*/ 359 w 432"/>
                <a:gd name="T81" fmla="*/ 157 h 269"/>
                <a:gd name="T82" fmla="*/ 311 w 432"/>
                <a:gd name="T83" fmla="*/ 191 h 269"/>
                <a:gd name="T84" fmla="*/ 311 w 432"/>
                <a:gd name="T85" fmla="*/ 243 h 269"/>
                <a:gd name="T86" fmla="*/ 313 w 432"/>
                <a:gd name="T87" fmla="*/ 253 h 269"/>
                <a:gd name="T88" fmla="*/ 319 w 432"/>
                <a:gd name="T89" fmla="*/ 262 h 269"/>
                <a:gd name="T90" fmla="*/ 326 w 432"/>
                <a:gd name="T91" fmla="*/ 267 h 269"/>
                <a:gd name="T92" fmla="*/ 337 w 432"/>
                <a:gd name="T93" fmla="*/ 269 h 269"/>
                <a:gd name="T94" fmla="*/ 432 w 432"/>
                <a:gd name="T95" fmla="*/ 217 h 269"/>
                <a:gd name="T96" fmla="*/ 431 w 432"/>
                <a:gd name="T97" fmla="*/ 212 h 269"/>
                <a:gd name="T98" fmla="*/ 427 w 432"/>
                <a:gd name="T99" fmla="*/ 202 h 269"/>
                <a:gd name="T100" fmla="*/ 420 w 432"/>
                <a:gd name="T101" fmla="*/ 196 h 269"/>
                <a:gd name="T102" fmla="*/ 411 w 432"/>
                <a:gd name="T103" fmla="*/ 191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2" h="269">
                  <a:moveTo>
                    <a:pt x="406" y="191"/>
                  </a:moveTo>
                  <a:lnTo>
                    <a:pt x="385" y="191"/>
                  </a:lnTo>
                  <a:lnTo>
                    <a:pt x="385" y="131"/>
                  </a:lnTo>
                  <a:lnTo>
                    <a:pt x="229" y="131"/>
                  </a:lnTo>
                  <a:lnTo>
                    <a:pt x="229" y="93"/>
                  </a:lnTo>
                  <a:lnTo>
                    <a:pt x="320" y="93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19" y="27"/>
                  </a:lnTo>
                  <a:lnTo>
                    <a:pt x="317" y="21"/>
                  </a:lnTo>
                  <a:lnTo>
                    <a:pt x="314" y="15"/>
                  </a:lnTo>
                  <a:lnTo>
                    <a:pt x="310" y="10"/>
                  </a:lnTo>
                  <a:lnTo>
                    <a:pt x="305" y="7"/>
                  </a:lnTo>
                  <a:lnTo>
                    <a:pt x="299" y="3"/>
                  </a:lnTo>
                  <a:lnTo>
                    <a:pt x="293" y="1"/>
                  </a:lnTo>
                  <a:lnTo>
                    <a:pt x="286" y="0"/>
                  </a:lnTo>
                  <a:lnTo>
                    <a:pt x="112" y="0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3" y="67"/>
                  </a:lnTo>
                  <a:lnTo>
                    <a:pt x="115" y="74"/>
                  </a:lnTo>
                  <a:lnTo>
                    <a:pt x="118" y="79"/>
                  </a:lnTo>
                  <a:lnTo>
                    <a:pt x="122" y="84"/>
                  </a:lnTo>
                  <a:lnTo>
                    <a:pt x="127" y="88"/>
                  </a:lnTo>
                  <a:lnTo>
                    <a:pt x="133" y="91"/>
                  </a:lnTo>
                  <a:lnTo>
                    <a:pt x="139" y="93"/>
                  </a:lnTo>
                  <a:lnTo>
                    <a:pt x="146" y="93"/>
                  </a:lnTo>
                  <a:lnTo>
                    <a:pt x="203" y="93"/>
                  </a:lnTo>
                  <a:lnTo>
                    <a:pt x="203" y="131"/>
                  </a:lnTo>
                  <a:lnTo>
                    <a:pt x="47" y="131"/>
                  </a:lnTo>
                  <a:lnTo>
                    <a:pt x="47" y="191"/>
                  </a:lnTo>
                  <a:lnTo>
                    <a:pt x="0" y="191"/>
                  </a:lnTo>
                  <a:lnTo>
                    <a:pt x="0" y="243"/>
                  </a:lnTo>
                  <a:lnTo>
                    <a:pt x="0" y="243"/>
                  </a:lnTo>
                  <a:lnTo>
                    <a:pt x="1" y="248"/>
                  </a:lnTo>
                  <a:lnTo>
                    <a:pt x="2" y="253"/>
                  </a:lnTo>
                  <a:lnTo>
                    <a:pt x="5" y="257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6" y="267"/>
                  </a:lnTo>
                  <a:lnTo>
                    <a:pt x="21" y="268"/>
                  </a:lnTo>
                  <a:lnTo>
                    <a:pt x="26" y="269"/>
                  </a:lnTo>
                  <a:lnTo>
                    <a:pt x="121" y="269"/>
                  </a:lnTo>
                  <a:lnTo>
                    <a:pt x="121" y="217"/>
                  </a:lnTo>
                  <a:lnTo>
                    <a:pt x="121" y="217"/>
                  </a:lnTo>
                  <a:lnTo>
                    <a:pt x="121" y="212"/>
                  </a:lnTo>
                  <a:lnTo>
                    <a:pt x="119" y="207"/>
                  </a:lnTo>
                  <a:lnTo>
                    <a:pt x="117" y="202"/>
                  </a:lnTo>
                  <a:lnTo>
                    <a:pt x="113" y="199"/>
                  </a:lnTo>
                  <a:lnTo>
                    <a:pt x="110" y="196"/>
                  </a:lnTo>
                  <a:lnTo>
                    <a:pt x="106" y="194"/>
                  </a:lnTo>
                  <a:lnTo>
                    <a:pt x="100" y="191"/>
                  </a:lnTo>
                  <a:lnTo>
                    <a:pt x="95" y="191"/>
                  </a:lnTo>
                  <a:lnTo>
                    <a:pt x="73" y="191"/>
                  </a:lnTo>
                  <a:lnTo>
                    <a:pt x="73" y="157"/>
                  </a:lnTo>
                  <a:lnTo>
                    <a:pt x="203" y="157"/>
                  </a:lnTo>
                  <a:lnTo>
                    <a:pt x="203" y="191"/>
                  </a:lnTo>
                  <a:lnTo>
                    <a:pt x="155" y="191"/>
                  </a:lnTo>
                  <a:lnTo>
                    <a:pt x="155" y="243"/>
                  </a:lnTo>
                  <a:lnTo>
                    <a:pt x="155" y="243"/>
                  </a:lnTo>
                  <a:lnTo>
                    <a:pt x="157" y="248"/>
                  </a:lnTo>
                  <a:lnTo>
                    <a:pt x="158" y="253"/>
                  </a:lnTo>
                  <a:lnTo>
                    <a:pt x="160" y="257"/>
                  </a:lnTo>
                  <a:lnTo>
                    <a:pt x="163" y="262"/>
                  </a:lnTo>
                  <a:lnTo>
                    <a:pt x="167" y="264"/>
                  </a:lnTo>
                  <a:lnTo>
                    <a:pt x="172" y="267"/>
                  </a:lnTo>
                  <a:lnTo>
                    <a:pt x="176" y="268"/>
                  </a:lnTo>
                  <a:lnTo>
                    <a:pt x="181" y="269"/>
                  </a:lnTo>
                  <a:lnTo>
                    <a:pt x="277" y="269"/>
                  </a:lnTo>
                  <a:lnTo>
                    <a:pt x="277" y="217"/>
                  </a:lnTo>
                  <a:lnTo>
                    <a:pt x="277" y="217"/>
                  </a:lnTo>
                  <a:lnTo>
                    <a:pt x="275" y="212"/>
                  </a:lnTo>
                  <a:lnTo>
                    <a:pt x="274" y="207"/>
                  </a:lnTo>
                  <a:lnTo>
                    <a:pt x="272" y="202"/>
                  </a:lnTo>
                  <a:lnTo>
                    <a:pt x="269" y="199"/>
                  </a:lnTo>
                  <a:lnTo>
                    <a:pt x="265" y="196"/>
                  </a:lnTo>
                  <a:lnTo>
                    <a:pt x="260" y="194"/>
                  </a:lnTo>
                  <a:lnTo>
                    <a:pt x="256" y="191"/>
                  </a:lnTo>
                  <a:lnTo>
                    <a:pt x="251" y="191"/>
                  </a:lnTo>
                  <a:lnTo>
                    <a:pt x="229" y="191"/>
                  </a:lnTo>
                  <a:lnTo>
                    <a:pt x="229" y="157"/>
                  </a:lnTo>
                  <a:lnTo>
                    <a:pt x="359" y="157"/>
                  </a:lnTo>
                  <a:lnTo>
                    <a:pt x="359" y="191"/>
                  </a:lnTo>
                  <a:lnTo>
                    <a:pt x="311" y="191"/>
                  </a:lnTo>
                  <a:lnTo>
                    <a:pt x="311" y="243"/>
                  </a:lnTo>
                  <a:lnTo>
                    <a:pt x="311" y="243"/>
                  </a:lnTo>
                  <a:lnTo>
                    <a:pt x="311" y="248"/>
                  </a:lnTo>
                  <a:lnTo>
                    <a:pt x="313" y="253"/>
                  </a:lnTo>
                  <a:lnTo>
                    <a:pt x="315" y="257"/>
                  </a:lnTo>
                  <a:lnTo>
                    <a:pt x="319" y="262"/>
                  </a:lnTo>
                  <a:lnTo>
                    <a:pt x="322" y="264"/>
                  </a:lnTo>
                  <a:lnTo>
                    <a:pt x="326" y="267"/>
                  </a:lnTo>
                  <a:lnTo>
                    <a:pt x="332" y="268"/>
                  </a:lnTo>
                  <a:lnTo>
                    <a:pt x="337" y="269"/>
                  </a:lnTo>
                  <a:lnTo>
                    <a:pt x="432" y="269"/>
                  </a:lnTo>
                  <a:lnTo>
                    <a:pt x="432" y="217"/>
                  </a:lnTo>
                  <a:lnTo>
                    <a:pt x="432" y="217"/>
                  </a:lnTo>
                  <a:lnTo>
                    <a:pt x="431" y="212"/>
                  </a:lnTo>
                  <a:lnTo>
                    <a:pt x="430" y="207"/>
                  </a:lnTo>
                  <a:lnTo>
                    <a:pt x="427" y="202"/>
                  </a:lnTo>
                  <a:lnTo>
                    <a:pt x="425" y="199"/>
                  </a:lnTo>
                  <a:lnTo>
                    <a:pt x="420" y="196"/>
                  </a:lnTo>
                  <a:lnTo>
                    <a:pt x="416" y="194"/>
                  </a:lnTo>
                  <a:lnTo>
                    <a:pt x="411" y="191"/>
                  </a:lnTo>
                  <a:lnTo>
                    <a:pt x="406" y="19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7"/>
            <p:cNvSpPr>
              <a:spLocks/>
            </p:cNvSpPr>
            <p:nvPr/>
          </p:nvSpPr>
          <p:spPr bwMode="auto">
            <a:xfrm>
              <a:off x="2555" y="2315"/>
              <a:ext cx="56" cy="61"/>
            </a:xfrm>
            <a:custGeom>
              <a:avLst/>
              <a:gdLst>
                <a:gd name="T0" fmla="*/ 56 w 112"/>
                <a:gd name="T1" fmla="*/ 121 h 121"/>
                <a:gd name="T2" fmla="*/ 56 w 112"/>
                <a:gd name="T3" fmla="*/ 121 h 121"/>
                <a:gd name="T4" fmla="*/ 70 w 112"/>
                <a:gd name="T5" fmla="*/ 120 h 121"/>
                <a:gd name="T6" fmla="*/ 82 w 112"/>
                <a:gd name="T7" fmla="*/ 117 h 121"/>
                <a:gd name="T8" fmla="*/ 92 w 112"/>
                <a:gd name="T9" fmla="*/ 112 h 121"/>
                <a:gd name="T10" fmla="*/ 96 w 112"/>
                <a:gd name="T11" fmla="*/ 110 h 121"/>
                <a:gd name="T12" fmla="*/ 99 w 112"/>
                <a:gd name="T13" fmla="*/ 107 h 121"/>
                <a:gd name="T14" fmla="*/ 102 w 112"/>
                <a:gd name="T15" fmla="*/ 102 h 121"/>
                <a:gd name="T16" fmla="*/ 106 w 112"/>
                <a:gd name="T17" fmla="*/ 98 h 121"/>
                <a:gd name="T18" fmla="*/ 110 w 112"/>
                <a:gd name="T19" fmla="*/ 87 h 121"/>
                <a:gd name="T20" fmla="*/ 112 w 112"/>
                <a:gd name="T21" fmla="*/ 75 h 121"/>
                <a:gd name="T22" fmla="*/ 112 w 112"/>
                <a:gd name="T23" fmla="*/ 60 h 121"/>
                <a:gd name="T24" fmla="*/ 112 w 112"/>
                <a:gd name="T25" fmla="*/ 60 h 121"/>
                <a:gd name="T26" fmla="*/ 112 w 112"/>
                <a:gd name="T27" fmla="*/ 45 h 121"/>
                <a:gd name="T28" fmla="*/ 110 w 112"/>
                <a:gd name="T29" fmla="*/ 33 h 121"/>
                <a:gd name="T30" fmla="*/ 106 w 112"/>
                <a:gd name="T31" fmla="*/ 22 h 121"/>
                <a:gd name="T32" fmla="*/ 102 w 112"/>
                <a:gd name="T33" fmla="*/ 18 h 121"/>
                <a:gd name="T34" fmla="*/ 99 w 112"/>
                <a:gd name="T35" fmla="*/ 14 h 121"/>
                <a:gd name="T36" fmla="*/ 96 w 112"/>
                <a:gd name="T37" fmla="*/ 11 h 121"/>
                <a:gd name="T38" fmla="*/ 92 w 112"/>
                <a:gd name="T39" fmla="*/ 8 h 121"/>
                <a:gd name="T40" fmla="*/ 82 w 112"/>
                <a:gd name="T41" fmla="*/ 4 h 121"/>
                <a:gd name="T42" fmla="*/ 70 w 112"/>
                <a:gd name="T43" fmla="*/ 1 h 121"/>
                <a:gd name="T44" fmla="*/ 56 w 112"/>
                <a:gd name="T45" fmla="*/ 0 h 121"/>
                <a:gd name="T46" fmla="*/ 56 w 112"/>
                <a:gd name="T47" fmla="*/ 0 h 121"/>
                <a:gd name="T48" fmla="*/ 42 w 112"/>
                <a:gd name="T49" fmla="*/ 1 h 121"/>
                <a:gd name="T50" fmla="*/ 30 w 112"/>
                <a:gd name="T51" fmla="*/ 4 h 121"/>
                <a:gd name="T52" fmla="*/ 20 w 112"/>
                <a:gd name="T53" fmla="*/ 8 h 121"/>
                <a:gd name="T54" fmla="*/ 16 w 112"/>
                <a:gd name="T55" fmla="*/ 11 h 121"/>
                <a:gd name="T56" fmla="*/ 13 w 112"/>
                <a:gd name="T57" fmla="*/ 14 h 121"/>
                <a:gd name="T58" fmla="*/ 10 w 112"/>
                <a:gd name="T59" fmla="*/ 18 h 121"/>
                <a:gd name="T60" fmla="*/ 6 w 112"/>
                <a:gd name="T61" fmla="*/ 22 h 121"/>
                <a:gd name="T62" fmla="*/ 3 w 112"/>
                <a:gd name="T63" fmla="*/ 33 h 121"/>
                <a:gd name="T64" fmla="*/ 0 w 112"/>
                <a:gd name="T65" fmla="*/ 45 h 121"/>
                <a:gd name="T66" fmla="*/ 0 w 112"/>
                <a:gd name="T67" fmla="*/ 60 h 121"/>
                <a:gd name="T68" fmla="*/ 0 w 112"/>
                <a:gd name="T69" fmla="*/ 60 h 121"/>
                <a:gd name="T70" fmla="*/ 0 w 112"/>
                <a:gd name="T71" fmla="*/ 75 h 121"/>
                <a:gd name="T72" fmla="*/ 3 w 112"/>
                <a:gd name="T73" fmla="*/ 87 h 121"/>
                <a:gd name="T74" fmla="*/ 6 w 112"/>
                <a:gd name="T75" fmla="*/ 98 h 121"/>
                <a:gd name="T76" fmla="*/ 10 w 112"/>
                <a:gd name="T77" fmla="*/ 102 h 121"/>
                <a:gd name="T78" fmla="*/ 13 w 112"/>
                <a:gd name="T79" fmla="*/ 107 h 121"/>
                <a:gd name="T80" fmla="*/ 16 w 112"/>
                <a:gd name="T81" fmla="*/ 110 h 121"/>
                <a:gd name="T82" fmla="*/ 20 w 112"/>
                <a:gd name="T83" fmla="*/ 112 h 121"/>
                <a:gd name="T84" fmla="*/ 30 w 112"/>
                <a:gd name="T85" fmla="*/ 117 h 121"/>
                <a:gd name="T86" fmla="*/ 42 w 112"/>
                <a:gd name="T87" fmla="*/ 120 h 121"/>
                <a:gd name="T88" fmla="*/ 56 w 112"/>
                <a:gd name="T8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2" h="121">
                  <a:moveTo>
                    <a:pt x="56" y="121"/>
                  </a:moveTo>
                  <a:lnTo>
                    <a:pt x="56" y="121"/>
                  </a:lnTo>
                  <a:lnTo>
                    <a:pt x="70" y="120"/>
                  </a:lnTo>
                  <a:lnTo>
                    <a:pt x="82" y="117"/>
                  </a:lnTo>
                  <a:lnTo>
                    <a:pt x="92" y="112"/>
                  </a:lnTo>
                  <a:lnTo>
                    <a:pt x="96" y="110"/>
                  </a:lnTo>
                  <a:lnTo>
                    <a:pt x="99" y="107"/>
                  </a:lnTo>
                  <a:lnTo>
                    <a:pt x="102" y="102"/>
                  </a:lnTo>
                  <a:lnTo>
                    <a:pt x="106" y="98"/>
                  </a:lnTo>
                  <a:lnTo>
                    <a:pt x="110" y="87"/>
                  </a:lnTo>
                  <a:lnTo>
                    <a:pt x="112" y="75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45"/>
                  </a:lnTo>
                  <a:lnTo>
                    <a:pt x="110" y="33"/>
                  </a:lnTo>
                  <a:lnTo>
                    <a:pt x="106" y="22"/>
                  </a:lnTo>
                  <a:lnTo>
                    <a:pt x="102" y="18"/>
                  </a:lnTo>
                  <a:lnTo>
                    <a:pt x="99" y="14"/>
                  </a:lnTo>
                  <a:lnTo>
                    <a:pt x="96" y="11"/>
                  </a:lnTo>
                  <a:lnTo>
                    <a:pt x="92" y="8"/>
                  </a:lnTo>
                  <a:lnTo>
                    <a:pt x="82" y="4"/>
                  </a:lnTo>
                  <a:lnTo>
                    <a:pt x="70" y="1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42" y="1"/>
                  </a:lnTo>
                  <a:lnTo>
                    <a:pt x="30" y="4"/>
                  </a:lnTo>
                  <a:lnTo>
                    <a:pt x="20" y="8"/>
                  </a:lnTo>
                  <a:lnTo>
                    <a:pt x="16" y="11"/>
                  </a:lnTo>
                  <a:lnTo>
                    <a:pt x="13" y="14"/>
                  </a:lnTo>
                  <a:lnTo>
                    <a:pt x="10" y="18"/>
                  </a:lnTo>
                  <a:lnTo>
                    <a:pt x="6" y="22"/>
                  </a:lnTo>
                  <a:lnTo>
                    <a:pt x="3" y="33"/>
                  </a:lnTo>
                  <a:lnTo>
                    <a:pt x="0" y="45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75"/>
                  </a:lnTo>
                  <a:lnTo>
                    <a:pt x="3" y="87"/>
                  </a:lnTo>
                  <a:lnTo>
                    <a:pt x="6" y="98"/>
                  </a:lnTo>
                  <a:lnTo>
                    <a:pt x="10" y="102"/>
                  </a:lnTo>
                  <a:lnTo>
                    <a:pt x="13" y="107"/>
                  </a:lnTo>
                  <a:lnTo>
                    <a:pt x="16" y="110"/>
                  </a:lnTo>
                  <a:lnTo>
                    <a:pt x="20" y="112"/>
                  </a:lnTo>
                  <a:lnTo>
                    <a:pt x="30" y="117"/>
                  </a:lnTo>
                  <a:lnTo>
                    <a:pt x="42" y="120"/>
                  </a:lnTo>
                  <a:lnTo>
                    <a:pt x="56" y="1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8"/>
            <p:cNvSpPr>
              <a:spLocks/>
            </p:cNvSpPr>
            <p:nvPr/>
          </p:nvSpPr>
          <p:spPr bwMode="auto">
            <a:xfrm>
              <a:off x="2555" y="2315"/>
              <a:ext cx="56" cy="61"/>
            </a:xfrm>
            <a:custGeom>
              <a:avLst/>
              <a:gdLst>
                <a:gd name="T0" fmla="*/ 56 w 112"/>
                <a:gd name="T1" fmla="*/ 121 h 121"/>
                <a:gd name="T2" fmla="*/ 56 w 112"/>
                <a:gd name="T3" fmla="*/ 121 h 121"/>
                <a:gd name="T4" fmla="*/ 70 w 112"/>
                <a:gd name="T5" fmla="*/ 120 h 121"/>
                <a:gd name="T6" fmla="*/ 82 w 112"/>
                <a:gd name="T7" fmla="*/ 117 h 121"/>
                <a:gd name="T8" fmla="*/ 92 w 112"/>
                <a:gd name="T9" fmla="*/ 112 h 121"/>
                <a:gd name="T10" fmla="*/ 96 w 112"/>
                <a:gd name="T11" fmla="*/ 110 h 121"/>
                <a:gd name="T12" fmla="*/ 99 w 112"/>
                <a:gd name="T13" fmla="*/ 107 h 121"/>
                <a:gd name="T14" fmla="*/ 102 w 112"/>
                <a:gd name="T15" fmla="*/ 102 h 121"/>
                <a:gd name="T16" fmla="*/ 106 w 112"/>
                <a:gd name="T17" fmla="*/ 98 h 121"/>
                <a:gd name="T18" fmla="*/ 110 w 112"/>
                <a:gd name="T19" fmla="*/ 87 h 121"/>
                <a:gd name="T20" fmla="*/ 112 w 112"/>
                <a:gd name="T21" fmla="*/ 75 h 121"/>
                <a:gd name="T22" fmla="*/ 112 w 112"/>
                <a:gd name="T23" fmla="*/ 60 h 121"/>
                <a:gd name="T24" fmla="*/ 112 w 112"/>
                <a:gd name="T25" fmla="*/ 60 h 121"/>
                <a:gd name="T26" fmla="*/ 112 w 112"/>
                <a:gd name="T27" fmla="*/ 45 h 121"/>
                <a:gd name="T28" fmla="*/ 110 w 112"/>
                <a:gd name="T29" fmla="*/ 33 h 121"/>
                <a:gd name="T30" fmla="*/ 106 w 112"/>
                <a:gd name="T31" fmla="*/ 22 h 121"/>
                <a:gd name="T32" fmla="*/ 102 w 112"/>
                <a:gd name="T33" fmla="*/ 18 h 121"/>
                <a:gd name="T34" fmla="*/ 99 w 112"/>
                <a:gd name="T35" fmla="*/ 14 h 121"/>
                <a:gd name="T36" fmla="*/ 96 w 112"/>
                <a:gd name="T37" fmla="*/ 11 h 121"/>
                <a:gd name="T38" fmla="*/ 92 w 112"/>
                <a:gd name="T39" fmla="*/ 8 h 121"/>
                <a:gd name="T40" fmla="*/ 82 w 112"/>
                <a:gd name="T41" fmla="*/ 4 h 121"/>
                <a:gd name="T42" fmla="*/ 70 w 112"/>
                <a:gd name="T43" fmla="*/ 1 h 121"/>
                <a:gd name="T44" fmla="*/ 56 w 112"/>
                <a:gd name="T45" fmla="*/ 0 h 121"/>
                <a:gd name="T46" fmla="*/ 56 w 112"/>
                <a:gd name="T47" fmla="*/ 0 h 121"/>
                <a:gd name="T48" fmla="*/ 42 w 112"/>
                <a:gd name="T49" fmla="*/ 1 h 121"/>
                <a:gd name="T50" fmla="*/ 30 w 112"/>
                <a:gd name="T51" fmla="*/ 4 h 121"/>
                <a:gd name="T52" fmla="*/ 20 w 112"/>
                <a:gd name="T53" fmla="*/ 8 h 121"/>
                <a:gd name="T54" fmla="*/ 16 w 112"/>
                <a:gd name="T55" fmla="*/ 11 h 121"/>
                <a:gd name="T56" fmla="*/ 13 w 112"/>
                <a:gd name="T57" fmla="*/ 14 h 121"/>
                <a:gd name="T58" fmla="*/ 10 w 112"/>
                <a:gd name="T59" fmla="*/ 18 h 121"/>
                <a:gd name="T60" fmla="*/ 6 w 112"/>
                <a:gd name="T61" fmla="*/ 22 h 121"/>
                <a:gd name="T62" fmla="*/ 3 w 112"/>
                <a:gd name="T63" fmla="*/ 33 h 121"/>
                <a:gd name="T64" fmla="*/ 0 w 112"/>
                <a:gd name="T65" fmla="*/ 45 h 121"/>
                <a:gd name="T66" fmla="*/ 0 w 112"/>
                <a:gd name="T67" fmla="*/ 60 h 121"/>
                <a:gd name="T68" fmla="*/ 0 w 112"/>
                <a:gd name="T69" fmla="*/ 60 h 121"/>
                <a:gd name="T70" fmla="*/ 0 w 112"/>
                <a:gd name="T71" fmla="*/ 75 h 121"/>
                <a:gd name="T72" fmla="*/ 3 w 112"/>
                <a:gd name="T73" fmla="*/ 87 h 121"/>
                <a:gd name="T74" fmla="*/ 6 w 112"/>
                <a:gd name="T75" fmla="*/ 98 h 121"/>
                <a:gd name="T76" fmla="*/ 10 w 112"/>
                <a:gd name="T77" fmla="*/ 102 h 121"/>
                <a:gd name="T78" fmla="*/ 13 w 112"/>
                <a:gd name="T79" fmla="*/ 107 h 121"/>
                <a:gd name="T80" fmla="*/ 16 w 112"/>
                <a:gd name="T81" fmla="*/ 110 h 121"/>
                <a:gd name="T82" fmla="*/ 20 w 112"/>
                <a:gd name="T83" fmla="*/ 112 h 121"/>
                <a:gd name="T84" fmla="*/ 30 w 112"/>
                <a:gd name="T85" fmla="*/ 117 h 121"/>
                <a:gd name="T86" fmla="*/ 42 w 112"/>
                <a:gd name="T87" fmla="*/ 120 h 121"/>
                <a:gd name="T88" fmla="*/ 56 w 112"/>
                <a:gd name="T8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2" h="121">
                  <a:moveTo>
                    <a:pt x="56" y="121"/>
                  </a:moveTo>
                  <a:lnTo>
                    <a:pt x="56" y="121"/>
                  </a:lnTo>
                  <a:lnTo>
                    <a:pt x="70" y="120"/>
                  </a:lnTo>
                  <a:lnTo>
                    <a:pt x="82" y="117"/>
                  </a:lnTo>
                  <a:lnTo>
                    <a:pt x="92" y="112"/>
                  </a:lnTo>
                  <a:lnTo>
                    <a:pt x="96" y="110"/>
                  </a:lnTo>
                  <a:lnTo>
                    <a:pt x="99" y="107"/>
                  </a:lnTo>
                  <a:lnTo>
                    <a:pt x="102" y="102"/>
                  </a:lnTo>
                  <a:lnTo>
                    <a:pt x="106" y="98"/>
                  </a:lnTo>
                  <a:lnTo>
                    <a:pt x="110" y="87"/>
                  </a:lnTo>
                  <a:lnTo>
                    <a:pt x="112" y="75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45"/>
                  </a:lnTo>
                  <a:lnTo>
                    <a:pt x="110" y="33"/>
                  </a:lnTo>
                  <a:lnTo>
                    <a:pt x="106" y="22"/>
                  </a:lnTo>
                  <a:lnTo>
                    <a:pt x="102" y="18"/>
                  </a:lnTo>
                  <a:lnTo>
                    <a:pt x="99" y="14"/>
                  </a:lnTo>
                  <a:lnTo>
                    <a:pt x="96" y="11"/>
                  </a:lnTo>
                  <a:lnTo>
                    <a:pt x="92" y="8"/>
                  </a:lnTo>
                  <a:lnTo>
                    <a:pt x="82" y="4"/>
                  </a:lnTo>
                  <a:lnTo>
                    <a:pt x="70" y="1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42" y="1"/>
                  </a:lnTo>
                  <a:lnTo>
                    <a:pt x="30" y="4"/>
                  </a:lnTo>
                  <a:lnTo>
                    <a:pt x="20" y="8"/>
                  </a:lnTo>
                  <a:lnTo>
                    <a:pt x="16" y="11"/>
                  </a:lnTo>
                  <a:lnTo>
                    <a:pt x="13" y="14"/>
                  </a:lnTo>
                  <a:lnTo>
                    <a:pt x="10" y="18"/>
                  </a:lnTo>
                  <a:lnTo>
                    <a:pt x="6" y="22"/>
                  </a:lnTo>
                  <a:lnTo>
                    <a:pt x="3" y="33"/>
                  </a:lnTo>
                  <a:lnTo>
                    <a:pt x="0" y="45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75"/>
                  </a:lnTo>
                  <a:lnTo>
                    <a:pt x="3" y="87"/>
                  </a:lnTo>
                  <a:lnTo>
                    <a:pt x="6" y="98"/>
                  </a:lnTo>
                  <a:lnTo>
                    <a:pt x="10" y="102"/>
                  </a:lnTo>
                  <a:lnTo>
                    <a:pt x="13" y="107"/>
                  </a:lnTo>
                  <a:lnTo>
                    <a:pt x="16" y="110"/>
                  </a:lnTo>
                  <a:lnTo>
                    <a:pt x="20" y="112"/>
                  </a:lnTo>
                  <a:lnTo>
                    <a:pt x="30" y="117"/>
                  </a:lnTo>
                  <a:lnTo>
                    <a:pt x="42" y="120"/>
                  </a:lnTo>
                  <a:lnTo>
                    <a:pt x="56" y="12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" name="Group 4"/>
          <p:cNvGrpSpPr>
            <a:grpSpLocks noChangeAspect="1"/>
          </p:cNvGrpSpPr>
          <p:nvPr/>
        </p:nvGrpSpPr>
        <p:grpSpPr bwMode="auto">
          <a:xfrm>
            <a:off x="4259068" y="3223218"/>
            <a:ext cx="1036092" cy="1281634"/>
            <a:chOff x="4276" y="1183"/>
            <a:chExt cx="173" cy="214"/>
          </a:xfrm>
          <a:solidFill>
            <a:schemeClr val="bg1"/>
          </a:solidFill>
        </p:grpSpPr>
        <p:sp>
          <p:nvSpPr>
            <p:cNvPr id="24" name="Freeform 5"/>
            <p:cNvSpPr>
              <a:spLocks/>
            </p:cNvSpPr>
            <p:nvPr/>
          </p:nvSpPr>
          <p:spPr bwMode="auto">
            <a:xfrm>
              <a:off x="4276" y="1204"/>
              <a:ext cx="114" cy="193"/>
            </a:xfrm>
            <a:custGeom>
              <a:avLst/>
              <a:gdLst>
                <a:gd name="T0" fmla="*/ 154 w 227"/>
                <a:gd name="T1" fmla="*/ 263 h 385"/>
                <a:gd name="T2" fmla="*/ 149 w 227"/>
                <a:gd name="T3" fmla="*/ 260 h 385"/>
                <a:gd name="T4" fmla="*/ 143 w 227"/>
                <a:gd name="T5" fmla="*/ 260 h 385"/>
                <a:gd name="T6" fmla="*/ 138 w 227"/>
                <a:gd name="T7" fmla="*/ 264 h 385"/>
                <a:gd name="T8" fmla="*/ 134 w 227"/>
                <a:gd name="T9" fmla="*/ 271 h 385"/>
                <a:gd name="T10" fmla="*/ 134 w 227"/>
                <a:gd name="T11" fmla="*/ 299 h 385"/>
                <a:gd name="T12" fmla="*/ 76 w 227"/>
                <a:gd name="T13" fmla="*/ 299 h 385"/>
                <a:gd name="T14" fmla="*/ 64 w 227"/>
                <a:gd name="T15" fmla="*/ 296 h 385"/>
                <a:gd name="T16" fmla="*/ 54 w 227"/>
                <a:gd name="T17" fmla="*/ 289 h 385"/>
                <a:gd name="T18" fmla="*/ 48 w 227"/>
                <a:gd name="T19" fmla="*/ 280 h 385"/>
                <a:gd name="T20" fmla="*/ 45 w 227"/>
                <a:gd name="T21" fmla="*/ 268 h 385"/>
                <a:gd name="T22" fmla="*/ 45 w 227"/>
                <a:gd name="T23" fmla="*/ 76 h 385"/>
                <a:gd name="T24" fmla="*/ 48 w 227"/>
                <a:gd name="T25" fmla="*/ 64 h 385"/>
                <a:gd name="T26" fmla="*/ 54 w 227"/>
                <a:gd name="T27" fmla="*/ 55 h 385"/>
                <a:gd name="T28" fmla="*/ 64 w 227"/>
                <a:gd name="T29" fmla="*/ 48 h 385"/>
                <a:gd name="T30" fmla="*/ 76 w 227"/>
                <a:gd name="T31" fmla="*/ 45 h 385"/>
                <a:gd name="T32" fmla="*/ 95 w 227"/>
                <a:gd name="T33" fmla="*/ 0 h 385"/>
                <a:gd name="T34" fmla="*/ 76 w 227"/>
                <a:gd name="T35" fmla="*/ 0 h 385"/>
                <a:gd name="T36" fmla="*/ 61 w 227"/>
                <a:gd name="T37" fmla="*/ 1 h 385"/>
                <a:gd name="T38" fmla="*/ 46 w 227"/>
                <a:gd name="T39" fmla="*/ 6 h 385"/>
                <a:gd name="T40" fmla="*/ 33 w 227"/>
                <a:gd name="T41" fmla="*/ 12 h 385"/>
                <a:gd name="T42" fmla="*/ 22 w 227"/>
                <a:gd name="T43" fmla="*/ 22 h 385"/>
                <a:gd name="T44" fmla="*/ 12 w 227"/>
                <a:gd name="T45" fmla="*/ 33 h 385"/>
                <a:gd name="T46" fmla="*/ 6 w 227"/>
                <a:gd name="T47" fmla="*/ 46 h 385"/>
                <a:gd name="T48" fmla="*/ 1 w 227"/>
                <a:gd name="T49" fmla="*/ 61 h 385"/>
                <a:gd name="T50" fmla="*/ 0 w 227"/>
                <a:gd name="T51" fmla="*/ 76 h 385"/>
                <a:gd name="T52" fmla="*/ 0 w 227"/>
                <a:gd name="T53" fmla="*/ 268 h 385"/>
                <a:gd name="T54" fmla="*/ 1 w 227"/>
                <a:gd name="T55" fmla="*/ 283 h 385"/>
                <a:gd name="T56" fmla="*/ 5 w 227"/>
                <a:gd name="T57" fmla="*/ 297 h 385"/>
                <a:gd name="T58" fmla="*/ 12 w 227"/>
                <a:gd name="T59" fmla="*/ 310 h 385"/>
                <a:gd name="T60" fmla="*/ 21 w 227"/>
                <a:gd name="T61" fmla="*/ 321 h 385"/>
                <a:gd name="T62" fmla="*/ 32 w 227"/>
                <a:gd name="T63" fmla="*/ 330 h 385"/>
                <a:gd name="T64" fmla="*/ 45 w 227"/>
                <a:gd name="T65" fmla="*/ 338 h 385"/>
                <a:gd name="T66" fmla="*/ 59 w 227"/>
                <a:gd name="T67" fmla="*/ 342 h 385"/>
                <a:gd name="T68" fmla="*/ 74 w 227"/>
                <a:gd name="T69" fmla="*/ 344 h 385"/>
                <a:gd name="T70" fmla="*/ 134 w 227"/>
                <a:gd name="T71" fmla="*/ 344 h 385"/>
                <a:gd name="T72" fmla="*/ 134 w 227"/>
                <a:gd name="T73" fmla="*/ 370 h 385"/>
                <a:gd name="T74" fmla="*/ 136 w 227"/>
                <a:gd name="T75" fmla="*/ 378 h 385"/>
                <a:gd name="T76" fmla="*/ 140 w 227"/>
                <a:gd name="T77" fmla="*/ 383 h 385"/>
                <a:gd name="T78" fmla="*/ 146 w 227"/>
                <a:gd name="T79" fmla="*/ 385 h 385"/>
                <a:gd name="T80" fmla="*/ 154 w 227"/>
                <a:gd name="T81" fmla="*/ 383 h 385"/>
                <a:gd name="T82" fmla="*/ 219 w 227"/>
                <a:gd name="T83" fmla="*/ 333 h 385"/>
                <a:gd name="T84" fmla="*/ 225 w 227"/>
                <a:gd name="T85" fmla="*/ 328 h 385"/>
                <a:gd name="T86" fmla="*/ 227 w 227"/>
                <a:gd name="T87" fmla="*/ 322 h 385"/>
                <a:gd name="T88" fmla="*/ 225 w 227"/>
                <a:gd name="T89" fmla="*/ 316 h 385"/>
                <a:gd name="T90" fmla="*/ 219 w 227"/>
                <a:gd name="T91" fmla="*/ 31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7" h="385">
                  <a:moveTo>
                    <a:pt x="219" y="312"/>
                  </a:moveTo>
                  <a:lnTo>
                    <a:pt x="154" y="263"/>
                  </a:lnTo>
                  <a:lnTo>
                    <a:pt x="154" y="263"/>
                  </a:lnTo>
                  <a:lnTo>
                    <a:pt x="149" y="260"/>
                  </a:lnTo>
                  <a:lnTo>
                    <a:pt x="146" y="260"/>
                  </a:lnTo>
                  <a:lnTo>
                    <a:pt x="143" y="260"/>
                  </a:lnTo>
                  <a:lnTo>
                    <a:pt x="140" y="261"/>
                  </a:lnTo>
                  <a:lnTo>
                    <a:pt x="138" y="264"/>
                  </a:lnTo>
                  <a:lnTo>
                    <a:pt x="135" y="267"/>
                  </a:lnTo>
                  <a:lnTo>
                    <a:pt x="134" y="271"/>
                  </a:lnTo>
                  <a:lnTo>
                    <a:pt x="134" y="275"/>
                  </a:lnTo>
                  <a:lnTo>
                    <a:pt x="134" y="299"/>
                  </a:lnTo>
                  <a:lnTo>
                    <a:pt x="76" y="299"/>
                  </a:lnTo>
                  <a:lnTo>
                    <a:pt x="76" y="299"/>
                  </a:lnTo>
                  <a:lnTo>
                    <a:pt x="70" y="298"/>
                  </a:lnTo>
                  <a:lnTo>
                    <a:pt x="64" y="296"/>
                  </a:lnTo>
                  <a:lnTo>
                    <a:pt x="59" y="294"/>
                  </a:lnTo>
                  <a:lnTo>
                    <a:pt x="54" y="289"/>
                  </a:lnTo>
                  <a:lnTo>
                    <a:pt x="50" y="285"/>
                  </a:lnTo>
                  <a:lnTo>
                    <a:pt x="48" y="280"/>
                  </a:lnTo>
                  <a:lnTo>
                    <a:pt x="46" y="274"/>
                  </a:lnTo>
                  <a:lnTo>
                    <a:pt x="45" y="268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6" y="70"/>
                  </a:lnTo>
                  <a:lnTo>
                    <a:pt x="48" y="64"/>
                  </a:lnTo>
                  <a:lnTo>
                    <a:pt x="50" y="59"/>
                  </a:lnTo>
                  <a:lnTo>
                    <a:pt x="54" y="55"/>
                  </a:lnTo>
                  <a:lnTo>
                    <a:pt x="59" y="50"/>
                  </a:lnTo>
                  <a:lnTo>
                    <a:pt x="64" y="48"/>
                  </a:lnTo>
                  <a:lnTo>
                    <a:pt x="70" y="46"/>
                  </a:lnTo>
                  <a:lnTo>
                    <a:pt x="76" y="45"/>
                  </a:lnTo>
                  <a:lnTo>
                    <a:pt x="95" y="45"/>
                  </a:lnTo>
                  <a:lnTo>
                    <a:pt x="95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69" y="0"/>
                  </a:lnTo>
                  <a:lnTo>
                    <a:pt x="61" y="1"/>
                  </a:lnTo>
                  <a:lnTo>
                    <a:pt x="53" y="3"/>
                  </a:lnTo>
                  <a:lnTo>
                    <a:pt x="46" y="6"/>
                  </a:lnTo>
                  <a:lnTo>
                    <a:pt x="39" y="8"/>
                  </a:lnTo>
                  <a:lnTo>
                    <a:pt x="33" y="12"/>
                  </a:lnTo>
                  <a:lnTo>
                    <a:pt x="28" y="17"/>
                  </a:lnTo>
                  <a:lnTo>
                    <a:pt x="22" y="22"/>
                  </a:lnTo>
                  <a:lnTo>
                    <a:pt x="17" y="28"/>
                  </a:lnTo>
                  <a:lnTo>
                    <a:pt x="12" y="33"/>
                  </a:lnTo>
                  <a:lnTo>
                    <a:pt x="8" y="39"/>
                  </a:lnTo>
                  <a:lnTo>
                    <a:pt x="6" y="46"/>
                  </a:lnTo>
                  <a:lnTo>
                    <a:pt x="3" y="53"/>
                  </a:lnTo>
                  <a:lnTo>
                    <a:pt x="1" y="61"/>
                  </a:lnTo>
                  <a:lnTo>
                    <a:pt x="0" y="69"/>
                  </a:lnTo>
                  <a:lnTo>
                    <a:pt x="0" y="7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75"/>
                  </a:lnTo>
                  <a:lnTo>
                    <a:pt x="1" y="283"/>
                  </a:lnTo>
                  <a:lnTo>
                    <a:pt x="3" y="291"/>
                  </a:lnTo>
                  <a:lnTo>
                    <a:pt x="5" y="297"/>
                  </a:lnTo>
                  <a:lnTo>
                    <a:pt x="8" y="304"/>
                  </a:lnTo>
                  <a:lnTo>
                    <a:pt x="12" y="310"/>
                  </a:lnTo>
                  <a:lnTo>
                    <a:pt x="17" y="316"/>
                  </a:lnTo>
                  <a:lnTo>
                    <a:pt x="21" y="321"/>
                  </a:lnTo>
                  <a:lnTo>
                    <a:pt x="26" y="326"/>
                  </a:lnTo>
                  <a:lnTo>
                    <a:pt x="32" y="330"/>
                  </a:lnTo>
                  <a:lnTo>
                    <a:pt x="38" y="335"/>
                  </a:lnTo>
                  <a:lnTo>
                    <a:pt x="45" y="338"/>
                  </a:lnTo>
                  <a:lnTo>
                    <a:pt x="51" y="340"/>
                  </a:lnTo>
                  <a:lnTo>
                    <a:pt x="59" y="342"/>
                  </a:lnTo>
                  <a:lnTo>
                    <a:pt x="66" y="343"/>
                  </a:lnTo>
                  <a:lnTo>
                    <a:pt x="74" y="344"/>
                  </a:lnTo>
                  <a:lnTo>
                    <a:pt x="74" y="344"/>
                  </a:lnTo>
                  <a:lnTo>
                    <a:pt x="134" y="344"/>
                  </a:lnTo>
                  <a:lnTo>
                    <a:pt x="134" y="370"/>
                  </a:lnTo>
                  <a:lnTo>
                    <a:pt x="134" y="370"/>
                  </a:lnTo>
                  <a:lnTo>
                    <a:pt x="135" y="375"/>
                  </a:lnTo>
                  <a:lnTo>
                    <a:pt x="136" y="378"/>
                  </a:lnTo>
                  <a:lnTo>
                    <a:pt x="138" y="381"/>
                  </a:lnTo>
                  <a:lnTo>
                    <a:pt x="140" y="383"/>
                  </a:lnTo>
                  <a:lnTo>
                    <a:pt x="143" y="384"/>
                  </a:lnTo>
                  <a:lnTo>
                    <a:pt x="146" y="385"/>
                  </a:lnTo>
                  <a:lnTo>
                    <a:pt x="149" y="384"/>
                  </a:lnTo>
                  <a:lnTo>
                    <a:pt x="154" y="383"/>
                  </a:lnTo>
                  <a:lnTo>
                    <a:pt x="219" y="333"/>
                  </a:lnTo>
                  <a:lnTo>
                    <a:pt x="219" y="333"/>
                  </a:lnTo>
                  <a:lnTo>
                    <a:pt x="223" y="330"/>
                  </a:lnTo>
                  <a:lnTo>
                    <a:pt x="225" y="328"/>
                  </a:lnTo>
                  <a:lnTo>
                    <a:pt x="227" y="325"/>
                  </a:lnTo>
                  <a:lnTo>
                    <a:pt x="227" y="322"/>
                  </a:lnTo>
                  <a:lnTo>
                    <a:pt x="227" y="320"/>
                  </a:lnTo>
                  <a:lnTo>
                    <a:pt x="225" y="316"/>
                  </a:lnTo>
                  <a:lnTo>
                    <a:pt x="223" y="314"/>
                  </a:lnTo>
                  <a:lnTo>
                    <a:pt x="219" y="312"/>
                  </a:lnTo>
                  <a:lnTo>
                    <a:pt x="219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4333" y="1183"/>
              <a:ext cx="116" cy="193"/>
            </a:xfrm>
            <a:custGeom>
              <a:avLst/>
              <a:gdLst>
                <a:gd name="T0" fmla="*/ 154 w 232"/>
                <a:gd name="T1" fmla="*/ 41 h 385"/>
                <a:gd name="T2" fmla="*/ 92 w 232"/>
                <a:gd name="T3" fmla="*/ 41 h 385"/>
                <a:gd name="T4" fmla="*/ 92 w 232"/>
                <a:gd name="T5" fmla="*/ 15 h 385"/>
                <a:gd name="T6" fmla="*/ 91 w 232"/>
                <a:gd name="T7" fmla="*/ 7 h 385"/>
                <a:gd name="T8" fmla="*/ 87 w 232"/>
                <a:gd name="T9" fmla="*/ 2 h 385"/>
                <a:gd name="T10" fmla="*/ 81 w 232"/>
                <a:gd name="T11" fmla="*/ 0 h 385"/>
                <a:gd name="T12" fmla="*/ 73 w 232"/>
                <a:gd name="T13" fmla="*/ 2 h 385"/>
                <a:gd name="T14" fmla="*/ 7 w 232"/>
                <a:gd name="T15" fmla="*/ 52 h 385"/>
                <a:gd name="T16" fmla="*/ 2 w 232"/>
                <a:gd name="T17" fmla="*/ 57 h 385"/>
                <a:gd name="T18" fmla="*/ 0 w 232"/>
                <a:gd name="T19" fmla="*/ 63 h 385"/>
                <a:gd name="T20" fmla="*/ 2 w 232"/>
                <a:gd name="T21" fmla="*/ 69 h 385"/>
                <a:gd name="T22" fmla="*/ 7 w 232"/>
                <a:gd name="T23" fmla="*/ 73 h 385"/>
                <a:gd name="T24" fmla="*/ 74 w 232"/>
                <a:gd name="T25" fmla="*/ 122 h 385"/>
                <a:gd name="T26" fmla="*/ 81 w 232"/>
                <a:gd name="T27" fmla="*/ 125 h 385"/>
                <a:gd name="T28" fmla="*/ 87 w 232"/>
                <a:gd name="T29" fmla="*/ 124 h 385"/>
                <a:gd name="T30" fmla="*/ 91 w 232"/>
                <a:gd name="T31" fmla="*/ 118 h 385"/>
                <a:gd name="T32" fmla="*/ 92 w 232"/>
                <a:gd name="T33" fmla="*/ 110 h 385"/>
                <a:gd name="T34" fmla="*/ 155 w 232"/>
                <a:gd name="T35" fmla="*/ 86 h 385"/>
                <a:gd name="T36" fmla="*/ 161 w 232"/>
                <a:gd name="T37" fmla="*/ 87 h 385"/>
                <a:gd name="T38" fmla="*/ 172 w 232"/>
                <a:gd name="T39" fmla="*/ 91 h 385"/>
                <a:gd name="T40" fmla="*/ 181 w 232"/>
                <a:gd name="T41" fmla="*/ 100 h 385"/>
                <a:gd name="T42" fmla="*/ 185 w 232"/>
                <a:gd name="T43" fmla="*/ 111 h 385"/>
                <a:gd name="T44" fmla="*/ 186 w 232"/>
                <a:gd name="T45" fmla="*/ 309 h 385"/>
                <a:gd name="T46" fmla="*/ 185 w 232"/>
                <a:gd name="T47" fmla="*/ 315 h 385"/>
                <a:gd name="T48" fmla="*/ 181 w 232"/>
                <a:gd name="T49" fmla="*/ 326 h 385"/>
                <a:gd name="T50" fmla="*/ 172 w 232"/>
                <a:gd name="T51" fmla="*/ 335 h 385"/>
                <a:gd name="T52" fmla="*/ 161 w 232"/>
                <a:gd name="T53" fmla="*/ 339 h 385"/>
                <a:gd name="T54" fmla="*/ 132 w 232"/>
                <a:gd name="T55" fmla="*/ 340 h 385"/>
                <a:gd name="T56" fmla="*/ 155 w 232"/>
                <a:gd name="T57" fmla="*/ 385 h 385"/>
                <a:gd name="T58" fmla="*/ 163 w 232"/>
                <a:gd name="T59" fmla="*/ 385 h 385"/>
                <a:gd name="T60" fmla="*/ 178 w 232"/>
                <a:gd name="T61" fmla="*/ 382 h 385"/>
                <a:gd name="T62" fmla="*/ 192 w 232"/>
                <a:gd name="T63" fmla="*/ 377 h 385"/>
                <a:gd name="T64" fmla="*/ 203 w 232"/>
                <a:gd name="T65" fmla="*/ 368 h 385"/>
                <a:gd name="T66" fmla="*/ 214 w 232"/>
                <a:gd name="T67" fmla="*/ 357 h 385"/>
                <a:gd name="T68" fmla="*/ 223 w 232"/>
                <a:gd name="T69" fmla="*/ 346 h 385"/>
                <a:gd name="T70" fmla="*/ 228 w 232"/>
                <a:gd name="T71" fmla="*/ 332 h 385"/>
                <a:gd name="T72" fmla="*/ 232 w 232"/>
                <a:gd name="T73" fmla="*/ 316 h 385"/>
                <a:gd name="T74" fmla="*/ 232 w 232"/>
                <a:gd name="T75" fmla="*/ 117 h 385"/>
                <a:gd name="T76" fmla="*/ 232 w 232"/>
                <a:gd name="T77" fmla="*/ 110 h 385"/>
                <a:gd name="T78" fmla="*/ 228 w 232"/>
                <a:gd name="T79" fmla="*/ 94 h 385"/>
                <a:gd name="T80" fmla="*/ 223 w 232"/>
                <a:gd name="T81" fmla="*/ 80 h 385"/>
                <a:gd name="T82" fmla="*/ 214 w 232"/>
                <a:gd name="T83" fmla="*/ 69 h 385"/>
                <a:gd name="T84" fmla="*/ 203 w 232"/>
                <a:gd name="T85" fmla="*/ 58 h 385"/>
                <a:gd name="T86" fmla="*/ 192 w 232"/>
                <a:gd name="T87" fmla="*/ 49 h 385"/>
                <a:gd name="T88" fmla="*/ 178 w 232"/>
                <a:gd name="T89" fmla="*/ 44 h 385"/>
                <a:gd name="T90" fmla="*/ 163 w 232"/>
                <a:gd name="T91" fmla="*/ 41 h 385"/>
                <a:gd name="T92" fmla="*/ 155 w 232"/>
                <a:gd name="T93" fmla="*/ 41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2" h="385">
                  <a:moveTo>
                    <a:pt x="155" y="41"/>
                  </a:moveTo>
                  <a:lnTo>
                    <a:pt x="154" y="41"/>
                  </a:lnTo>
                  <a:lnTo>
                    <a:pt x="154" y="41"/>
                  </a:lnTo>
                  <a:lnTo>
                    <a:pt x="92" y="41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0"/>
                  </a:lnTo>
                  <a:lnTo>
                    <a:pt x="91" y="7"/>
                  </a:lnTo>
                  <a:lnTo>
                    <a:pt x="89" y="4"/>
                  </a:lnTo>
                  <a:lnTo>
                    <a:pt x="87" y="2"/>
                  </a:lnTo>
                  <a:lnTo>
                    <a:pt x="84" y="1"/>
                  </a:lnTo>
                  <a:lnTo>
                    <a:pt x="81" y="0"/>
                  </a:lnTo>
                  <a:lnTo>
                    <a:pt x="77" y="1"/>
                  </a:lnTo>
                  <a:lnTo>
                    <a:pt x="73" y="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4" y="55"/>
                  </a:lnTo>
                  <a:lnTo>
                    <a:pt x="2" y="57"/>
                  </a:lnTo>
                  <a:lnTo>
                    <a:pt x="0" y="60"/>
                  </a:lnTo>
                  <a:lnTo>
                    <a:pt x="0" y="63"/>
                  </a:lnTo>
                  <a:lnTo>
                    <a:pt x="0" y="65"/>
                  </a:lnTo>
                  <a:lnTo>
                    <a:pt x="2" y="69"/>
                  </a:lnTo>
                  <a:lnTo>
                    <a:pt x="4" y="71"/>
                  </a:lnTo>
                  <a:lnTo>
                    <a:pt x="7" y="73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7" y="125"/>
                  </a:lnTo>
                  <a:lnTo>
                    <a:pt x="81" y="125"/>
                  </a:lnTo>
                  <a:lnTo>
                    <a:pt x="84" y="125"/>
                  </a:lnTo>
                  <a:lnTo>
                    <a:pt x="87" y="124"/>
                  </a:lnTo>
                  <a:lnTo>
                    <a:pt x="89" y="121"/>
                  </a:lnTo>
                  <a:lnTo>
                    <a:pt x="91" y="118"/>
                  </a:lnTo>
                  <a:lnTo>
                    <a:pt x="92" y="114"/>
                  </a:lnTo>
                  <a:lnTo>
                    <a:pt x="92" y="110"/>
                  </a:lnTo>
                  <a:lnTo>
                    <a:pt x="92" y="86"/>
                  </a:lnTo>
                  <a:lnTo>
                    <a:pt x="155" y="86"/>
                  </a:lnTo>
                  <a:lnTo>
                    <a:pt x="155" y="86"/>
                  </a:lnTo>
                  <a:lnTo>
                    <a:pt x="161" y="87"/>
                  </a:lnTo>
                  <a:lnTo>
                    <a:pt x="167" y="89"/>
                  </a:lnTo>
                  <a:lnTo>
                    <a:pt x="172" y="91"/>
                  </a:lnTo>
                  <a:lnTo>
                    <a:pt x="177" y="96"/>
                  </a:lnTo>
                  <a:lnTo>
                    <a:pt x="181" y="100"/>
                  </a:lnTo>
                  <a:lnTo>
                    <a:pt x="183" y="105"/>
                  </a:lnTo>
                  <a:lnTo>
                    <a:pt x="185" y="111"/>
                  </a:lnTo>
                  <a:lnTo>
                    <a:pt x="186" y="117"/>
                  </a:lnTo>
                  <a:lnTo>
                    <a:pt x="186" y="309"/>
                  </a:lnTo>
                  <a:lnTo>
                    <a:pt x="186" y="309"/>
                  </a:lnTo>
                  <a:lnTo>
                    <a:pt x="185" y="315"/>
                  </a:lnTo>
                  <a:lnTo>
                    <a:pt x="183" y="321"/>
                  </a:lnTo>
                  <a:lnTo>
                    <a:pt x="181" y="326"/>
                  </a:lnTo>
                  <a:lnTo>
                    <a:pt x="177" y="330"/>
                  </a:lnTo>
                  <a:lnTo>
                    <a:pt x="172" y="335"/>
                  </a:lnTo>
                  <a:lnTo>
                    <a:pt x="167" y="337"/>
                  </a:lnTo>
                  <a:lnTo>
                    <a:pt x="161" y="339"/>
                  </a:lnTo>
                  <a:lnTo>
                    <a:pt x="155" y="340"/>
                  </a:lnTo>
                  <a:lnTo>
                    <a:pt x="132" y="340"/>
                  </a:lnTo>
                  <a:lnTo>
                    <a:pt x="132" y="385"/>
                  </a:lnTo>
                  <a:lnTo>
                    <a:pt x="155" y="385"/>
                  </a:lnTo>
                  <a:lnTo>
                    <a:pt x="155" y="385"/>
                  </a:lnTo>
                  <a:lnTo>
                    <a:pt x="163" y="385"/>
                  </a:lnTo>
                  <a:lnTo>
                    <a:pt x="170" y="384"/>
                  </a:lnTo>
                  <a:lnTo>
                    <a:pt x="178" y="382"/>
                  </a:lnTo>
                  <a:lnTo>
                    <a:pt x="185" y="379"/>
                  </a:lnTo>
                  <a:lnTo>
                    <a:pt x="192" y="377"/>
                  </a:lnTo>
                  <a:lnTo>
                    <a:pt x="198" y="373"/>
                  </a:lnTo>
                  <a:lnTo>
                    <a:pt x="203" y="368"/>
                  </a:lnTo>
                  <a:lnTo>
                    <a:pt x="209" y="363"/>
                  </a:lnTo>
                  <a:lnTo>
                    <a:pt x="214" y="357"/>
                  </a:lnTo>
                  <a:lnTo>
                    <a:pt x="219" y="352"/>
                  </a:lnTo>
                  <a:lnTo>
                    <a:pt x="223" y="346"/>
                  </a:lnTo>
                  <a:lnTo>
                    <a:pt x="225" y="339"/>
                  </a:lnTo>
                  <a:lnTo>
                    <a:pt x="228" y="332"/>
                  </a:lnTo>
                  <a:lnTo>
                    <a:pt x="230" y="324"/>
                  </a:lnTo>
                  <a:lnTo>
                    <a:pt x="232" y="316"/>
                  </a:lnTo>
                  <a:lnTo>
                    <a:pt x="232" y="309"/>
                  </a:lnTo>
                  <a:lnTo>
                    <a:pt x="232" y="117"/>
                  </a:lnTo>
                  <a:lnTo>
                    <a:pt x="232" y="117"/>
                  </a:lnTo>
                  <a:lnTo>
                    <a:pt x="232" y="110"/>
                  </a:lnTo>
                  <a:lnTo>
                    <a:pt x="230" y="102"/>
                  </a:lnTo>
                  <a:lnTo>
                    <a:pt x="228" y="94"/>
                  </a:lnTo>
                  <a:lnTo>
                    <a:pt x="225" y="87"/>
                  </a:lnTo>
                  <a:lnTo>
                    <a:pt x="223" y="80"/>
                  </a:lnTo>
                  <a:lnTo>
                    <a:pt x="219" y="74"/>
                  </a:lnTo>
                  <a:lnTo>
                    <a:pt x="214" y="69"/>
                  </a:lnTo>
                  <a:lnTo>
                    <a:pt x="209" y="63"/>
                  </a:lnTo>
                  <a:lnTo>
                    <a:pt x="203" y="58"/>
                  </a:lnTo>
                  <a:lnTo>
                    <a:pt x="198" y="53"/>
                  </a:lnTo>
                  <a:lnTo>
                    <a:pt x="192" y="49"/>
                  </a:lnTo>
                  <a:lnTo>
                    <a:pt x="185" y="47"/>
                  </a:lnTo>
                  <a:lnTo>
                    <a:pt x="178" y="44"/>
                  </a:lnTo>
                  <a:lnTo>
                    <a:pt x="170" y="42"/>
                  </a:lnTo>
                  <a:lnTo>
                    <a:pt x="163" y="41"/>
                  </a:lnTo>
                  <a:lnTo>
                    <a:pt x="155" y="41"/>
                  </a:lnTo>
                  <a:lnTo>
                    <a:pt x="15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1411942" y="4708859"/>
            <a:ext cx="1586204" cy="3545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ctr"/>
            <a:r>
              <a:rPr lang="en-US" sz="2000" b="1" dirty="0">
                <a:solidFill>
                  <a:prstClr val="white"/>
                </a:solidFill>
              </a:rPr>
              <a:t>Efficient</a:t>
            </a:r>
          </a:p>
        </p:txBody>
      </p:sp>
    </p:spTree>
    <p:extLst>
      <p:ext uri="{BB962C8B-B14F-4D97-AF65-F5344CB8AC3E}">
        <p14:creationId xmlns:p14="http://schemas.microsoft.com/office/powerpoint/2010/main" val="2279503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0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earn more about HP Labs and The Machine</a:t>
            </a:r>
            <a:endParaRPr lang="en-US" dirty="0" smtClean="0"/>
          </a:p>
        </p:txBody>
      </p:sp>
      <p:sp>
        <p:nvSpPr>
          <p:cNvPr id="26" name="Pentagon 25"/>
          <p:cNvSpPr/>
          <p:nvPr/>
        </p:nvSpPr>
        <p:spPr>
          <a:xfrm>
            <a:off x="609441" y="1446543"/>
            <a:ext cx="10968516" cy="387920"/>
          </a:xfrm>
          <a:prstGeom prst="homePlate">
            <a:avLst>
              <a:gd name="adj" fmla="val 3304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609296">
              <a:spcAft>
                <a:spcPts val="533"/>
              </a:spcAft>
              <a:defRPr/>
            </a:pPr>
            <a:r>
              <a:rPr lang="en-GB" sz="1866" b="1" dirty="0">
                <a:solidFill>
                  <a:prstClr val="white"/>
                </a:solidFill>
                <a:cs typeface="Arial"/>
              </a:rPr>
              <a:t>Attend these sessions</a:t>
            </a:r>
          </a:p>
        </p:txBody>
      </p:sp>
      <p:sp>
        <p:nvSpPr>
          <p:cNvPr id="27" name="TextBox 4"/>
          <p:cNvSpPr txBox="1">
            <a:spLocks noChangeArrowheads="1"/>
          </p:cNvSpPr>
          <p:nvPr/>
        </p:nvSpPr>
        <p:spPr bwMode="auto">
          <a:xfrm>
            <a:off x="710746" y="1910644"/>
            <a:ext cx="3275984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defTabSz="609296" fontAlgn="b">
              <a:spcBef>
                <a:spcPts val="600"/>
              </a:spcBef>
              <a:spcAft>
                <a:spcPts val="100"/>
              </a:spcAft>
              <a:tabLst>
                <a:tab pos="172995" algn="l"/>
              </a:tabLst>
            </a:pPr>
            <a:r>
              <a:rPr lang="en-US" sz="1600" b="1" dirty="0" smtClean="0">
                <a:solidFill>
                  <a:prstClr val="black"/>
                </a:solidFill>
                <a:latin typeface="HP Simplified"/>
                <a:cs typeface="Arial"/>
              </a:rPr>
              <a:t>Wednesday</a:t>
            </a:r>
            <a:r>
              <a:rPr lang="en-US" sz="1600" b="1" dirty="0">
                <a:solidFill>
                  <a:prstClr val="black"/>
                </a:solidFill>
                <a:latin typeface="HP Simplified"/>
                <a:cs typeface="Arial"/>
              </a:rPr>
              <a:t>, 12:30 </a:t>
            </a:r>
            <a:r>
              <a:rPr lang="en-US" sz="1600" b="1" dirty="0" smtClean="0">
                <a:solidFill>
                  <a:prstClr val="black"/>
                </a:solidFill>
                <a:latin typeface="HP Simplified"/>
                <a:cs typeface="Arial"/>
              </a:rPr>
              <a:t>pm – 1:00 pm</a:t>
            </a:r>
            <a:endParaRPr lang="en-US" sz="1600" b="1" dirty="0">
              <a:solidFill>
                <a:prstClr val="black"/>
              </a:solidFill>
              <a:latin typeface="HP Simplified"/>
              <a:cs typeface="Arial"/>
            </a:endParaRPr>
          </a:p>
          <a:p>
            <a:pPr defTabSz="609296" fontAlgn="b">
              <a:spcAft>
                <a:spcPts val="200"/>
              </a:spcAft>
              <a:buFont typeface="Arial" pitchFamily="34" charset="0"/>
              <a:buChar char="•"/>
            </a:pPr>
            <a:r>
              <a:rPr lang="en-US" sz="1600" b="1" dirty="0">
                <a:solidFill>
                  <a:srgbClr val="0096D6"/>
                </a:solidFill>
                <a:latin typeface="HP Simplified"/>
                <a:cs typeface="Arial"/>
              </a:rPr>
              <a:t>DF1332 </a:t>
            </a:r>
            <a:r>
              <a:rPr lang="en-US" sz="1600" dirty="0">
                <a:solidFill>
                  <a:prstClr val="black"/>
                </a:solidFill>
                <a:latin typeface="HP Simplified"/>
                <a:cs typeface="Arial"/>
              </a:rPr>
              <a:t>– </a:t>
            </a:r>
            <a:r>
              <a:rPr lang="en-US" sz="1600" dirty="0">
                <a:solidFill>
                  <a:prstClr val="black"/>
                </a:solidFill>
                <a:latin typeface="HP Simplified"/>
              </a:rPr>
              <a:t>Bringing Consistency and agility to data center management – A conversation with HP Labs</a:t>
            </a:r>
          </a:p>
          <a:p>
            <a:pPr marL="0" indent="0" defTabSz="609296" fontAlgn="b">
              <a:spcBef>
                <a:spcPts val="600"/>
              </a:spcBef>
              <a:spcAft>
                <a:spcPts val="100"/>
              </a:spcAft>
            </a:pPr>
            <a:r>
              <a:rPr lang="en-US" sz="1600" b="1" dirty="0">
                <a:solidFill>
                  <a:prstClr val="black"/>
                </a:solidFill>
                <a:latin typeface="HP Simplified"/>
                <a:cs typeface="Arial"/>
              </a:rPr>
              <a:t>Wednesday, 4:30 </a:t>
            </a:r>
            <a:r>
              <a:rPr lang="en-US" sz="1600" b="1" dirty="0" smtClean="0">
                <a:solidFill>
                  <a:prstClr val="black"/>
                </a:solidFill>
                <a:latin typeface="HP Simplified"/>
                <a:cs typeface="Arial"/>
              </a:rPr>
              <a:t>pm – 5:00 pm</a:t>
            </a:r>
            <a:endParaRPr lang="en-US" sz="1600" b="1" dirty="0">
              <a:solidFill>
                <a:prstClr val="black"/>
              </a:solidFill>
              <a:latin typeface="HP Simplified"/>
              <a:cs typeface="Arial"/>
            </a:endParaRPr>
          </a:p>
          <a:p>
            <a:pPr defTabSz="609296" fontAlgn="b">
              <a:spcAft>
                <a:spcPts val="200"/>
              </a:spcAft>
              <a:buFont typeface="Arial" pitchFamily="34" charset="0"/>
              <a:buChar char="•"/>
            </a:pPr>
            <a:r>
              <a:rPr lang="en-US" sz="1400" b="1" dirty="0">
                <a:solidFill>
                  <a:srgbClr val="0096D6"/>
                </a:solidFill>
                <a:latin typeface="HP Simplified"/>
                <a:cs typeface="Arial"/>
              </a:rPr>
              <a:t>DT1328 </a:t>
            </a:r>
            <a:r>
              <a:rPr lang="en-US" sz="1400" dirty="0">
                <a:solidFill>
                  <a:prstClr val="black"/>
                </a:solidFill>
                <a:latin typeface="HP Simplified"/>
                <a:cs typeface="Arial"/>
              </a:rPr>
              <a:t>– </a:t>
            </a:r>
            <a:r>
              <a:rPr lang="en-US" sz="1400" dirty="0">
                <a:solidFill>
                  <a:prstClr val="black"/>
                </a:solidFill>
                <a:latin typeface="HP Simplified"/>
              </a:rPr>
              <a:t>Management at Scale for the New Style of IT – Introducing Loom from HP Labs</a:t>
            </a:r>
            <a:endParaRPr lang="en-US" sz="1400" dirty="0">
              <a:solidFill>
                <a:prstClr val="black"/>
              </a:solidFill>
              <a:latin typeface="HP Simplified"/>
              <a:cs typeface="Arial"/>
            </a:endParaRPr>
          </a:p>
          <a:p>
            <a:pPr defTabSz="609296" fontAlgn="b">
              <a:spcAft>
                <a:spcPts val="200"/>
              </a:spcAft>
              <a:buFont typeface="Arial" pitchFamily="34" charset="0"/>
              <a:buChar char="•"/>
            </a:pPr>
            <a:endParaRPr lang="en-US" sz="1400" dirty="0">
              <a:solidFill>
                <a:prstClr val="black"/>
              </a:solidFill>
              <a:latin typeface="HP Simplified"/>
            </a:endParaRPr>
          </a:p>
        </p:txBody>
      </p:sp>
      <p:grpSp>
        <p:nvGrpSpPr>
          <p:cNvPr id="15" name="Group 30"/>
          <p:cNvGrpSpPr/>
          <p:nvPr/>
        </p:nvGrpSpPr>
        <p:grpSpPr>
          <a:xfrm>
            <a:off x="7997703" y="2835435"/>
            <a:ext cx="3505318" cy="928295"/>
            <a:chOff x="5761956" y="1694273"/>
            <a:chExt cx="2560320" cy="696583"/>
          </a:xfrm>
        </p:grpSpPr>
        <p:sp>
          <p:nvSpPr>
            <p:cNvPr id="16" name="Pentagon 15"/>
            <p:cNvSpPr/>
            <p:nvPr/>
          </p:nvSpPr>
          <p:spPr>
            <a:xfrm>
              <a:off x="5761956" y="1694273"/>
              <a:ext cx="2560320" cy="290103"/>
            </a:xfrm>
            <a:prstGeom prst="homePlate">
              <a:avLst>
                <a:gd name="adj" fmla="val 33048"/>
              </a:avLst>
            </a:prstGeom>
            <a:solidFill>
              <a:srgbClr val="87898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defTabSz="609296">
                <a:spcAft>
                  <a:spcPts val="533"/>
                </a:spcAft>
                <a:defRPr/>
              </a:pPr>
              <a:r>
                <a:rPr lang="en-GB" sz="1866" b="1" dirty="0">
                  <a:solidFill>
                    <a:prstClr val="white"/>
                  </a:solidFill>
                  <a:cs typeface="Arial"/>
                </a:rPr>
                <a:t>After the event</a:t>
              </a:r>
            </a:p>
          </p:txBody>
        </p:sp>
        <p:sp>
          <p:nvSpPr>
            <p:cNvPr id="17" name="TextBox 43"/>
            <p:cNvSpPr txBox="1">
              <a:spLocks noChangeArrowheads="1"/>
            </p:cNvSpPr>
            <p:nvPr/>
          </p:nvSpPr>
          <p:spPr bwMode="auto">
            <a:xfrm>
              <a:off x="5824454" y="2021332"/>
              <a:ext cx="2386942" cy="3695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173038" indent="-173038">
                <a:spcBef>
                  <a:spcPts val="1200"/>
                </a:spcBef>
                <a:spcAft>
                  <a:spcPts val="400"/>
                </a:spcAft>
                <a:buFont typeface="Arial" pitchFamily="34" charset="0"/>
                <a:buChar char="•"/>
                <a:defRPr sz="1600">
                  <a:latin typeface="HP Simplified"/>
                  <a:cs typeface="HP Simplified"/>
                </a:defRPr>
              </a:lvl1pPr>
              <a:lvl2pPr marL="742950" indent="-285750" eaLnBrk="0" hangingPunct="0">
                <a:defRPr>
                  <a:latin typeface="Arial" pitchFamily="34" charset="0"/>
                </a:defRPr>
              </a:lvl2pPr>
              <a:lvl3pPr marL="1143000" indent="-228600" eaLnBrk="0" hangingPunct="0">
                <a:defRPr>
                  <a:latin typeface="Arial" pitchFamily="34" charset="0"/>
                </a:defRPr>
              </a:lvl3pPr>
              <a:lvl4pPr marL="1600200" indent="-228600" eaLnBrk="0" hangingPunct="0">
                <a:defRPr>
                  <a:latin typeface="Arial" pitchFamily="34" charset="0"/>
                </a:defRPr>
              </a:lvl4pPr>
              <a:lvl5pPr marL="2057400" indent="-228600" eaLnBrk="0" hangingPunct="0">
                <a:defRPr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pitchFamily="34" charset="0"/>
                </a:defRPr>
              </a:lvl9pPr>
            </a:lstStyle>
            <a:p>
              <a:pPr defTabSz="609296">
                <a:spcBef>
                  <a:spcPts val="0"/>
                </a:spcBef>
                <a:spcAft>
                  <a:spcPts val="0"/>
                </a:spcAft>
              </a:pPr>
              <a:r>
                <a:rPr lang="en-US" dirty="0">
                  <a:solidFill>
                    <a:prstClr val="black"/>
                  </a:solidFill>
                  <a:cs typeface="Arial"/>
                </a:rPr>
                <a:t>Visit us at: </a:t>
              </a:r>
              <a:r>
                <a:rPr lang="en-US" b="1" dirty="0">
                  <a:solidFill>
                    <a:srgbClr val="0096D6"/>
                  </a:solidFill>
                  <a:cs typeface="Arial"/>
                </a:rPr>
                <a:t>www.hpl.hp.com</a:t>
              </a:r>
              <a:endParaRPr lang="en-US" dirty="0">
                <a:solidFill>
                  <a:prstClr val="black"/>
                </a:solidFill>
                <a:cs typeface="Arial"/>
              </a:endParaRPr>
            </a:p>
            <a:p>
              <a:pPr defTabSz="609296">
                <a:spcBef>
                  <a:spcPts val="0"/>
                </a:spcBef>
                <a:spcAft>
                  <a:spcPts val="0"/>
                </a:spcAft>
              </a:pPr>
              <a:r>
                <a:rPr lang="en-US" dirty="0">
                  <a:solidFill>
                    <a:prstClr val="black"/>
                  </a:solidFill>
                  <a:cs typeface="Arial"/>
                </a:rPr>
                <a:t>Follow us on Twitter: </a:t>
              </a:r>
              <a:r>
                <a:rPr lang="en-US" b="1" dirty="0">
                  <a:solidFill>
                    <a:srgbClr val="0096D6"/>
                  </a:solidFill>
                  <a:cs typeface="Arial"/>
                </a:rPr>
                <a:t>@</a:t>
              </a:r>
              <a:r>
                <a:rPr lang="en-US" b="1" dirty="0" err="1">
                  <a:solidFill>
                    <a:srgbClr val="0096D6"/>
                  </a:solidFill>
                  <a:cs typeface="Arial"/>
                </a:rPr>
                <a:t>hplabs</a:t>
              </a:r>
              <a:endParaRPr lang="en-US" b="1" dirty="0">
                <a:solidFill>
                  <a:srgbClr val="0096D6"/>
                </a:solidFill>
                <a:cs typeface="Arial"/>
              </a:endParaRPr>
            </a:p>
          </p:txBody>
        </p:sp>
      </p:grpSp>
      <p:sp>
        <p:nvSpPr>
          <p:cNvPr id="18" name="TextBox 4"/>
          <p:cNvSpPr txBox="1">
            <a:spLocks noChangeArrowheads="1"/>
          </p:cNvSpPr>
          <p:nvPr/>
        </p:nvSpPr>
        <p:spPr bwMode="auto">
          <a:xfrm>
            <a:off x="7997700" y="1910643"/>
            <a:ext cx="327598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defTabSz="609296" fontAlgn="b"/>
            <a:r>
              <a:rPr lang="en-US" sz="1600" b="1" dirty="0">
                <a:solidFill>
                  <a:prstClr val="black"/>
                </a:solidFill>
                <a:latin typeface="HP Simplified"/>
                <a:cs typeface="Arial"/>
              </a:rPr>
              <a:t>Come learn more about HP Labs </a:t>
            </a:r>
            <a:r>
              <a:rPr lang="en-US" sz="1600" b="1" dirty="0" smtClean="0">
                <a:solidFill>
                  <a:prstClr val="black"/>
                </a:solidFill>
                <a:latin typeface="HP Simplified"/>
                <a:cs typeface="Arial"/>
              </a:rPr>
              <a:t>at </a:t>
            </a:r>
            <a:r>
              <a:rPr lang="en-US" sz="1600" b="1" dirty="0">
                <a:solidFill>
                  <a:prstClr val="black"/>
                </a:solidFill>
                <a:latin typeface="HP Simplified"/>
                <a:cs typeface="Arial"/>
              </a:rPr>
              <a:t>the </a:t>
            </a:r>
            <a:r>
              <a:rPr lang="en-US" sz="1600" b="1" dirty="0">
                <a:solidFill>
                  <a:srgbClr val="0096D6"/>
                </a:solidFill>
                <a:latin typeface="HP Simplified"/>
                <a:cs typeface="Arial"/>
              </a:rPr>
              <a:t>HP Labs Pavilion</a:t>
            </a:r>
            <a:r>
              <a:rPr lang="en-US" sz="1600" b="1" dirty="0">
                <a:solidFill>
                  <a:prstClr val="black"/>
                </a:solidFill>
                <a:latin typeface="HP Simplified"/>
                <a:cs typeface="Arial"/>
              </a:rPr>
              <a:t> located in the Discover Zon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4125946" y="1910645"/>
            <a:ext cx="3688538" cy="2418760"/>
            <a:chOff x="4125433" y="1825188"/>
            <a:chExt cx="3689498" cy="4469286"/>
          </a:xfrm>
        </p:grpSpPr>
        <p:cxnSp>
          <p:nvCxnSpPr>
            <p:cNvPr id="3" name="Straight Connector 2"/>
            <p:cNvCxnSpPr/>
            <p:nvPr/>
          </p:nvCxnSpPr>
          <p:spPr>
            <a:xfrm>
              <a:off x="4125433" y="1825188"/>
              <a:ext cx="0" cy="4469286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7814931" y="1825188"/>
              <a:ext cx="0" cy="4469286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4"/>
          <p:cNvSpPr txBox="1">
            <a:spLocks noChangeArrowheads="1"/>
          </p:cNvSpPr>
          <p:nvPr/>
        </p:nvSpPr>
        <p:spPr bwMode="auto">
          <a:xfrm>
            <a:off x="4354223" y="1910644"/>
            <a:ext cx="3275984" cy="1146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defTabSz="609296" fontAlgn="b">
              <a:spcBef>
                <a:spcPts val="600"/>
              </a:spcBef>
              <a:spcAft>
                <a:spcPts val="100"/>
              </a:spcAft>
            </a:pPr>
            <a:r>
              <a:rPr lang="en-US" sz="1600" b="1" dirty="0" smtClean="0">
                <a:solidFill>
                  <a:prstClr val="black"/>
                </a:solidFill>
                <a:latin typeface="HP Simplified"/>
                <a:cs typeface="Arial"/>
              </a:rPr>
              <a:t>Thursday, 11:30 am – 12:00 pm</a:t>
            </a:r>
          </a:p>
          <a:p>
            <a:pPr defTabSz="609296" fontAlgn="b">
              <a:spcAft>
                <a:spcPts val="200"/>
              </a:spcAft>
              <a:buFont typeface="Arial" pitchFamily="34" charset="0"/>
              <a:buChar char="•"/>
            </a:pPr>
            <a:r>
              <a:rPr lang="en-US" sz="1400" b="1" dirty="0" smtClean="0">
                <a:solidFill>
                  <a:srgbClr val="0096D6"/>
                </a:solidFill>
                <a:latin typeface="HP Simplified"/>
                <a:cs typeface="Arial"/>
              </a:rPr>
              <a:t>DT1330 </a:t>
            </a:r>
            <a:r>
              <a:rPr lang="en-US" sz="1400" dirty="0" smtClean="0">
                <a:solidFill>
                  <a:prstClr val="black"/>
                </a:solidFill>
                <a:latin typeface="HP Simplified"/>
                <a:cs typeface="Arial"/>
              </a:rPr>
              <a:t>– </a:t>
            </a:r>
            <a:r>
              <a:rPr lang="en-US" sz="1400" dirty="0" smtClean="0">
                <a:solidFill>
                  <a:prstClr val="black"/>
                </a:solidFill>
                <a:latin typeface="HP Simplified"/>
              </a:rPr>
              <a:t>Reimagining systems and application software for The Machine – A sneak peek from HP Labs</a:t>
            </a:r>
          </a:p>
          <a:p>
            <a:pPr defTabSz="609296" fontAlgn="b">
              <a:spcAft>
                <a:spcPts val="200"/>
              </a:spcAft>
              <a:buFont typeface="Arial" pitchFamily="34" charset="0"/>
              <a:buChar char="•"/>
            </a:pPr>
            <a:endParaRPr lang="en-US" sz="1400" dirty="0">
              <a:solidFill>
                <a:prstClr val="black"/>
              </a:solidFill>
              <a:latin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3083279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ratyusa K. Manadhata</a:t>
            </a:r>
          </a:p>
          <a:p>
            <a:r>
              <a:rPr lang="en-US" smtClean="0"/>
              <a:t>Manadhata@hp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39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up slid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438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7832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ecurity for The Machine – A sneak peek at security research from HP Lab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Pratyusa K. Manadhata / 3 June 2015</a:t>
            </a:r>
          </a:p>
          <a:p>
            <a:r>
              <a:rPr lang="en-US" dirty="0" smtClean="0"/>
              <a:t>#</a:t>
            </a:r>
            <a:r>
              <a:rPr lang="en-US" dirty="0" err="1" smtClean="0"/>
              <a:t>HPDiscov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775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/>
              <a:t>Use the mobile app to complete a session survey </a:t>
            </a:r>
            <a:endParaRPr lang="en-GB" dirty="0" smtClean="0"/>
          </a:p>
          <a:p>
            <a:pPr lvl="1"/>
            <a:r>
              <a:rPr lang="en-US" dirty="0" smtClean="0"/>
              <a:t>Search for the app in your app store: HP Discover</a:t>
            </a:r>
          </a:p>
          <a:p>
            <a:pPr lvl="1"/>
            <a:r>
              <a:rPr lang="en-US" dirty="0" smtClean="0"/>
              <a:t>Access “My agenda”</a:t>
            </a:r>
          </a:p>
          <a:p>
            <a:pPr lvl="1"/>
            <a:r>
              <a:rPr lang="en-US" dirty="0" smtClean="0"/>
              <a:t>Click on this session</a:t>
            </a:r>
          </a:p>
          <a:p>
            <a:pPr lvl="1"/>
            <a:r>
              <a:rPr lang="en-US" dirty="0" smtClean="0"/>
              <a:t>Go to “Rate &amp; review”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If the session is not on your schedule, just find it via the session catalog, click on this session and then go </a:t>
            </a:r>
            <a:br>
              <a:rPr lang="en-US" dirty="0" smtClean="0"/>
            </a:br>
            <a:r>
              <a:rPr lang="en-US" dirty="0" smtClean="0"/>
              <a:t>to “Rate &amp; review.”</a:t>
            </a:r>
          </a:p>
          <a:p>
            <a:r>
              <a:rPr lang="en-US" dirty="0" smtClean="0"/>
              <a:t>Thank you for providing your feedback to help us enhance content for future events.</a:t>
            </a:r>
          </a:p>
          <a:p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lease give me your feedback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 smtClean="0"/>
              <a:t>Session    DT1329		Speaker   </a:t>
            </a:r>
            <a:r>
              <a:rPr lang="en-US" dirty="0" err="1"/>
              <a:t>Pratyusa</a:t>
            </a:r>
            <a:r>
              <a:rPr lang="en-US" dirty="0"/>
              <a:t> </a:t>
            </a:r>
            <a:r>
              <a:rPr lang="en-US" dirty="0" err="1"/>
              <a:t>Manadhata</a:t>
            </a:r>
            <a:r>
              <a:rPr lang="en-US" dirty="0" smtClean="0"/>
              <a:t>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86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1" y="893"/>
          <a:ext cx="211612" cy="211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55" imgW="360" imgH="360" progId="">
                  <p:embed/>
                </p:oleObj>
              </mc:Choice>
              <mc:Fallback>
                <p:oleObj name="think-cell Slide" r:id="rId5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" y="893"/>
                        <a:ext cx="211612" cy="2116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HP Labs: engine of innovation </a:t>
            </a:r>
            <a:endParaRPr lang="en-US" dirty="0"/>
          </a:p>
        </p:txBody>
      </p:sp>
      <p:sp>
        <p:nvSpPr>
          <p:cNvPr id="6" name="TextBox 5"/>
          <p:cNvSpPr txBox="1"/>
          <p:nvPr>
            <p:custDataLst>
              <p:tags r:id="rId4"/>
            </p:custDataLst>
          </p:nvPr>
        </p:nvSpPr>
        <p:spPr>
          <a:xfrm>
            <a:off x="8997940" y="2233257"/>
            <a:ext cx="740930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10 </a:t>
            </a:r>
          </a:p>
          <a:p>
            <a:r>
              <a:rPr lang="en-US" sz="1050" dirty="0">
                <a:solidFill>
                  <a:prstClr val="black"/>
                </a:solidFill>
              </a:rPr>
              <a:t>ePrint </a:t>
            </a:r>
          </a:p>
        </p:txBody>
      </p:sp>
      <p:sp>
        <p:nvSpPr>
          <p:cNvPr id="7" name="TextBox 6"/>
          <p:cNvSpPr txBox="1"/>
          <p:nvPr>
            <p:custDataLst>
              <p:tags r:id="rId5"/>
            </p:custDataLst>
          </p:nvPr>
        </p:nvSpPr>
        <p:spPr>
          <a:xfrm>
            <a:off x="9371012" y="3979215"/>
            <a:ext cx="1136039" cy="1131079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11 </a:t>
            </a:r>
          </a:p>
          <a:p>
            <a:r>
              <a:rPr lang="en-US" sz="1050" dirty="0" err="1">
                <a:solidFill>
                  <a:prstClr val="black"/>
                </a:solidFill>
              </a:rPr>
              <a:t>MagCloud</a:t>
            </a:r>
            <a:endParaRPr lang="en-US" sz="1050" dirty="0">
              <a:solidFill>
                <a:prstClr val="black"/>
              </a:solidFill>
            </a:endParaRPr>
          </a:p>
          <a:p>
            <a:endParaRPr lang="en-US" sz="1050" dirty="0">
              <a:solidFill>
                <a:prstClr val="black"/>
              </a:solidFill>
            </a:endParaRPr>
          </a:p>
          <a:p>
            <a:r>
              <a:rPr lang="en-US" sz="1050" dirty="0">
                <a:solidFill>
                  <a:prstClr val="black"/>
                </a:solidFill>
              </a:rPr>
              <a:t>3D Photon</a:t>
            </a:r>
          </a:p>
          <a:p>
            <a:r>
              <a:rPr lang="en-US" sz="1050" dirty="0">
                <a:solidFill>
                  <a:prstClr val="black"/>
                </a:solidFill>
              </a:rPr>
              <a:t>Engine </a:t>
            </a:r>
          </a:p>
          <a:p>
            <a:endParaRPr lang="en-US" sz="1050" dirty="0">
              <a:solidFill>
                <a:prstClr val="black"/>
              </a:solidFill>
            </a:endParaRPr>
          </a:p>
          <a:p>
            <a:r>
              <a:rPr lang="en-US" sz="1050" dirty="0" err="1">
                <a:solidFill>
                  <a:prstClr val="black"/>
                </a:solidFill>
              </a:rPr>
              <a:t>StoreOnce</a:t>
            </a:r>
            <a:endParaRPr lang="en-US" sz="105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>
            <p:custDataLst>
              <p:tags r:id="rId6"/>
            </p:custDataLst>
          </p:nvPr>
        </p:nvSpPr>
        <p:spPr>
          <a:xfrm>
            <a:off x="9992665" y="1422263"/>
            <a:ext cx="1104612" cy="807913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12</a:t>
            </a:r>
          </a:p>
          <a:p>
            <a:r>
              <a:rPr lang="en-US" sz="1050" dirty="0" err="1">
                <a:solidFill>
                  <a:prstClr val="black"/>
                </a:solidFill>
              </a:rPr>
              <a:t>StoreAll</a:t>
            </a:r>
            <a:endParaRPr lang="en-US" sz="1050" dirty="0">
              <a:solidFill>
                <a:prstClr val="black"/>
              </a:solidFill>
            </a:endParaRPr>
          </a:p>
          <a:p>
            <a:endParaRPr lang="en-US" sz="1050" dirty="0">
              <a:solidFill>
                <a:prstClr val="black"/>
              </a:solidFill>
            </a:endParaRPr>
          </a:p>
          <a:p>
            <a:r>
              <a:rPr lang="en-US" sz="1050" dirty="0" err="1">
                <a:solidFill>
                  <a:prstClr val="black"/>
                </a:solidFill>
              </a:rPr>
              <a:t>OpenFlow</a:t>
            </a:r>
            <a:endParaRPr lang="en-US" sz="1050" dirty="0">
              <a:solidFill>
                <a:prstClr val="black"/>
              </a:solidFill>
            </a:endParaRPr>
          </a:p>
          <a:p>
            <a:r>
              <a:rPr lang="en-US" sz="1050" dirty="0">
                <a:solidFill>
                  <a:prstClr val="black"/>
                </a:solidFill>
              </a:rPr>
              <a:t>switches</a:t>
            </a:r>
          </a:p>
        </p:txBody>
      </p:sp>
      <p:cxnSp>
        <p:nvCxnSpPr>
          <p:cNvPr id="13" name="Straight Connector 12"/>
          <p:cNvCxnSpPr/>
          <p:nvPr>
            <p:custDataLst>
              <p:tags r:id="rId7"/>
            </p:custDataLst>
          </p:nvPr>
        </p:nvCxnSpPr>
        <p:spPr>
          <a:xfrm rot="16200000" flipV="1">
            <a:off x="8381441" y="3077455"/>
            <a:ext cx="1218883" cy="174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8"/>
            </p:custDataLst>
          </p:nvPr>
        </p:nvCxnSpPr>
        <p:spPr>
          <a:xfrm rot="16200000" flipV="1">
            <a:off x="6216459" y="3195886"/>
            <a:ext cx="975106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9"/>
            </p:custDataLst>
          </p:nvPr>
        </p:nvCxnSpPr>
        <p:spPr>
          <a:xfrm rot="16200000" flipV="1">
            <a:off x="5132654" y="3223304"/>
            <a:ext cx="975106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10"/>
            </p:custDataLst>
          </p:nvPr>
        </p:nvCxnSpPr>
        <p:spPr>
          <a:xfrm rot="5400000">
            <a:off x="4828824" y="4490943"/>
            <a:ext cx="1584547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11"/>
            </p:custDataLst>
          </p:nvPr>
        </p:nvCxnSpPr>
        <p:spPr>
          <a:xfrm rot="5400000">
            <a:off x="1561852" y="4856605"/>
            <a:ext cx="2315877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12"/>
            </p:custDataLst>
          </p:nvPr>
        </p:nvCxnSpPr>
        <p:spPr>
          <a:xfrm rot="16200000" flipV="1">
            <a:off x="1837423" y="2693839"/>
            <a:ext cx="1950212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13"/>
            </p:custDataLst>
          </p:nvPr>
        </p:nvCxnSpPr>
        <p:spPr>
          <a:xfrm rot="5400000">
            <a:off x="2113048" y="4464060"/>
            <a:ext cx="1584547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14"/>
            </p:custDataLst>
          </p:nvPr>
        </p:nvCxnSpPr>
        <p:spPr>
          <a:xfrm rot="16200000" flipV="1">
            <a:off x="2852009" y="3082843"/>
            <a:ext cx="1218883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15"/>
            </p:custDataLst>
          </p:nvPr>
        </p:nvCxnSpPr>
        <p:spPr>
          <a:xfrm rot="5400000">
            <a:off x="3421212" y="4123480"/>
            <a:ext cx="975106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16"/>
            </p:custDataLst>
          </p:nvPr>
        </p:nvCxnSpPr>
        <p:spPr>
          <a:xfrm rot="16200000" flipV="1">
            <a:off x="3476765" y="2643658"/>
            <a:ext cx="2193989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17"/>
            </p:custDataLst>
          </p:nvPr>
        </p:nvCxnSpPr>
        <p:spPr>
          <a:xfrm flipV="1">
            <a:off x="5118739" y="2087579"/>
            <a:ext cx="0" cy="1584547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18"/>
            </p:custDataLst>
          </p:nvPr>
        </p:nvCxnSpPr>
        <p:spPr>
          <a:xfrm rot="5400000">
            <a:off x="5908791" y="4066129"/>
            <a:ext cx="609441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19"/>
            </p:custDataLst>
          </p:nvPr>
        </p:nvCxnSpPr>
        <p:spPr>
          <a:xfrm rot="5400000">
            <a:off x="6354653" y="4734719"/>
            <a:ext cx="2072100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20"/>
            </p:custDataLst>
          </p:nvPr>
        </p:nvCxnSpPr>
        <p:spPr>
          <a:xfrm flipV="1">
            <a:off x="7694612" y="1719623"/>
            <a:ext cx="0" cy="1943728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21"/>
            </p:custDataLst>
          </p:nvPr>
        </p:nvCxnSpPr>
        <p:spPr>
          <a:xfrm>
            <a:off x="8011218" y="3712256"/>
            <a:ext cx="1166" cy="1584547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22"/>
            </p:custDataLst>
          </p:nvPr>
        </p:nvCxnSpPr>
        <p:spPr>
          <a:xfrm flipH="1" flipV="1">
            <a:off x="7847012" y="2217876"/>
            <a:ext cx="0" cy="1462659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23"/>
            </p:custDataLst>
          </p:nvPr>
        </p:nvCxnSpPr>
        <p:spPr>
          <a:xfrm flipH="1">
            <a:off x="8380412" y="3690595"/>
            <a:ext cx="0" cy="975106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24"/>
            </p:custDataLst>
          </p:nvPr>
        </p:nvCxnSpPr>
        <p:spPr>
          <a:xfrm rot="5400000">
            <a:off x="4400163" y="3958494"/>
            <a:ext cx="365665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>
            <p:custDataLst>
              <p:tags r:id="rId25"/>
            </p:custDataLst>
          </p:nvPr>
        </p:nvSpPr>
        <p:spPr>
          <a:xfrm>
            <a:off x="2916506" y="5023756"/>
            <a:ext cx="2119514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68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ogrammable Desktop Calculator </a:t>
            </a:r>
          </a:p>
        </p:txBody>
      </p:sp>
      <p:sp>
        <p:nvSpPr>
          <p:cNvPr id="33" name="TextBox 32"/>
          <p:cNvSpPr txBox="1"/>
          <p:nvPr>
            <p:custDataLst>
              <p:tags r:id="rId26"/>
            </p:custDataLst>
          </p:nvPr>
        </p:nvSpPr>
        <p:spPr>
          <a:xfrm>
            <a:off x="8406934" y="4432922"/>
            <a:ext cx="937274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05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Virus Throttle</a:t>
            </a:r>
          </a:p>
        </p:txBody>
      </p:sp>
      <p:sp>
        <p:nvSpPr>
          <p:cNvPr id="34" name="TextBox 33"/>
          <p:cNvSpPr txBox="1"/>
          <p:nvPr>
            <p:custDataLst>
              <p:tags r:id="rId27"/>
            </p:custDataLst>
          </p:nvPr>
        </p:nvSpPr>
        <p:spPr>
          <a:xfrm>
            <a:off x="5628069" y="2487627"/>
            <a:ext cx="942940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6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3D graphics workstations </a:t>
            </a:r>
          </a:p>
        </p:txBody>
      </p:sp>
      <p:sp>
        <p:nvSpPr>
          <p:cNvPr id="35" name="TextBox 34"/>
          <p:cNvSpPr txBox="1"/>
          <p:nvPr>
            <p:custDataLst>
              <p:tags r:id="rId28"/>
            </p:custDataLst>
          </p:nvPr>
        </p:nvSpPr>
        <p:spPr>
          <a:xfrm>
            <a:off x="3469473" y="2234704"/>
            <a:ext cx="1161965" cy="646331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72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Pocket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cientific Calculator</a:t>
            </a:r>
          </a:p>
        </p:txBody>
      </p:sp>
      <p:sp>
        <p:nvSpPr>
          <p:cNvPr id="36" name="TextBox 35"/>
          <p:cNvSpPr txBox="1"/>
          <p:nvPr>
            <p:custDataLst>
              <p:tags r:id="rId29"/>
            </p:custDataLst>
          </p:nvPr>
        </p:nvSpPr>
        <p:spPr>
          <a:xfrm>
            <a:off x="3918189" y="4392047"/>
            <a:ext cx="1751248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75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tandard for Interface Bus </a:t>
            </a:r>
          </a:p>
        </p:txBody>
      </p:sp>
      <p:sp>
        <p:nvSpPr>
          <p:cNvPr id="37" name="TextBox 36"/>
          <p:cNvSpPr txBox="1"/>
          <p:nvPr>
            <p:custDataLst>
              <p:tags r:id="rId30"/>
            </p:custDataLst>
          </p:nvPr>
        </p:nvSpPr>
        <p:spPr>
          <a:xfrm>
            <a:off x="4586495" y="3907975"/>
            <a:ext cx="814267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0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64-channel Ultrasound </a:t>
            </a:r>
          </a:p>
        </p:txBody>
      </p:sp>
      <p:sp>
        <p:nvSpPr>
          <p:cNvPr id="38" name="TextBox 37"/>
          <p:cNvSpPr txBox="1"/>
          <p:nvPr>
            <p:custDataLst>
              <p:tags r:id="rId31"/>
            </p:custDataLst>
          </p:nvPr>
        </p:nvSpPr>
        <p:spPr>
          <a:xfrm>
            <a:off x="5634007" y="5058898"/>
            <a:ext cx="1070005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6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mmercialized RISC chips </a:t>
            </a:r>
          </a:p>
        </p:txBody>
      </p:sp>
      <p:sp>
        <p:nvSpPr>
          <p:cNvPr id="39" name="TextBox 38"/>
          <p:cNvSpPr txBox="1"/>
          <p:nvPr>
            <p:custDataLst>
              <p:tags r:id="rId32"/>
            </p:custDataLst>
          </p:nvPr>
        </p:nvSpPr>
        <p:spPr>
          <a:xfrm>
            <a:off x="5134326" y="1864975"/>
            <a:ext cx="967789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4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Inkjet Printer </a:t>
            </a:r>
          </a:p>
        </p:txBody>
      </p:sp>
      <p:sp>
        <p:nvSpPr>
          <p:cNvPr id="40" name="TextBox 39"/>
          <p:cNvSpPr txBox="1"/>
          <p:nvPr>
            <p:custDataLst>
              <p:tags r:id="rId33"/>
            </p:custDataLst>
          </p:nvPr>
        </p:nvSpPr>
        <p:spPr>
          <a:xfrm>
            <a:off x="4584275" y="1343693"/>
            <a:ext cx="1317762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0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Office Laser Printer </a:t>
            </a:r>
          </a:p>
        </p:txBody>
      </p:sp>
      <p:sp>
        <p:nvSpPr>
          <p:cNvPr id="41" name="TextBox 40"/>
          <p:cNvSpPr txBox="1"/>
          <p:nvPr>
            <p:custDataLst>
              <p:tags r:id="rId34"/>
            </p:custDataLst>
          </p:nvPr>
        </p:nvSpPr>
        <p:spPr>
          <a:xfrm>
            <a:off x="6219821" y="4146657"/>
            <a:ext cx="991493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9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Digital Data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torage Drive </a:t>
            </a:r>
          </a:p>
        </p:txBody>
      </p:sp>
      <p:sp>
        <p:nvSpPr>
          <p:cNvPr id="42" name="TextBox 41"/>
          <p:cNvSpPr txBox="1"/>
          <p:nvPr>
            <p:custDataLst>
              <p:tags r:id="rId35"/>
            </p:custDataLst>
          </p:nvPr>
        </p:nvSpPr>
        <p:spPr>
          <a:xfrm>
            <a:off x="2822032" y="1505294"/>
            <a:ext cx="1127785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67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Cesium-beam atomic clock </a:t>
            </a:r>
          </a:p>
        </p:txBody>
      </p:sp>
      <p:sp>
        <p:nvSpPr>
          <p:cNvPr id="43" name="TextBox 42"/>
          <p:cNvSpPr txBox="1"/>
          <p:nvPr>
            <p:custDataLst>
              <p:tags r:id="rId36"/>
            </p:custDataLst>
          </p:nvPr>
        </p:nvSpPr>
        <p:spPr>
          <a:xfrm>
            <a:off x="7398162" y="5572810"/>
            <a:ext cx="1302493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99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Molecular Logic Gate </a:t>
            </a:r>
          </a:p>
        </p:txBody>
      </p:sp>
      <p:sp>
        <p:nvSpPr>
          <p:cNvPr id="44" name="TextBox 43"/>
          <p:cNvSpPr txBox="1"/>
          <p:nvPr>
            <p:custDataLst>
              <p:tags r:id="rId37"/>
            </p:custDataLst>
          </p:nvPr>
        </p:nvSpPr>
        <p:spPr>
          <a:xfrm>
            <a:off x="6711238" y="2463157"/>
            <a:ext cx="793622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94 </a:t>
            </a:r>
          </a:p>
          <a:p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64-bit</a:t>
            </a:r>
          </a:p>
          <a:p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architecture </a:t>
            </a:r>
            <a:endParaRPr lang="en-US" sz="10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5" name="TextBox 44"/>
          <p:cNvSpPr txBox="1"/>
          <p:nvPr>
            <p:custDataLst>
              <p:tags r:id="rId38"/>
            </p:custDataLst>
          </p:nvPr>
        </p:nvSpPr>
        <p:spPr>
          <a:xfrm>
            <a:off x="7705003" y="1477588"/>
            <a:ext cx="1196605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01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Utility Data Center</a:t>
            </a:r>
          </a:p>
        </p:txBody>
      </p:sp>
      <p:sp>
        <p:nvSpPr>
          <p:cNvPr id="46" name="TextBox 45"/>
          <p:cNvSpPr txBox="1"/>
          <p:nvPr>
            <p:custDataLst>
              <p:tags r:id="rId39"/>
            </p:custDataLst>
          </p:nvPr>
        </p:nvSpPr>
        <p:spPr>
          <a:xfrm>
            <a:off x="8024788" y="5058899"/>
            <a:ext cx="973152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03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mart Cooling </a:t>
            </a:r>
          </a:p>
        </p:txBody>
      </p:sp>
      <p:sp>
        <p:nvSpPr>
          <p:cNvPr id="47" name="TextBox 46"/>
          <p:cNvSpPr txBox="1"/>
          <p:nvPr>
            <p:custDataLst>
              <p:tags r:id="rId40"/>
            </p:custDataLst>
          </p:nvPr>
        </p:nvSpPr>
        <p:spPr>
          <a:xfrm>
            <a:off x="2731934" y="5783699"/>
            <a:ext cx="1579876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66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Light Emitting Diode (LED) </a:t>
            </a:r>
          </a:p>
        </p:txBody>
      </p:sp>
      <p:sp>
        <p:nvSpPr>
          <p:cNvPr id="48" name="TextBox 47"/>
          <p:cNvSpPr txBox="1"/>
          <p:nvPr>
            <p:custDataLst>
              <p:tags r:id="rId41"/>
            </p:custDataLst>
          </p:nvPr>
        </p:nvSpPr>
        <p:spPr>
          <a:xfrm>
            <a:off x="7884366" y="1978966"/>
            <a:ext cx="1053704" cy="646331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02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Rewritable DVD for standard players </a:t>
            </a:r>
          </a:p>
        </p:txBody>
      </p:sp>
      <p:pic>
        <p:nvPicPr>
          <p:cNvPr id="11" name="Picture 10" descr="billanddave.jpg"/>
          <p:cNvPicPr>
            <a:picLocks noChangeAspect="1"/>
          </p:cNvPicPr>
          <p:nvPr>
            <p:custDataLst>
              <p:tags r:id="rId42"/>
            </p:custDataLst>
          </p:nvPr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85927" y="2694730"/>
            <a:ext cx="2384813" cy="1816896"/>
          </a:xfrm>
          <a:prstGeom prst="rect">
            <a:avLst/>
          </a:prstGeom>
        </p:spPr>
      </p:pic>
      <p:sp>
        <p:nvSpPr>
          <p:cNvPr id="12" name="Rectangle 11"/>
          <p:cNvSpPr/>
          <p:nvPr>
            <p:custDataLst>
              <p:tags r:id="rId43"/>
            </p:custDataLst>
          </p:nvPr>
        </p:nvSpPr>
        <p:spPr>
          <a:xfrm>
            <a:off x="265253" y="4007995"/>
            <a:ext cx="845103" cy="4615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399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966</a:t>
            </a:r>
          </a:p>
        </p:txBody>
      </p:sp>
      <p:sp>
        <p:nvSpPr>
          <p:cNvPr id="51" name="TextBox 50"/>
          <p:cNvSpPr txBox="1"/>
          <p:nvPr>
            <p:custDataLst>
              <p:tags r:id="rId44"/>
            </p:custDataLst>
          </p:nvPr>
        </p:nvSpPr>
        <p:spPr>
          <a:xfrm>
            <a:off x="10742612" y="2087579"/>
            <a:ext cx="1445722" cy="1277273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14</a:t>
            </a:r>
          </a:p>
          <a:p>
            <a:r>
              <a:rPr lang="en-US" sz="1050" dirty="0" smtClean="0">
                <a:solidFill>
                  <a:prstClr val="black"/>
                </a:solidFill>
              </a:rPr>
              <a:t>Location Aware</a:t>
            </a:r>
          </a:p>
          <a:p>
            <a:endParaRPr lang="en-US" sz="500" dirty="0" smtClean="0">
              <a:solidFill>
                <a:prstClr val="black"/>
              </a:solidFill>
            </a:endParaRPr>
          </a:p>
          <a:p>
            <a:r>
              <a:rPr lang="en-US" sz="1050" dirty="0" err="1" smtClean="0">
                <a:solidFill>
                  <a:prstClr val="black"/>
                </a:solidFill>
              </a:rPr>
              <a:t>Trafodion</a:t>
            </a:r>
            <a:endParaRPr lang="en-US" sz="1050" dirty="0" smtClean="0">
              <a:solidFill>
                <a:prstClr val="black"/>
              </a:solidFill>
            </a:endParaRPr>
          </a:p>
          <a:p>
            <a:endParaRPr lang="en-US" sz="500" dirty="0" smtClean="0">
              <a:solidFill>
                <a:prstClr val="black"/>
              </a:solidFill>
            </a:endParaRPr>
          </a:p>
          <a:p>
            <a:r>
              <a:rPr lang="en-US" sz="1050" dirty="0" smtClean="0">
                <a:solidFill>
                  <a:prstClr val="black"/>
                </a:solidFill>
              </a:rPr>
              <a:t>DNS Logging</a:t>
            </a:r>
          </a:p>
          <a:p>
            <a:endParaRPr lang="en-US" sz="500" dirty="0" smtClean="0">
              <a:solidFill>
                <a:prstClr val="black"/>
              </a:solidFill>
            </a:endParaRPr>
          </a:p>
          <a:p>
            <a:r>
              <a:rPr lang="en-US" sz="1050" dirty="0" err="1" smtClean="0">
                <a:solidFill>
                  <a:prstClr val="black"/>
                </a:solidFill>
              </a:rPr>
              <a:t>QoS</a:t>
            </a:r>
            <a:r>
              <a:rPr lang="en-US" sz="1050" dirty="0" smtClean="0">
                <a:solidFill>
                  <a:prstClr val="black"/>
                </a:solidFill>
              </a:rPr>
              <a:t> Controller</a:t>
            </a:r>
          </a:p>
          <a:p>
            <a:endParaRPr lang="en-US" sz="500" dirty="0" smtClean="0">
              <a:solidFill>
                <a:prstClr val="black"/>
              </a:solidFill>
            </a:endParaRPr>
          </a:p>
          <a:p>
            <a:r>
              <a:rPr lang="en-US" sz="1050" dirty="0" smtClean="0">
                <a:solidFill>
                  <a:prstClr val="black"/>
                </a:solidFill>
              </a:rPr>
              <a:t>3D Printing Technology</a:t>
            </a:r>
            <a:endParaRPr lang="en-US" sz="1050" dirty="0">
              <a:solidFill>
                <a:prstClr val="black"/>
              </a:solidFill>
            </a:endParaRPr>
          </a:p>
        </p:txBody>
      </p:sp>
      <p:sp>
        <p:nvSpPr>
          <p:cNvPr id="53" name="TextBox 52"/>
          <p:cNvSpPr txBox="1"/>
          <p:nvPr>
            <p:custDataLst>
              <p:tags r:id="rId45"/>
            </p:custDataLst>
          </p:nvPr>
        </p:nvSpPr>
        <p:spPr>
          <a:xfrm>
            <a:off x="10228394" y="3979216"/>
            <a:ext cx="1073717" cy="1131079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13</a:t>
            </a:r>
          </a:p>
          <a:p>
            <a:r>
              <a:rPr lang="en-US" sz="1050" dirty="0">
                <a:solidFill>
                  <a:prstClr val="black"/>
                </a:solidFill>
              </a:rPr>
              <a:t>Moonshot</a:t>
            </a:r>
          </a:p>
          <a:p>
            <a:endParaRPr lang="en-US" sz="1050" b="1" dirty="0">
              <a:solidFill>
                <a:prstClr val="black"/>
              </a:solidFill>
            </a:endParaRPr>
          </a:p>
          <a:p>
            <a:r>
              <a:rPr lang="en-US" sz="1050" dirty="0">
                <a:solidFill>
                  <a:prstClr val="black"/>
                </a:solidFill>
              </a:rPr>
              <a:t>Threat Central</a:t>
            </a:r>
          </a:p>
          <a:p>
            <a:endParaRPr lang="en-US" sz="1050" b="1" dirty="0">
              <a:solidFill>
                <a:prstClr val="black"/>
              </a:solidFill>
            </a:endParaRPr>
          </a:p>
          <a:p>
            <a:r>
              <a:rPr lang="en-US" sz="1050" dirty="0">
                <a:solidFill>
                  <a:prstClr val="black"/>
                </a:solidFill>
              </a:rPr>
              <a:t>SureStart</a:t>
            </a:r>
          </a:p>
          <a:p>
            <a:endParaRPr lang="en-US" sz="1050" dirty="0">
              <a:solidFill>
                <a:prstClr val="black"/>
              </a:solidFill>
            </a:endParaRPr>
          </a:p>
        </p:txBody>
      </p:sp>
      <p:grpSp>
        <p:nvGrpSpPr>
          <p:cNvPr id="65" name="Group 64"/>
          <p:cNvGrpSpPr/>
          <p:nvPr/>
        </p:nvGrpSpPr>
        <p:grpSpPr>
          <a:xfrm>
            <a:off x="9961694" y="1678530"/>
            <a:ext cx="45720" cy="2009236"/>
            <a:chOff x="7616905" y="967535"/>
            <a:chExt cx="34299" cy="1507320"/>
          </a:xfrm>
        </p:grpSpPr>
        <p:cxnSp>
          <p:nvCxnSpPr>
            <p:cNvPr id="4" name="Straight Connector 3"/>
            <p:cNvCxnSpPr/>
            <p:nvPr>
              <p:custDataLst>
                <p:tags r:id="rId52"/>
              </p:custDataLst>
            </p:nvPr>
          </p:nvCxnSpPr>
          <p:spPr>
            <a:xfrm flipV="1">
              <a:off x="7634552" y="967535"/>
              <a:ext cx="0" cy="1507320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Oval 53"/>
            <p:cNvSpPr/>
            <p:nvPr/>
          </p:nvSpPr>
          <p:spPr>
            <a:xfrm>
              <a:off x="7616905" y="1188421"/>
              <a:ext cx="34299" cy="34299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>
                <a:solidFill>
                  <a:prstClr val="white"/>
                </a:solidFill>
              </a:endParaRPr>
            </a:p>
          </p:txBody>
        </p:sp>
      </p:grpSp>
      <p:cxnSp>
        <p:nvCxnSpPr>
          <p:cNvPr id="50" name="Straight Connector 49"/>
          <p:cNvCxnSpPr/>
          <p:nvPr>
            <p:custDataLst>
              <p:tags r:id="rId46"/>
            </p:custDataLst>
          </p:nvPr>
        </p:nvCxnSpPr>
        <p:spPr>
          <a:xfrm flipV="1">
            <a:off x="10742612" y="2325617"/>
            <a:ext cx="0" cy="1354025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47"/>
            </p:custDataLst>
          </p:nvPr>
        </p:nvCxnSpPr>
        <p:spPr>
          <a:xfrm flipH="1">
            <a:off x="9370143" y="3816927"/>
            <a:ext cx="1" cy="1204679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Oval 63"/>
          <p:cNvSpPr/>
          <p:nvPr/>
        </p:nvSpPr>
        <p:spPr>
          <a:xfrm>
            <a:off x="9344207" y="4215904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sp>
        <p:nvSpPr>
          <p:cNvPr id="66" name="Oval 65"/>
          <p:cNvSpPr/>
          <p:nvPr/>
        </p:nvSpPr>
        <p:spPr>
          <a:xfrm>
            <a:off x="9344207" y="4537325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cxnSp>
        <p:nvCxnSpPr>
          <p:cNvPr id="68" name="Straight Connector 67"/>
          <p:cNvCxnSpPr/>
          <p:nvPr>
            <p:custDataLst>
              <p:tags r:id="rId48"/>
            </p:custDataLst>
          </p:nvPr>
        </p:nvCxnSpPr>
        <p:spPr>
          <a:xfrm flipH="1">
            <a:off x="10240596" y="3816927"/>
            <a:ext cx="1" cy="1040568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68"/>
          <p:cNvSpPr/>
          <p:nvPr/>
        </p:nvSpPr>
        <p:spPr>
          <a:xfrm>
            <a:off x="10216039" y="4216447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sp>
        <p:nvSpPr>
          <p:cNvPr id="70" name="Oval 69"/>
          <p:cNvSpPr/>
          <p:nvPr/>
        </p:nvSpPr>
        <p:spPr>
          <a:xfrm>
            <a:off x="10216039" y="4530300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sp>
        <p:nvSpPr>
          <p:cNvPr id="49" name="Rectangle 48"/>
          <p:cNvSpPr/>
          <p:nvPr>
            <p:custDataLst>
              <p:tags r:id="rId49"/>
            </p:custDataLst>
          </p:nvPr>
        </p:nvSpPr>
        <p:spPr>
          <a:xfrm>
            <a:off x="2566984" y="3599508"/>
            <a:ext cx="9621842" cy="2240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4" tIns="60944" rIns="60944" rtlCol="0" anchor="ctr"/>
          <a:lstStyle/>
          <a:p>
            <a:pPr algn="r"/>
            <a:r>
              <a:rPr lang="en-US" sz="1050" dirty="0">
                <a:solidFill>
                  <a:prstClr val="black">
                    <a:lumMod val="50000"/>
                    <a:lumOff val="50000"/>
                  </a:prstClr>
                </a:solidFill>
                <a:latin typeface="Futura Hv" pitchFamily="34" charset="0"/>
              </a:rPr>
              <a:t>				</a:t>
            </a:r>
          </a:p>
        </p:txBody>
      </p:sp>
      <p:sp>
        <p:nvSpPr>
          <p:cNvPr id="72" name="Oval 71"/>
          <p:cNvSpPr/>
          <p:nvPr/>
        </p:nvSpPr>
        <p:spPr>
          <a:xfrm>
            <a:off x="10719751" y="2552334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sp>
        <p:nvSpPr>
          <p:cNvPr id="73" name="Oval 72"/>
          <p:cNvSpPr/>
          <p:nvPr/>
        </p:nvSpPr>
        <p:spPr>
          <a:xfrm>
            <a:off x="10719751" y="2784270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sp>
        <p:nvSpPr>
          <p:cNvPr id="74" name="Oval 73"/>
          <p:cNvSpPr/>
          <p:nvPr/>
        </p:nvSpPr>
        <p:spPr>
          <a:xfrm>
            <a:off x="10719751" y="3019296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sp>
        <p:nvSpPr>
          <p:cNvPr id="75" name="Oval 74"/>
          <p:cNvSpPr/>
          <p:nvPr/>
        </p:nvSpPr>
        <p:spPr>
          <a:xfrm>
            <a:off x="10716899" y="3243773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cxnSp>
        <p:nvCxnSpPr>
          <p:cNvPr id="76" name="Straight Connector 75"/>
          <p:cNvCxnSpPr/>
          <p:nvPr>
            <p:custDataLst>
              <p:tags r:id="rId50"/>
            </p:custDataLst>
          </p:nvPr>
        </p:nvCxnSpPr>
        <p:spPr>
          <a:xfrm flipH="1">
            <a:off x="11123612" y="3816927"/>
            <a:ext cx="0" cy="975106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>
            <p:custDataLst>
              <p:tags r:id="rId51"/>
            </p:custDataLst>
          </p:nvPr>
        </p:nvSpPr>
        <p:spPr>
          <a:xfrm>
            <a:off x="11133439" y="4564165"/>
            <a:ext cx="910426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 smtClean="0">
                <a:solidFill>
                  <a:srgbClr val="0096D6"/>
                </a:solidFill>
              </a:rPr>
              <a:t>2015 </a:t>
            </a:r>
            <a:endParaRPr lang="en-US" sz="1050" b="1" dirty="0">
              <a:solidFill>
                <a:srgbClr val="0096D6"/>
              </a:solidFill>
            </a:endParaRPr>
          </a:p>
          <a:p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Distributed R</a:t>
            </a:r>
            <a:endParaRPr lang="en-US" sz="10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170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1" y="893"/>
          <a:ext cx="211612" cy="211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5" imgW="360" imgH="360" progId="">
                  <p:embed/>
                </p:oleObj>
              </mc:Choice>
              <mc:Fallback>
                <p:oleObj name="think-cell Slide" r:id="rId5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" y="893"/>
                        <a:ext cx="211612" cy="2116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HP Labs: engine of innovation </a:t>
            </a:r>
            <a:endParaRPr lang="en-US" dirty="0"/>
          </a:p>
        </p:txBody>
      </p:sp>
      <p:sp>
        <p:nvSpPr>
          <p:cNvPr id="6" name="TextBox 5"/>
          <p:cNvSpPr txBox="1"/>
          <p:nvPr>
            <p:custDataLst>
              <p:tags r:id="rId4"/>
            </p:custDataLst>
          </p:nvPr>
        </p:nvSpPr>
        <p:spPr>
          <a:xfrm>
            <a:off x="8997940" y="2233257"/>
            <a:ext cx="740930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</a:rPr>
              <a:t>2010 </a:t>
            </a:r>
          </a:p>
          <a:p>
            <a:r>
              <a:rPr lang="en-US" sz="1050" dirty="0">
                <a:solidFill>
                  <a:prstClr val="black"/>
                </a:solidFill>
              </a:rPr>
              <a:t>ePrint </a:t>
            </a:r>
          </a:p>
        </p:txBody>
      </p:sp>
      <p:sp>
        <p:nvSpPr>
          <p:cNvPr id="7" name="TextBox 6"/>
          <p:cNvSpPr txBox="1"/>
          <p:nvPr>
            <p:custDataLst>
              <p:tags r:id="rId5"/>
            </p:custDataLst>
          </p:nvPr>
        </p:nvSpPr>
        <p:spPr>
          <a:xfrm>
            <a:off x="9306360" y="3979215"/>
            <a:ext cx="1136039" cy="1131079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</a:rPr>
              <a:t>2011 </a:t>
            </a:r>
          </a:p>
          <a:p>
            <a:r>
              <a:rPr lang="en-US" sz="1050" dirty="0" err="1">
                <a:solidFill>
                  <a:prstClr val="black"/>
                </a:solidFill>
              </a:rPr>
              <a:t>MagCloud</a:t>
            </a:r>
            <a:endParaRPr lang="en-US" sz="1050" dirty="0">
              <a:solidFill>
                <a:prstClr val="black"/>
              </a:solidFill>
            </a:endParaRPr>
          </a:p>
          <a:p>
            <a:endParaRPr lang="en-US" sz="1050" dirty="0">
              <a:solidFill>
                <a:prstClr val="black"/>
              </a:solidFill>
            </a:endParaRPr>
          </a:p>
          <a:p>
            <a:r>
              <a:rPr lang="en-US" sz="1050" dirty="0">
                <a:solidFill>
                  <a:prstClr val="black"/>
                </a:solidFill>
              </a:rPr>
              <a:t>3D Photon</a:t>
            </a:r>
          </a:p>
          <a:p>
            <a:r>
              <a:rPr lang="en-US" sz="1050" dirty="0">
                <a:solidFill>
                  <a:prstClr val="black"/>
                </a:solidFill>
              </a:rPr>
              <a:t>Engine </a:t>
            </a:r>
          </a:p>
          <a:p>
            <a:endParaRPr lang="en-US" sz="1050" dirty="0">
              <a:solidFill>
                <a:prstClr val="black"/>
              </a:solidFill>
            </a:endParaRPr>
          </a:p>
          <a:p>
            <a:r>
              <a:rPr lang="en-US" sz="1050" dirty="0" err="1">
                <a:solidFill>
                  <a:prstClr val="black"/>
                </a:solidFill>
              </a:rPr>
              <a:t>StoreOnce</a:t>
            </a:r>
            <a:endParaRPr lang="en-US" sz="105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>
            <p:custDataLst>
              <p:tags r:id="rId6"/>
            </p:custDataLst>
          </p:nvPr>
        </p:nvSpPr>
        <p:spPr>
          <a:xfrm>
            <a:off x="9992665" y="1422263"/>
            <a:ext cx="1104612" cy="807913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</a:rPr>
              <a:t>2012</a:t>
            </a:r>
          </a:p>
          <a:p>
            <a:r>
              <a:rPr lang="en-US" sz="1050" dirty="0" err="1">
                <a:solidFill>
                  <a:prstClr val="black"/>
                </a:solidFill>
              </a:rPr>
              <a:t>StoreAll</a:t>
            </a:r>
            <a:endParaRPr lang="en-US" sz="1050" dirty="0">
              <a:solidFill>
                <a:prstClr val="black"/>
              </a:solidFill>
            </a:endParaRPr>
          </a:p>
          <a:p>
            <a:endParaRPr lang="en-US" sz="1050" dirty="0">
              <a:solidFill>
                <a:prstClr val="black"/>
              </a:solidFill>
            </a:endParaRPr>
          </a:p>
          <a:p>
            <a:r>
              <a:rPr lang="en-US" sz="1050" dirty="0" err="1">
                <a:solidFill>
                  <a:prstClr val="black"/>
                </a:solidFill>
              </a:rPr>
              <a:t>OpenFlow</a:t>
            </a:r>
            <a:endParaRPr lang="en-US" sz="1050" dirty="0">
              <a:solidFill>
                <a:prstClr val="black"/>
              </a:solidFill>
            </a:endParaRPr>
          </a:p>
          <a:p>
            <a:r>
              <a:rPr lang="en-US" sz="1050" dirty="0">
                <a:solidFill>
                  <a:prstClr val="black"/>
                </a:solidFill>
              </a:rPr>
              <a:t>switches</a:t>
            </a:r>
          </a:p>
        </p:txBody>
      </p:sp>
      <p:cxnSp>
        <p:nvCxnSpPr>
          <p:cNvPr id="13" name="Straight Connector 12"/>
          <p:cNvCxnSpPr/>
          <p:nvPr>
            <p:custDataLst>
              <p:tags r:id="rId7"/>
            </p:custDataLst>
          </p:nvPr>
        </p:nvCxnSpPr>
        <p:spPr>
          <a:xfrm rot="16200000" flipV="1">
            <a:off x="8381441" y="3077455"/>
            <a:ext cx="1218883" cy="174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8"/>
            </p:custDataLst>
          </p:nvPr>
        </p:nvCxnSpPr>
        <p:spPr>
          <a:xfrm rot="16200000" flipV="1">
            <a:off x="6216459" y="3195886"/>
            <a:ext cx="975106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9"/>
            </p:custDataLst>
          </p:nvPr>
        </p:nvCxnSpPr>
        <p:spPr>
          <a:xfrm rot="16200000" flipV="1">
            <a:off x="5132654" y="3223304"/>
            <a:ext cx="975106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10"/>
            </p:custDataLst>
          </p:nvPr>
        </p:nvCxnSpPr>
        <p:spPr>
          <a:xfrm rot="5400000">
            <a:off x="4828824" y="4490943"/>
            <a:ext cx="1584547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11"/>
            </p:custDataLst>
          </p:nvPr>
        </p:nvCxnSpPr>
        <p:spPr>
          <a:xfrm rot="5400000">
            <a:off x="1561852" y="4856605"/>
            <a:ext cx="2315877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12"/>
            </p:custDataLst>
          </p:nvPr>
        </p:nvCxnSpPr>
        <p:spPr>
          <a:xfrm rot="16200000" flipV="1">
            <a:off x="1837423" y="2693839"/>
            <a:ext cx="1950212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13"/>
            </p:custDataLst>
          </p:nvPr>
        </p:nvCxnSpPr>
        <p:spPr>
          <a:xfrm rot="5400000">
            <a:off x="2113048" y="4464060"/>
            <a:ext cx="1584547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14"/>
            </p:custDataLst>
          </p:nvPr>
        </p:nvCxnSpPr>
        <p:spPr>
          <a:xfrm rot="16200000" flipV="1">
            <a:off x="2852009" y="3082843"/>
            <a:ext cx="1218883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15"/>
            </p:custDataLst>
          </p:nvPr>
        </p:nvCxnSpPr>
        <p:spPr>
          <a:xfrm rot="5400000">
            <a:off x="3421212" y="4123480"/>
            <a:ext cx="975106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16"/>
            </p:custDataLst>
          </p:nvPr>
        </p:nvCxnSpPr>
        <p:spPr>
          <a:xfrm rot="16200000" flipV="1">
            <a:off x="3476765" y="2643658"/>
            <a:ext cx="2193989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17"/>
            </p:custDataLst>
          </p:nvPr>
        </p:nvCxnSpPr>
        <p:spPr>
          <a:xfrm flipV="1">
            <a:off x="5118739" y="2087579"/>
            <a:ext cx="0" cy="1584547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18"/>
            </p:custDataLst>
          </p:nvPr>
        </p:nvCxnSpPr>
        <p:spPr>
          <a:xfrm rot="5400000">
            <a:off x="5908791" y="4066129"/>
            <a:ext cx="609441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19"/>
            </p:custDataLst>
          </p:nvPr>
        </p:nvCxnSpPr>
        <p:spPr>
          <a:xfrm rot="5400000">
            <a:off x="6290001" y="4734719"/>
            <a:ext cx="2072100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20"/>
            </p:custDataLst>
          </p:nvPr>
        </p:nvCxnSpPr>
        <p:spPr>
          <a:xfrm flipV="1">
            <a:off x="7694612" y="1719623"/>
            <a:ext cx="0" cy="1943728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21"/>
            </p:custDataLst>
          </p:nvPr>
        </p:nvCxnSpPr>
        <p:spPr>
          <a:xfrm>
            <a:off x="7946566" y="3712256"/>
            <a:ext cx="1166" cy="1584547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22"/>
            </p:custDataLst>
          </p:nvPr>
        </p:nvCxnSpPr>
        <p:spPr>
          <a:xfrm flipH="1" flipV="1">
            <a:off x="7847012" y="2217876"/>
            <a:ext cx="0" cy="1462659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23"/>
            </p:custDataLst>
          </p:nvPr>
        </p:nvCxnSpPr>
        <p:spPr>
          <a:xfrm flipH="1">
            <a:off x="8315760" y="3690595"/>
            <a:ext cx="0" cy="975106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24"/>
            </p:custDataLst>
          </p:nvPr>
        </p:nvCxnSpPr>
        <p:spPr>
          <a:xfrm rot="5400000">
            <a:off x="4400163" y="3958494"/>
            <a:ext cx="365665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>
            <p:custDataLst>
              <p:tags r:id="rId25"/>
            </p:custDataLst>
          </p:nvPr>
        </p:nvSpPr>
        <p:spPr>
          <a:xfrm>
            <a:off x="2916506" y="5023756"/>
            <a:ext cx="2119514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68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ogrammable Desktop Calculator </a:t>
            </a:r>
          </a:p>
        </p:txBody>
      </p:sp>
      <p:sp>
        <p:nvSpPr>
          <p:cNvPr id="33" name="TextBox 32"/>
          <p:cNvSpPr txBox="1"/>
          <p:nvPr>
            <p:custDataLst>
              <p:tags r:id="rId26"/>
            </p:custDataLst>
          </p:nvPr>
        </p:nvSpPr>
        <p:spPr>
          <a:xfrm>
            <a:off x="8342282" y="4432922"/>
            <a:ext cx="937274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05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Virus Throttle</a:t>
            </a:r>
          </a:p>
        </p:txBody>
      </p:sp>
      <p:sp>
        <p:nvSpPr>
          <p:cNvPr id="34" name="TextBox 33"/>
          <p:cNvSpPr txBox="1"/>
          <p:nvPr>
            <p:custDataLst>
              <p:tags r:id="rId27"/>
            </p:custDataLst>
          </p:nvPr>
        </p:nvSpPr>
        <p:spPr>
          <a:xfrm>
            <a:off x="5628069" y="2487627"/>
            <a:ext cx="942940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6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3D graphics workstations </a:t>
            </a:r>
          </a:p>
        </p:txBody>
      </p:sp>
      <p:sp>
        <p:nvSpPr>
          <p:cNvPr id="35" name="TextBox 34"/>
          <p:cNvSpPr txBox="1"/>
          <p:nvPr>
            <p:custDataLst>
              <p:tags r:id="rId28"/>
            </p:custDataLst>
          </p:nvPr>
        </p:nvSpPr>
        <p:spPr>
          <a:xfrm>
            <a:off x="3469473" y="2234704"/>
            <a:ext cx="1161965" cy="646331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72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Pocket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cientific Calculator</a:t>
            </a:r>
          </a:p>
        </p:txBody>
      </p:sp>
      <p:sp>
        <p:nvSpPr>
          <p:cNvPr id="36" name="TextBox 35"/>
          <p:cNvSpPr txBox="1"/>
          <p:nvPr>
            <p:custDataLst>
              <p:tags r:id="rId29"/>
            </p:custDataLst>
          </p:nvPr>
        </p:nvSpPr>
        <p:spPr>
          <a:xfrm>
            <a:off x="3918189" y="4392047"/>
            <a:ext cx="1751248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75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tandard for Interface Bus </a:t>
            </a:r>
          </a:p>
        </p:txBody>
      </p:sp>
      <p:sp>
        <p:nvSpPr>
          <p:cNvPr id="37" name="TextBox 36"/>
          <p:cNvSpPr txBox="1"/>
          <p:nvPr>
            <p:custDataLst>
              <p:tags r:id="rId30"/>
            </p:custDataLst>
          </p:nvPr>
        </p:nvSpPr>
        <p:spPr>
          <a:xfrm>
            <a:off x="4586495" y="3907975"/>
            <a:ext cx="814267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0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64-channel Ultrasound </a:t>
            </a:r>
          </a:p>
        </p:txBody>
      </p:sp>
      <p:sp>
        <p:nvSpPr>
          <p:cNvPr id="38" name="TextBox 37"/>
          <p:cNvSpPr txBox="1"/>
          <p:nvPr>
            <p:custDataLst>
              <p:tags r:id="rId31"/>
            </p:custDataLst>
          </p:nvPr>
        </p:nvSpPr>
        <p:spPr>
          <a:xfrm>
            <a:off x="5634007" y="5058898"/>
            <a:ext cx="1070005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6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mmercialized RISC chips </a:t>
            </a:r>
          </a:p>
        </p:txBody>
      </p:sp>
      <p:sp>
        <p:nvSpPr>
          <p:cNvPr id="39" name="TextBox 38"/>
          <p:cNvSpPr txBox="1"/>
          <p:nvPr>
            <p:custDataLst>
              <p:tags r:id="rId32"/>
            </p:custDataLst>
          </p:nvPr>
        </p:nvSpPr>
        <p:spPr>
          <a:xfrm>
            <a:off x="5134326" y="1864975"/>
            <a:ext cx="967789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4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Inkjet Printer </a:t>
            </a:r>
          </a:p>
        </p:txBody>
      </p:sp>
      <p:sp>
        <p:nvSpPr>
          <p:cNvPr id="40" name="TextBox 39"/>
          <p:cNvSpPr txBox="1"/>
          <p:nvPr>
            <p:custDataLst>
              <p:tags r:id="rId33"/>
            </p:custDataLst>
          </p:nvPr>
        </p:nvSpPr>
        <p:spPr>
          <a:xfrm>
            <a:off x="4584275" y="1343693"/>
            <a:ext cx="1317762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0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Office Laser Printer </a:t>
            </a:r>
          </a:p>
        </p:txBody>
      </p:sp>
      <p:sp>
        <p:nvSpPr>
          <p:cNvPr id="41" name="TextBox 40"/>
          <p:cNvSpPr txBox="1"/>
          <p:nvPr>
            <p:custDataLst>
              <p:tags r:id="rId34"/>
            </p:custDataLst>
          </p:nvPr>
        </p:nvSpPr>
        <p:spPr>
          <a:xfrm>
            <a:off x="6219821" y="4146657"/>
            <a:ext cx="991493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9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Digital Data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torage Drive </a:t>
            </a:r>
          </a:p>
        </p:txBody>
      </p:sp>
      <p:sp>
        <p:nvSpPr>
          <p:cNvPr id="42" name="TextBox 41"/>
          <p:cNvSpPr txBox="1"/>
          <p:nvPr>
            <p:custDataLst>
              <p:tags r:id="rId35"/>
            </p:custDataLst>
          </p:nvPr>
        </p:nvSpPr>
        <p:spPr>
          <a:xfrm>
            <a:off x="2822032" y="1505294"/>
            <a:ext cx="1127785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67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Cesium-beam atomic clock </a:t>
            </a:r>
          </a:p>
        </p:txBody>
      </p:sp>
      <p:sp>
        <p:nvSpPr>
          <p:cNvPr id="43" name="TextBox 42"/>
          <p:cNvSpPr txBox="1"/>
          <p:nvPr>
            <p:custDataLst>
              <p:tags r:id="rId36"/>
            </p:custDataLst>
          </p:nvPr>
        </p:nvSpPr>
        <p:spPr>
          <a:xfrm>
            <a:off x="7333510" y="5572810"/>
            <a:ext cx="1302493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99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Molecular Logic Gate </a:t>
            </a:r>
          </a:p>
        </p:txBody>
      </p:sp>
      <p:sp>
        <p:nvSpPr>
          <p:cNvPr id="44" name="TextBox 43"/>
          <p:cNvSpPr txBox="1"/>
          <p:nvPr>
            <p:custDataLst>
              <p:tags r:id="rId37"/>
            </p:custDataLst>
          </p:nvPr>
        </p:nvSpPr>
        <p:spPr>
          <a:xfrm>
            <a:off x="6711238" y="2463157"/>
            <a:ext cx="793622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94 </a:t>
            </a:r>
          </a:p>
          <a:p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64-bit</a:t>
            </a:r>
          </a:p>
          <a:p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architecture </a:t>
            </a:r>
            <a:endParaRPr lang="en-US" sz="10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5" name="TextBox 44"/>
          <p:cNvSpPr txBox="1"/>
          <p:nvPr>
            <p:custDataLst>
              <p:tags r:id="rId38"/>
            </p:custDataLst>
          </p:nvPr>
        </p:nvSpPr>
        <p:spPr>
          <a:xfrm>
            <a:off x="7705003" y="1477588"/>
            <a:ext cx="1196605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01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Utility Data Center</a:t>
            </a:r>
          </a:p>
        </p:txBody>
      </p:sp>
      <p:sp>
        <p:nvSpPr>
          <p:cNvPr id="46" name="TextBox 45"/>
          <p:cNvSpPr txBox="1"/>
          <p:nvPr>
            <p:custDataLst>
              <p:tags r:id="rId39"/>
            </p:custDataLst>
          </p:nvPr>
        </p:nvSpPr>
        <p:spPr>
          <a:xfrm>
            <a:off x="7960136" y="5058899"/>
            <a:ext cx="973152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03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mart Cooling </a:t>
            </a:r>
          </a:p>
        </p:txBody>
      </p:sp>
      <p:sp>
        <p:nvSpPr>
          <p:cNvPr id="47" name="TextBox 46"/>
          <p:cNvSpPr txBox="1"/>
          <p:nvPr>
            <p:custDataLst>
              <p:tags r:id="rId40"/>
            </p:custDataLst>
          </p:nvPr>
        </p:nvSpPr>
        <p:spPr>
          <a:xfrm>
            <a:off x="2731934" y="5783699"/>
            <a:ext cx="1579876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66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Light Emitting Diode (LED) </a:t>
            </a:r>
          </a:p>
        </p:txBody>
      </p:sp>
      <p:sp>
        <p:nvSpPr>
          <p:cNvPr id="48" name="TextBox 47"/>
          <p:cNvSpPr txBox="1"/>
          <p:nvPr>
            <p:custDataLst>
              <p:tags r:id="rId41"/>
            </p:custDataLst>
          </p:nvPr>
        </p:nvSpPr>
        <p:spPr>
          <a:xfrm>
            <a:off x="7884366" y="1978966"/>
            <a:ext cx="1053704" cy="646331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02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Rewritable DVD for standard players </a:t>
            </a:r>
          </a:p>
        </p:txBody>
      </p:sp>
      <p:pic>
        <p:nvPicPr>
          <p:cNvPr id="11" name="Picture 10" descr="billanddave.jpg"/>
          <p:cNvPicPr>
            <a:picLocks noChangeAspect="1"/>
          </p:cNvPicPr>
          <p:nvPr>
            <p:custDataLst>
              <p:tags r:id="rId42"/>
            </p:custDataLst>
          </p:nvPr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1230" y="2756711"/>
            <a:ext cx="1996656" cy="1521174"/>
          </a:xfrm>
          <a:prstGeom prst="rect">
            <a:avLst/>
          </a:prstGeom>
        </p:spPr>
      </p:pic>
      <p:sp>
        <p:nvSpPr>
          <p:cNvPr id="12" name="Rectangle 11"/>
          <p:cNvSpPr/>
          <p:nvPr>
            <p:custDataLst>
              <p:tags r:id="rId43"/>
            </p:custDataLst>
          </p:nvPr>
        </p:nvSpPr>
        <p:spPr>
          <a:xfrm>
            <a:off x="515169" y="3888891"/>
            <a:ext cx="845103" cy="4615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399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966</a:t>
            </a:r>
          </a:p>
        </p:txBody>
      </p:sp>
      <p:sp>
        <p:nvSpPr>
          <p:cNvPr id="51" name="TextBox 50"/>
          <p:cNvSpPr txBox="1"/>
          <p:nvPr>
            <p:custDataLst>
              <p:tags r:id="rId44"/>
            </p:custDataLst>
          </p:nvPr>
        </p:nvSpPr>
        <p:spPr>
          <a:xfrm>
            <a:off x="10253099" y="2235355"/>
            <a:ext cx="1445722" cy="1277273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</a:rPr>
              <a:t>2014</a:t>
            </a:r>
          </a:p>
          <a:p>
            <a:r>
              <a:rPr lang="en-US" sz="1050" dirty="0" smtClean="0">
                <a:solidFill>
                  <a:prstClr val="black"/>
                </a:solidFill>
              </a:rPr>
              <a:t>Location Aware</a:t>
            </a:r>
          </a:p>
          <a:p>
            <a:endParaRPr lang="en-US" sz="500" dirty="0" smtClean="0">
              <a:solidFill>
                <a:prstClr val="black"/>
              </a:solidFill>
            </a:endParaRPr>
          </a:p>
          <a:p>
            <a:r>
              <a:rPr lang="en-US" sz="1050" dirty="0" err="1" smtClean="0">
                <a:solidFill>
                  <a:prstClr val="black"/>
                </a:solidFill>
              </a:rPr>
              <a:t>Trafodion</a:t>
            </a:r>
            <a:endParaRPr lang="en-US" sz="1050" dirty="0" smtClean="0">
              <a:solidFill>
                <a:prstClr val="black"/>
              </a:solidFill>
            </a:endParaRPr>
          </a:p>
          <a:p>
            <a:endParaRPr lang="en-US" sz="500" dirty="0" smtClean="0">
              <a:solidFill>
                <a:prstClr val="black"/>
              </a:solidFill>
            </a:endParaRPr>
          </a:p>
          <a:p>
            <a:r>
              <a:rPr lang="en-US" sz="1050" dirty="0" smtClean="0">
                <a:solidFill>
                  <a:prstClr val="black"/>
                </a:solidFill>
              </a:rPr>
              <a:t>DNS Logging</a:t>
            </a:r>
          </a:p>
          <a:p>
            <a:endParaRPr lang="en-US" sz="500" dirty="0" smtClean="0">
              <a:solidFill>
                <a:prstClr val="black"/>
              </a:solidFill>
            </a:endParaRPr>
          </a:p>
          <a:p>
            <a:r>
              <a:rPr lang="en-US" sz="1050" dirty="0" err="1" smtClean="0">
                <a:solidFill>
                  <a:prstClr val="black"/>
                </a:solidFill>
              </a:rPr>
              <a:t>QoS</a:t>
            </a:r>
            <a:r>
              <a:rPr lang="en-US" sz="1050" dirty="0" smtClean="0">
                <a:solidFill>
                  <a:prstClr val="black"/>
                </a:solidFill>
              </a:rPr>
              <a:t> Controller</a:t>
            </a:r>
          </a:p>
          <a:p>
            <a:endParaRPr lang="en-US" sz="500" dirty="0" smtClean="0">
              <a:solidFill>
                <a:prstClr val="black"/>
              </a:solidFill>
            </a:endParaRPr>
          </a:p>
          <a:p>
            <a:r>
              <a:rPr lang="en-US" sz="1050" dirty="0" smtClean="0">
                <a:solidFill>
                  <a:prstClr val="black"/>
                </a:solidFill>
              </a:rPr>
              <a:t>3D Printing Technology</a:t>
            </a:r>
            <a:endParaRPr lang="en-US" sz="1050" dirty="0">
              <a:solidFill>
                <a:prstClr val="black"/>
              </a:solidFill>
            </a:endParaRPr>
          </a:p>
        </p:txBody>
      </p:sp>
      <p:sp>
        <p:nvSpPr>
          <p:cNvPr id="53" name="TextBox 52"/>
          <p:cNvSpPr txBox="1"/>
          <p:nvPr>
            <p:custDataLst>
              <p:tags r:id="rId45"/>
            </p:custDataLst>
          </p:nvPr>
        </p:nvSpPr>
        <p:spPr>
          <a:xfrm>
            <a:off x="10163742" y="3979216"/>
            <a:ext cx="1073717" cy="1131079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chemeClr val="accent1"/>
                </a:solidFill>
              </a:rPr>
              <a:t>2013</a:t>
            </a:r>
          </a:p>
          <a:p>
            <a:r>
              <a:rPr lang="en-US" sz="1050" dirty="0">
                <a:solidFill>
                  <a:prstClr val="black"/>
                </a:solidFill>
              </a:rPr>
              <a:t>Moonshot</a:t>
            </a:r>
          </a:p>
          <a:p>
            <a:endParaRPr lang="en-US" sz="1050" b="1" dirty="0">
              <a:solidFill>
                <a:prstClr val="black"/>
              </a:solidFill>
            </a:endParaRPr>
          </a:p>
          <a:p>
            <a:r>
              <a:rPr lang="en-US" sz="1050" dirty="0">
                <a:solidFill>
                  <a:prstClr val="black"/>
                </a:solidFill>
              </a:rPr>
              <a:t>Threat Central</a:t>
            </a:r>
          </a:p>
          <a:p>
            <a:endParaRPr lang="en-US" sz="1050" b="1" dirty="0">
              <a:solidFill>
                <a:prstClr val="black"/>
              </a:solidFill>
            </a:endParaRPr>
          </a:p>
          <a:p>
            <a:r>
              <a:rPr lang="en-US" sz="1050" dirty="0">
                <a:solidFill>
                  <a:prstClr val="black"/>
                </a:solidFill>
              </a:rPr>
              <a:t>SureStart</a:t>
            </a:r>
          </a:p>
          <a:p>
            <a:endParaRPr lang="en-US" sz="1050" dirty="0">
              <a:solidFill>
                <a:prstClr val="black"/>
              </a:solidFill>
            </a:endParaRPr>
          </a:p>
        </p:txBody>
      </p:sp>
      <p:grpSp>
        <p:nvGrpSpPr>
          <p:cNvPr id="65" name="Group 64"/>
          <p:cNvGrpSpPr/>
          <p:nvPr/>
        </p:nvGrpSpPr>
        <p:grpSpPr>
          <a:xfrm>
            <a:off x="9961694" y="1678530"/>
            <a:ext cx="45720" cy="2009236"/>
            <a:chOff x="7616905" y="967535"/>
            <a:chExt cx="34299" cy="1507320"/>
          </a:xfrm>
        </p:grpSpPr>
        <p:cxnSp>
          <p:nvCxnSpPr>
            <p:cNvPr id="4" name="Straight Connector 3"/>
            <p:cNvCxnSpPr/>
            <p:nvPr>
              <p:custDataLst>
                <p:tags r:id="rId52"/>
              </p:custDataLst>
            </p:nvPr>
          </p:nvCxnSpPr>
          <p:spPr>
            <a:xfrm flipV="1">
              <a:off x="7634552" y="967535"/>
              <a:ext cx="0" cy="1507320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Oval 53"/>
            <p:cNvSpPr/>
            <p:nvPr/>
          </p:nvSpPr>
          <p:spPr>
            <a:xfrm>
              <a:off x="7616905" y="1188421"/>
              <a:ext cx="34299" cy="34299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</p:grpSp>
      <p:cxnSp>
        <p:nvCxnSpPr>
          <p:cNvPr id="50" name="Straight Connector 49"/>
          <p:cNvCxnSpPr/>
          <p:nvPr>
            <p:custDataLst>
              <p:tags r:id="rId46"/>
            </p:custDataLst>
          </p:nvPr>
        </p:nvCxnSpPr>
        <p:spPr>
          <a:xfrm flipV="1">
            <a:off x="10253099" y="2473393"/>
            <a:ext cx="0" cy="1354025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47"/>
            </p:custDataLst>
          </p:nvPr>
        </p:nvCxnSpPr>
        <p:spPr>
          <a:xfrm flipH="1">
            <a:off x="9305491" y="3816927"/>
            <a:ext cx="1" cy="1204679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Oval 63"/>
          <p:cNvSpPr/>
          <p:nvPr/>
        </p:nvSpPr>
        <p:spPr>
          <a:xfrm>
            <a:off x="9279555" y="4215904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66" name="Oval 65"/>
          <p:cNvSpPr/>
          <p:nvPr/>
        </p:nvSpPr>
        <p:spPr>
          <a:xfrm>
            <a:off x="9279555" y="4537325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cxnSp>
        <p:nvCxnSpPr>
          <p:cNvPr id="68" name="Straight Connector 67"/>
          <p:cNvCxnSpPr/>
          <p:nvPr>
            <p:custDataLst>
              <p:tags r:id="rId48"/>
            </p:custDataLst>
          </p:nvPr>
        </p:nvCxnSpPr>
        <p:spPr>
          <a:xfrm flipH="1">
            <a:off x="10175944" y="3816927"/>
            <a:ext cx="1" cy="1040568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68"/>
          <p:cNvSpPr/>
          <p:nvPr/>
        </p:nvSpPr>
        <p:spPr>
          <a:xfrm>
            <a:off x="10151387" y="4216447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70" name="Oval 69"/>
          <p:cNvSpPr/>
          <p:nvPr/>
        </p:nvSpPr>
        <p:spPr>
          <a:xfrm>
            <a:off x="10151387" y="4530300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49" name="Rectangle 48"/>
          <p:cNvSpPr/>
          <p:nvPr>
            <p:custDataLst>
              <p:tags r:id="rId49"/>
            </p:custDataLst>
          </p:nvPr>
        </p:nvSpPr>
        <p:spPr>
          <a:xfrm>
            <a:off x="2617886" y="3536150"/>
            <a:ext cx="8961498" cy="2874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4" tIns="60944" rIns="60944" rtlCol="0" anchor="ctr"/>
          <a:lstStyle/>
          <a:p>
            <a:pPr algn="r"/>
            <a:r>
              <a:rPr lang="en-US" sz="1050" dirty="0">
                <a:solidFill>
                  <a:prstClr val="black">
                    <a:lumMod val="50000"/>
                    <a:lumOff val="50000"/>
                  </a:prstClr>
                </a:solidFill>
                <a:latin typeface="Futura Hv" pitchFamily="34" charset="0"/>
              </a:rPr>
              <a:t>				</a:t>
            </a:r>
          </a:p>
        </p:txBody>
      </p:sp>
      <p:sp>
        <p:nvSpPr>
          <p:cNvPr id="72" name="Oval 71"/>
          <p:cNvSpPr/>
          <p:nvPr/>
        </p:nvSpPr>
        <p:spPr>
          <a:xfrm>
            <a:off x="10230238" y="2700110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73" name="Oval 72"/>
          <p:cNvSpPr/>
          <p:nvPr/>
        </p:nvSpPr>
        <p:spPr>
          <a:xfrm>
            <a:off x="10230238" y="2932046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74" name="Oval 73"/>
          <p:cNvSpPr/>
          <p:nvPr/>
        </p:nvSpPr>
        <p:spPr>
          <a:xfrm>
            <a:off x="10230238" y="3167072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75" name="Oval 74"/>
          <p:cNvSpPr/>
          <p:nvPr/>
        </p:nvSpPr>
        <p:spPr>
          <a:xfrm>
            <a:off x="10227386" y="3391549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cxnSp>
        <p:nvCxnSpPr>
          <p:cNvPr id="76" name="Straight Connector 75"/>
          <p:cNvCxnSpPr/>
          <p:nvPr>
            <p:custDataLst>
              <p:tags r:id="rId50"/>
            </p:custDataLst>
          </p:nvPr>
        </p:nvCxnSpPr>
        <p:spPr>
          <a:xfrm flipH="1">
            <a:off x="11058960" y="3816927"/>
            <a:ext cx="0" cy="975106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>
            <p:custDataLst>
              <p:tags r:id="rId51"/>
            </p:custDataLst>
          </p:nvPr>
        </p:nvSpPr>
        <p:spPr>
          <a:xfrm>
            <a:off x="10844271" y="4832211"/>
            <a:ext cx="873189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 smtClean="0">
                <a:solidFill>
                  <a:srgbClr val="0096D6"/>
                </a:solidFill>
              </a:rPr>
              <a:t>2015 </a:t>
            </a:r>
            <a:endParaRPr lang="en-US" sz="1050" b="1" dirty="0">
              <a:solidFill>
                <a:srgbClr val="0096D6"/>
              </a:solidFill>
            </a:endParaRPr>
          </a:p>
          <a:p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Distributed R</a:t>
            </a:r>
            <a:endParaRPr lang="en-US" sz="10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884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711015" y="1922000"/>
            <a:ext cx="10756088" cy="1339266"/>
          </a:xfrm>
          <a:prstGeom prst="rect">
            <a:avLst/>
          </a:prstGeom>
        </p:spPr>
        <p:txBody>
          <a:bodyPr vert="horz" wrap="square" lIns="0" tIns="60944" rIns="0" bIns="60944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865" b="1" kern="0" dirty="0">
                <a:solidFill>
                  <a:srgbClr val="0096D6"/>
                </a:solidFill>
              </a:rPr>
              <a:t>HP Labs charter</a:t>
            </a:r>
            <a:r>
              <a:rPr lang="en-US" sz="5865" kern="0" dirty="0">
                <a:solidFill>
                  <a:srgbClr val="0096D6"/>
                </a:solidFill>
              </a:rPr>
              <a:t/>
            </a:r>
            <a:br>
              <a:rPr lang="en-US" sz="5865" kern="0" dirty="0">
                <a:solidFill>
                  <a:srgbClr val="0096D6"/>
                </a:solidFill>
              </a:rPr>
            </a:br>
            <a:r>
              <a:rPr lang="en-US" sz="3199" kern="0" dirty="0">
                <a:solidFill>
                  <a:srgbClr val="87898B"/>
                </a:solidFill>
              </a:rPr>
              <a:t>Delivering innovations that transform business, life, and society </a:t>
            </a:r>
            <a:endParaRPr lang="en-US" sz="3732" kern="0" dirty="0">
              <a:solidFill>
                <a:srgbClr val="87898B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711014" y="3378937"/>
            <a:ext cx="10705851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rot="5400000">
            <a:off x="5858050" y="4483000"/>
            <a:ext cx="1221884" cy="2117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rot="5400000">
            <a:off x="2945671" y="4507244"/>
            <a:ext cx="1221884" cy="2117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rot="5400000">
            <a:off x="8570050" y="4476939"/>
            <a:ext cx="1221884" cy="2117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1096787" y="3871289"/>
            <a:ext cx="2608409" cy="140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r>
              <a:rPr lang="en-US" sz="3199" b="1" dirty="0">
                <a:solidFill>
                  <a:srgbClr val="0096D6"/>
                </a:solidFill>
              </a:rPr>
              <a:t>Deliver</a:t>
            </a:r>
            <a:r>
              <a:rPr lang="en-US" sz="3199" b="1" dirty="0">
                <a:solidFill>
                  <a:srgbClr val="87898B">
                    <a:lumMod val="75000"/>
                  </a:srgbClr>
                </a:solidFill>
              </a:rPr>
              <a:t/>
            </a:r>
            <a:br>
              <a:rPr lang="en-US" sz="3199" b="1" dirty="0">
                <a:solidFill>
                  <a:srgbClr val="87898B">
                    <a:lumMod val="75000"/>
                  </a:srgbClr>
                </a:solidFill>
              </a:rPr>
            </a:br>
            <a:r>
              <a:rPr lang="en-US" sz="1866" dirty="0">
                <a:solidFill>
                  <a:srgbClr val="87898B">
                    <a:lumMod val="75000"/>
                  </a:srgbClr>
                </a:solidFill>
              </a:rPr>
              <a:t>breakthrough technologies </a:t>
            </a:r>
          </a:p>
        </p:txBody>
      </p:sp>
      <p:sp>
        <p:nvSpPr>
          <p:cNvPr id="14" name="Rectangle 9"/>
          <p:cNvSpPr>
            <a:spLocks noChangeArrowheads="1"/>
          </p:cNvSpPr>
          <p:nvPr/>
        </p:nvSpPr>
        <p:spPr bwMode="auto">
          <a:xfrm>
            <a:off x="3608409" y="3871289"/>
            <a:ext cx="2608409" cy="140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r>
              <a:rPr lang="en-US" sz="3199" b="1" dirty="0">
                <a:solidFill>
                  <a:srgbClr val="0096D6"/>
                </a:solidFill>
              </a:rPr>
              <a:t>Create  </a:t>
            </a:r>
            <a:r>
              <a:rPr lang="en-US" sz="3199" b="1" dirty="0">
                <a:solidFill>
                  <a:srgbClr val="87898B">
                    <a:lumMod val="75000"/>
                  </a:srgbClr>
                </a:solidFill>
              </a:rPr>
              <a:t/>
            </a:r>
            <a:br>
              <a:rPr lang="en-US" sz="3199" b="1" dirty="0">
                <a:solidFill>
                  <a:srgbClr val="87898B">
                    <a:lumMod val="75000"/>
                  </a:srgbClr>
                </a:solidFill>
              </a:rPr>
            </a:br>
            <a:r>
              <a:rPr lang="en-US" sz="1866" dirty="0">
                <a:solidFill>
                  <a:srgbClr val="87898B">
                    <a:lumMod val="75000"/>
                  </a:srgbClr>
                </a:solidFill>
              </a:rPr>
              <a:t>opportunities for our </a:t>
            </a:r>
            <a:br>
              <a:rPr lang="en-US" sz="1866" dirty="0">
                <a:solidFill>
                  <a:srgbClr val="87898B">
                    <a:lumMod val="75000"/>
                  </a:srgbClr>
                </a:solidFill>
              </a:rPr>
            </a:br>
            <a:r>
              <a:rPr lang="en-US" sz="1866" dirty="0">
                <a:solidFill>
                  <a:srgbClr val="87898B">
                    <a:lumMod val="75000"/>
                  </a:srgbClr>
                </a:solidFill>
              </a:rPr>
              <a:t>business and customers</a:t>
            </a:r>
          </a:p>
        </p:txBody>
      </p:sp>
      <p:sp>
        <p:nvSpPr>
          <p:cNvPr id="21" name="Rectangle 9"/>
          <p:cNvSpPr>
            <a:spLocks noChangeArrowheads="1"/>
          </p:cNvSpPr>
          <p:nvPr/>
        </p:nvSpPr>
        <p:spPr bwMode="auto">
          <a:xfrm>
            <a:off x="6520787" y="3867056"/>
            <a:ext cx="2608409" cy="140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r>
              <a:rPr lang="en-US" sz="3199" b="1" dirty="0">
                <a:solidFill>
                  <a:srgbClr val="0096D6"/>
                </a:solidFill>
              </a:rPr>
              <a:t>Advance</a:t>
            </a:r>
            <a:r>
              <a:rPr lang="en-US" sz="3199" b="1" dirty="0">
                <a:solidFill>
                  <a:srgbClr val="87898B">
                    <a:lumMod val="75000"/>
                  </a:srgbClr>
                </a:solidFill>
              </a:rPr>
              <a:t/>
            </a:r>
            <a:br>
              <a:rPr lang="en-US" sz="3199" b="1" dirty="0">
                <a:solidFill>
                  <a:srgbClr val="87898B">
                    <a:lumMod val="75000"/>
                  </a:srgbClr>
                </a:solidFill>
              </a:rPr>
            </a:br>
            <a:r>
              <a:rPr lang="en-US" sz="1866" dirty="0">
                <a:solidFill>
                  <a:srgbClr val="87898B">
                    <a:lumMod val="75000"/>
                  </a:srgbClr>
                </a:solidFill>
              </a:rPr>
              <a:t>fundamental</a:t>
            </a:r>
            <a:br>
              <a:rPr lang="en-US" sz="1866" dirty="0">
                <a:solidFill>
                  <a:srgbClr val="87898B">
                    <a:lumMod val="75000"/>
                  </a:srgbClr>
                </a:solidFill>
              </a:rPr>
            </a:br>
            <a:r>
              <a:rPr lang="en-US" sz="1866" dirty="0">
                <a:solidFill>
                  <a:srgbClr val="87898B">
                    <a:lumMod val="75000"/>
                  </a:srgbClr>
                </a:solidFill>
              </a:rPr>
              <a:t>science</a:t>
            </a: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9232787" y="3871289"/>
            <a:ext cx="2086922" cy="140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r>
              <a:rPr lang="en-US" sz="3199" b="1" dirty="0">
                <a:solidFill>
                  <a:srgbClr val="0096D6"/>
                </a:solidFill>
              </a:rPr>
              <a:t>Engage</a:t>
            </a:r>
            <a:r>
              <a:rPr lang="en-US" sz="3199" b="1" dirty="0">
                <a:solidFill>
                  <a:srgbClr val="87898B">
                    <a:lumMod val="75000"/>
                  </a:srgbClr>
                </a:solidFill>
              </a:rPr>
              <a:t> </a:t>
            </a:r>
            <a:br>
              <a:rPr lang="en-US" sz="3199" b="1" dirty="0">
                <a:solidFill>
                  <a:srgbClr val="87898B">
                    <a:lumMod val="75000"/>
                  </a:srgbClr>
                </a:solidFill>
              </a:rPr>
            </a:br>
            <a:r>
              <a:rPr lang="en-US" sz="1866" dirty="0">
                <a:solidFill>
                  <a:srgbClr val="87898B">
                    <a:lumMod val="75000"/>
                  </a:srgbClr>
                </a:solidFill>
              </a:rPr>
              <a:t>with customers </a:t>
            </a:r>
            <a:br>
              <a:rPr lang="en-US" sz="1866" dirty="0">
                <a:solidFill>
                  <a:srgbClr val="87898B">
                    <a:lumMod val="75000"/>
                  </a:srgbClr>
                </a:solidFill>
              </a:rPr>
            </a:br>
            <a:r>
              <a:rPr lang="en-US" sz="1866" dirty="0">
                <a:solidFill>
                  <a:srgbClr val="87898B">
                    <a:lumMod val="75000"/>
                  </a:srgbClr>
                </a:solidFill>
              </a:rPr>
              <a:t>and partners </a:t>
            </a:r>
          </a:p>
        </p:txBody>
      </p:sp>
      <p:sp>
        <p:nvSpPr>
          <p:cNvPr id="23" name="Freeform 112"/>
          <p:cNvSpPr>
            <a:spLocks/>
          </p:cNvSpPr>
          <p:nvPr/>
        </p:nvSpPr>
        <p:spPr bwMode="auto">
          <a:xfrm rot="5400000">
            <a:off x="1278854" y="3604499"/>
            <a:ext cx="174668" cy="324373"/>
          </a:xfrm>
          <a:custGeom>
            <a:avLst/>
            <a:gdLst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9762 w 10000"/>
              <a:gd name="connsiteY31" fmla="*/ 2532 h 10000"/>
              <a:gd name="connsiteX32" fmla="*/ 10000 w 10000"/>
              <a:gd name="connsiteY32" fmla="*/ 2876 h 10000"/>
              <a:gd name="connsiteX33" fmla="*/ 10000 w 10000"/>
              <a:gd name="connsiteY33" fmla="*/ 7124 h 10000"/>
              <a:gd name="connsiteX34" fmla="*/ 10000 w 10000"/>
              <a:gd name="connsiteY34" fmla="*/ 7468 h 10000"/>
              <a:gd name="connsiteX35" fmla="*/ 9762 w 10000"/>
              <a:gd name="connsiteY35" fmla="*/ 7468 h 10000"/>
              <a:gd name="connsiteX36" fmla="*/ 6429 w 10000"/>
              <a:gd name="connsiteY36" fmla="*/ 7468 h 10000"/>
              <a:gd name="connsiteX37" fmla="*/ 6429 w 10000"/>
              <a:gd name="connsiteY37" fmla="*/ 8498 h 10000"/>
              <a:gd name="connsiteX38" fmla="*/ 6429 w 10000"/>
              <a:gd name="connsiteY38" fmla="*/ 8498 h 10000"/>
              <a:gd name="connsiteX39" fmla="*/ 6399 w 10000"/>
              <a:gd name="connsiteY39" fmla="*/ 8841 h 10000"/>
              <a:gd name="connsiteX40" fmla="*/ 6369 w 10000"/>
              <a:gd name="connsiteY40" fmla="*/ 9099 h 10000"/>
              <a:gd name="connsiteX41" fmla="*/ 6310 w 10000"/>
              <a:gd name="connsiteY41" fmla="*/ 9356 h 10000"/>
              <a:gd name="connsiteX42" fmla="*/ 6190 w 10000"/>
              <a:gd name="connsiteY42" fmla="*/ 9571 h 10000"/>
              <a:gd name="connsiteX43" fmla="*/ 6071 w 10000"/>
              <a:gd name="connsiteY43" fmla="*/ 9742 h 10000"/>
              <a:gd name="connsiteX44" fmla="*/ 5952 w 10000"/>
              <a:gd name="connsiteY44" fmla="*/ 9871 h 10000"/>
              <a:gd name="connsiteX45" fmla="*/ 5774 w 10000"/>
              <a:gd name="connsiteY45" fmla="*/ 9957 h 10000"/>
              <a:gd name="connsiteX46" fmla="*/ 5625 w 10000"/>
              <a:gd name="connsiteY46" fmla="*/ 10000 h 10000"/>
              <a:gd name="connsiteX47" fmla="*/ 5625 w 10000"/>
              <a:gd name="connsiteY47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2876 h 10000"/>
              <a:gd name="connsiteX32" fmla="*/ 10000 w 10000"/>
              <a:gd name="connsiteY32" fmla="*/ 7124 h 10000"/>
              <a:gd name="connsiteX33" fmla="*/ 10000 w 10000"/>
              <a:gd name="connsiteY33" fmla="*/ 7468 h 10000"/>
              <a:gd name="connsiteX34" fmla="*/ 9762 w 10000"/>
              <a:gd name="connsiteY34" fmla="*/ 7468 h 10000"/>
              <a:gd name="connsiteX35" fmla="*/ 6429 w 10000"/>
              <a:gd name="connsiteY35" fmla="*/ 7468 h 10000"/>
              <a:gd name="connsiteX36" fmla="*/ 6429 w 10000"/>
              <a:gd name="connsiteY36" fmla="*/ 8498 h 10000"/>
              <a:gd name="connsiteX37" fmla="*/ 6429 w 10000"/>
              <a:gd name="connsiteY37" fmla="*/ 8498 h 10000"/>
              <a:gd name="connsiteX38" fmla="*/ 6399 w 10000"/>
              <a:gd name="connsiteY38" fmla="*/ 8841 h 10000"/>
              <a:gd name="connsiteX39" fmla="*/ 6369 w 10000"/>
              <a:gd name="connsiteY39" fmla="*/ 9099 h 10000"/>
              <a:gd name="connsiteX40" fmla="*/ 6310 w 10000"/>
              <a:gd name="connsiteY40" fmla="*/ 9356 h 10000"/>
              <a:gd name="connsiteX41" fmla="*/ 6190 w 10000"/>
              <a:gd name="connsiteY41" fmla="*/ 9571 h 10000"/>
              <a:gd name="connsiteX42" fmla="*/ 6071 w 10000"/>
              <a:gd name="connsiteY42" fmla="*/ 9742 h 10000"/>
              <a:gd name="connsiteX43" fmla="*/ 5952 w 10000"/>
              <a:gd name="connsiteY43" fmla="*/ 9871 h 10000"/>
              <a:gd name="connsiteX44" fmla="*/ 5774 w 10000"/>
              <a:gd name="connsiteY44" fmla="*/ 9957 h 10000"/>
              <a:gd name="connsiteX45" fmla="*/ 5625 w 10000"/>
              <a:gd name="connsiteY45" fmla="*/ 10000 h 10000"/>
              <a:gd name="connsiteX46" fmla="*/ 5625 w 10000"/>
              <a:gd name="connsiteY46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9762 w 10000"/>
              <a:gd name="connsiteY33" fmla="*/ 7468 h 10000"/>
              <a:gd name="connsiteX34" fmla="*/ 6429 w 10000"/>
              <a:gd name="connsiteY34" fmla="*/ 7468 h 10000"/>
              <a:gd name="connsiteX35" fmla="*/ 6429 w 10000"/>
              <a:gd name="connsiteY35" fmla="*/ 8498 h 10000"/>
              <a:gd name="connsiteX36" fmla="*/ 6429 w 10000"/>
              <a:gd name="connsiteY36" fmla="*/ 8498 h 10000"/>
              <a:gd name="connsiteX37" fmla="*/ 6399 w 10000"/>
              <a:gd name="connsiteY37" fmla="*/ 8841 h 10000"/>
              <a:gd name="connsiteX38" fmla="*/ 6369 w 10000"/>
              <a:gd name="connsiteY38" fmla="*/ 9099 h 10000"/>
              <a:gd name="connsiteX39" fmla="*/ 6310 w 10000"/>
              <a:gd name="connsiteY39" fmla="*/ 9356 h 10000"/>
              <a:gd name="connsiteX40" fmla="*/ 6190 w 10000"/>
              <a:gd name="connsiteY40" fmla="*/ 9571 h 10000"/>
              <a:gd name="connsiteX41" fmla="*/ 6071 w 10000"/>
              <a:gd name="connsiteY41" fmla="*/ 9742 h 10000"/>
              <a:gd name="connsiteX42" fmla="*/ 5952 w 10000"/>
              <a:gd name="connsiteY42" fmla="*/ 9871 h 10000"/>
              <a:gd name="connsiteX43" fmla="*/ 5774 w 10000"/>
              <a:gd name="connsiteY43" fmla="*/ 9957 h 10000"/>
              <a:gd name="connsiteX44" fmla="*/ 5625 w 10000"/>
              <a:gd name="connsiteY44" fmla="*/ 10000 h 10000"/>
              <a:gd name="connsiteX45" fmla="*/ 5625 w 10000"/>
              <a:gd name="connsiteY45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6429 w 10000"/>
              <a:gd name="connsiteY33" fmla="*/ 7468 h 10000"/>
              <a:gd name="connsiteX34" fmla="*/ 6429 w 10000"/>
              <a:gd name="connsiteY34" fmla="*/ 8498 h 10000"/>
              <a:gd name="connsiteX35" fmla="*/ 6429 w 10000"/>
              <a:gd name="connsiteY35" fmla="*/ 8498 h 10000"/>
              <a:gd name="connsiteX36" fmla="*/ 6399 w 10000"/>
              <a:gd name="connsiteY36" fmla="*/ 8841 h 10000"/>
              <a:gd name="connsiteX37" fmla="*/ 6369 w 10000"/>
              <a:gd name="connsiteY37" fmla="*/ 9099 h 10000"/>
              <a:gd name="connsiteX38" fmla="*/ 6310 w 10000"/>
              <a:gd name="connsiteY38" fmla="*/ 9356 h 10000"/>
              <a:gd name="connsiteX39" fmla="*/ 6190 w 10000"/>
              <a:gd name="connsiteY39" fmla="*/ 9571 h 10000"/>
              <a:gd name="connsiteX40" fmla="*/ 6071 w 10000"/>
              <a:gd name="connsiteY40" fmla="*/ 9742 h 10000"/>
              <a:gd name="connsiteX41" fmla="*/ 5952 w 10000"/>
              <a:gd name="connsiteY41" fmla="*/ 9871 h 10000"/>
              <a:gd name="connsiteX42" fmla="*/ 5774 w 10000"/>
              <a:gd name="connsiteY42" fmla="*/ 9957 h 10000"/>
              <a:gd name="connsiteX43" fmla="*/ 5625 w 10000"/>
              <a:gd name="connsiteY43" fmla="*/ 10000 h 10000"/>
              <a:gd name="connsiteX44" fmla="*/ 5625 w 10000"/>
              <a:gd name="connsiteY44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6429 w 10000"/>
              <a:gd name="connsiteY32" fmla="*/ 7468 h 10000"/>
              <a:gd name="connsiteX33" fmla="*/ 6429 w 10000"/>
              <a:gd name="connsiteY33" fmla="*/ 8498 h 10000"/>
              <a:gd name="connsiteX34" fmla="*/ 6429 w 10000"/>
              <a:gd name="connsiteY34" fmla="*/ 8498 h 10000"/>
              <a:gd name="connsiteX35" fmla="*/ 6399 w 10000"/>
              <a:gd name="connsiteY35" fmla="*/ 8841 h 10000"/>
              <a:gd name="connsiteX36" fmla="*/ 6369 w 10000"/>
              <a:gd name="connsiteY36" fmla="*/ 9099 h 10000"/>
              <a:gd name="connsiteX37" fmla="*/ 6310 w 10000"/>
              <a:gd name="connsiteY37" fmla="*/ 9356 h 10000"/>
              <a:gd name="connsiteX38" fmla="*/ 6190 w 10000"/>
              <a:gd name="connsiteY38" fmla="*/ 9571 h 10000"/>
              <a:gd name="connsiteX39" fmla="*/ 6071 w 10000"/>
              <a:gd name="connsiteY39" fmla="*/ 9742 h 10000"/>
              <a:gd name="connsiteX40" fmla="*/ 5952 w 10000"/>
              <a:gd name="connsiteY40" fmla="*/ 9871 h 10000"/>
              <a:gd name="connsiteX41" fmla="*/ 5774 w 10000"/>
              <a:gd name="connsiteY41" fmla="*/ 9957 h 10000"/>
              <a:gd name="connsiteX42" fmla="*/ 5625 w 10000"/>
              <a:gd name="connsiteY42" fmla="*/ 10000 h 10000"/>
              <a:gd name="connsiteX43" fmla="*/ 5625 w 10000"/>
              <a:gd name="connsiteY43" fmla="*/ 10000 h 10000"/>
              <a:gd name="connsiteX0" fmla="*/ 5625 w 6429"/>
              <a:gd name="connsiteY0" fmla="*/ 10000 h 10000"/>
              <a:gd name="connsiteX1" fmla="*/ 5625 w 6429"/>
              <a:gd name="connsiteY1" fmla="*/ 10000 h 10000"/>
              <a:gd name="connsiteX2" fmla="*/ 5476 w 6429"/>
              <a:gd name="connsiteY2" fmla="*/ 9957 h 10000"/>
              <a:gd name="connsiteX3" fmla="*/ 5357 w 6429"/>
              <a:gd name="connsiteY3" fmla="*/ 9914 h 10000"/>
              <a:gd name="connsiteX4" fmla="*/ 5089 w 6429"/>
              <a:gd name="connsiteY4" fmla="*/ 9785 h 10000"/>
              <a:gd name="connsiteX5" fmla="*/ 536 w 6429"/>
              <a:gd name="connsiteY5" fmla="*/ 6094 h 10000"/>
              <a:gd name="connsiteX6" fmla="*/ 536 w 6429"/>
              <a:gd name="connsiteY6" fmla="*/ 6094 h 10000"/>
              <a:gd name="connsiteX7" fmla="*/ 298 w 6429"/>
              <a:gd name="connsiteY7" fmla="*/ 5880 h 10000"/>
              <a:gd name="connsiteX8" fmla="*/ 119 w 6429"/>
              <a:gd name="connsiteY8" fmla="*/ 5579 h 10000"/>
              <a:gd name="connsiteX9" fmla="*/ 30 w 6429"/>
              <a:gd name="connsiteY9" fmla="*/ 5322 h 10000"/>
              <a:gd name="connsiteX10" fmla="*/ 0 w 6429"/>
              <a:gd name="connsiteY10" fmla="*/ 4979 h 10000"/>
              <a:gd name="connsiteX11" fmla="*/ 0 w 6429"/>
              <a:gd name="connsiteY11" fmla="*/ 4979 h 10000"/>
              <a:gd name="connsiteX12" fmla="*/ 30 w 6429"/>
              <a:gd name="connsiteY12" fmla="*/ 4678 h 10000"/>
              <a:gd name="connsiteX13" fmla="*/ 119 w 6429"/>
              <a:gd name="connsiteY13" fmla="*/ 4378 h 10000"/>
              <a:gd name="connsiteX14" fmla="*/ 298 w 6429"/>
              <a:gd name="connsiteY14" fmla="*/ 4120 h 10000"/>
              <a:gd name="connsiteX15" fmla="*/ 536 w 6429"/>
              <a:gd name="connsiteY15" fmla="*/ 3906 h 10000"/>
              <a:gd name="connsiteX16" fmla="*/ 5089 w 6429"/>
              <a:gd name="connsiteY16" fmla="*/ 215 h 10000"/>
              <a:gd name="connsiteX17" fmla="*/ 5089 w 6429"/>
              <a:gd name="connsiteY17" fmla="*/ 215 h 10000"/>
              <a:gd name="connsiteX18" fmla="*/ 5357 w 6429"/>
              <a:gd name="connsiteY18" fmla="*/ 86 h 10000"/>
              <a:gd name="connsiteX19" fmla="*/ 5476 w 6429"/>
              <a:gd name="connsiteY19" fmla="*/ 43 h 10000"/>
              <a:gd name="connsiteX20" fmla="*/ 5625 w 6429"/>
              <a:gd name="connsiteY20" fmla="*/ 0 h 10000"/>
              <a:gd name="connsiteX21" fmla="*/ 5625 w 6429"/>
              <a:gd name="connsiteY21" fmla="*/ 0 h 10000"/>
              <a:gd name="connsiteX22" fmla="*/ 5774 w 6429"/>
              <a:gd name="connsiteY22" fmla="*/ 43 h 10000"/>
              <a:gd name="connsiteX23" fmla="*/ 5923 w 6429"/>
              <a:gd name="connsiteY23" fmla="*/ 86 h 10000"/>
              <a:gd name="connsiteX24" fmla="*/ 6042 w 6429"/>
              <a:gd name="connsiteY24" fmla="*/ 215 h 10000"/>
              <a:gd name="connsiteX25" fmla="*/ 6161 w 6429"/>
              <a:gd name="connsiteY25" fmla="*/ 386 h 10000"/>
              <a:gd name="connsiteX26" fmla="*/ 6280 w 6429"/>
              <a:gd name="connsiteY26" fmla="*/ 558 h 10000"/>
              <a:gd name="connsiteX27" fmla="*/ 6369 w 6429"/>
              <a:gd name="connsiteY27" fmla="*/ 815 h 10000"/>
              <a:gd name="connsiteX28" fmla="*/ 6399 w 6429"/>
              <a:gd name="connsiteY28" fmla="*/ 1116 h 10000"/>
              <a:gd name="connsiteX29" fmla="*/ 6429 w 6429"/>
              <a:gd name="connsiteY29" fmla="*/ 1502 h 10000"/>
              <a:gd name="connsiteX30" fmla="*/ 6429 w 6429"/>
              <a:gd name="connsiteY30" fmla="*/ 2532 h 10000"/>
              <a:gd name="connsiteX31" fmla="*/ 6429 w 6429"/>
              <a:gd name="connsiteY31" fmla="*/ 7468 h 10000"/>
              <a:gd name="connsiteX32" fmla="*/ 6429 w 6429"/>
              <a:gd name="connsiteY32" fmla="*/ 8498 h 10000"/>
              <a:gd name="connsiteX33" fmla="*/ 6429 w 6429"/>
              <a:gd name="connsiteY33" fmla="*/ 8498 h 10000"/>
              <a:gd name="connsiteX34" fmla="*/ 6399 w 6429"/>
              <a:gd name="connsiteY34" fmla="*/ 8841 h 10000"/>
              <a:gd name="connsiteX35" fmla="*/ 6369 w 6429"/>
              <a:gd name="connsiteY35" fmla="*/ 9099 h 10000"/>
              <a:gd name="connsiteX36" fmla="*/ 6310 w 6429"/>
              <a:gd name="connsiteY36" fmla="*/ 9356 h 10000"/>
              <a:gd name="connsiteX37" fmla="*/ 6190 w 6429"/>
              <a:gd name="connsiteY37" fmla="*/ 9571 h 10000"/>
              <a:gd name="connsiteX38" fmla="*/ 6071 w 6429"/>
              <a:gd name="connsiteY38" fmla="*/ 9742 h 10000"/>
              <a:gd name="connsiteX39" fmla="*/ 5952 w 6429"/>
              <a:gd name="connsiteY39" fmla="*/ 9871 h 10000"/>
              <a:gd name="connsiteX40" fmla="*/ 5774 w 6429"/>
              <a:gd name="connsiteY40" fmla="*/ 9957 h 10000"/>
              <a:gd name="connsiteX41" fmla="*/ 5625 w 6429"/>
              <a:gd name="connsiteY41" fmla="*/ 10000 h 10000"/>
              <a:gd name="connsiteX42" fmla="*/ 5625 w 6429"/>
              <a:gd name="connsiteY42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429" h="10000">
                <a:moveTo>
                  <a:pt x="5625" y="10000"/>
                </a:moveTo>
                <a:lnTo>
                  <a:pt x="5625" y="10000"/>
                </a:lnTo>
                <a:lnTo>
                  <a:pt x="5476" y="9957"/>
                </a:lnTo>
                <a:cubicBezTo>
                  <a:pt x="5436" y="9943"/>
                  <a:pt x="5397" y="9928"/>
                  <a:pt x="5357" y="9914"/>
                </a:cubicBezTo>
                <a:lnTo>
                  <a:pt x="5089" y="9785"/>
                </a:lnTo>
                <a:lnTo>
                  <a:pt x="536" y="6094"/>
                </a:lnTo>
                <a:lnTo>
                  <a:pt x="536" y="6094"/>
                </a:lnTo>
                <a:lnTo>
                  <a:pt x="298" y="5880"/>
                </a:lnTo>
                <a:cubicBezTo>
                  <a:pt x="238" y="5780"/>
                  <a:pt x="179" y="5679"/>
                  <a:pt x="119" y="5579"/>
                </a:cubicBezTo>
                <a:cubicBezTo>
                  <a:pt x="89" y="5493"/>
                  <a:pt x="60" y="5408"/>
                  <a:pt x="30" y="5322"/>
                </a:cubicBezTo>
                <a:cubicBezTo>
                  <a:pt x="20" y="5208"/>
                  <a:pt x="10" y="5093"/>
                  <a:pt x="0" y="4979"/>
                </a:cubicBezTo>
                <a:lnTo>
                  <a:pt x="0" y="4979"/>
                </a:lnTo>
                <a:cubicBezTo>
                  <a:pt x="10" y="4879"/>
                  <a:pt x="20" y="4778"/>
                  <a:pt x="30" y="4678"/>
                </a:cubicBezTo>
                <a:cubicBezTo>
                  <a:pt x="60" y="4578"/>
                  <a:pt x="89" y="4478"/>
                  <a:pt x="119" y="4378"/>
                </a:cubicBezTo>
                <a:lnTo>
                  <a:pt x="298" y="4120"/>
                </a:lnTo>
                <a:lnTo>
                  <a:pt x="536" y="3906"/>
                </a:lnTo>
                <a:lnTo>
                  <a:pt x="5089" y="215"/>
                </a:lnTo>
                <a:lnTo>
                  <a:pt x="5089" y="215"/>
                </a:lnTo>
                <a:lnTo>
                  <a:pt x="5357" y="86"/>
                </a:lnTo>
                <a:cubicBezTo>
                  <a:pt x="5397" y="72"/>
                  <a:pt x="5436" y="57"/>
                  <a:pt x="5476" y="43"/>
                </a:cubicBezTo>
                <a:lnTo>
                  <a:pt x="5625" y="0"/>
                </a:lnTo>
                <a:lnTo>
                  <a:pt x="5625" y="0"/>
                </a:lnTo>
                <a:lnTo>
                  <a:pt x="5774" y="43"/>
                </a:lnTo>
                <a:lnTo>
                  <a:pt x="5923" y="86"/>
                </a:lnTo>
                <a:lnTo>
                  <a:pt x="6042" y="215"/>
                </a:lnTo>
                <a:cubicBezTo>
                  <a:pt x="6082" y="272"/>
                  <a:pt x="6121" y="329"/>
                  <a:pt x="6161" y="386"/>
                </a:cubicBezTo>
                <a:cubicBezTo>
                  <a:pt x="6201" y="443"/>
                  <a:pt x="6240" y="501"/>
                  <a:pt x="6280" y="558"/>
                </a:cubicBezTo>
                <a:cubicBezTo>
                  <a:pt x="6310" y="644"/>
                  <a:pt x="6339" y="729"/>
                  <a:pt x="6369" y="815"/>
                </a:cubicBezTo>
                <a:cubicBezTo>
                  <a:pt x="6379" y="915"/>
                  <a:pt x="6389" y="1016"/>
                  <a:pt x="6399" y="1116"/>
                </a:cubicBezTo>
                <a:cubicBezTo>
                  <a:pt x="6409" y="1245"/>
                  <a:pt x="6419" y="1373"/>
                  <a:pt x="6429" y="1502"/>
                </a:cubicBezTo>
                <a:lnTo>
                  <a:pt x="6429" y="2532"/>
                </a:lnTo>
                <a:lnTo>
                  <a:pt x="6429" y="7468"/>
                </a:lnTo>
                <a:lnTo>
                  <a:pt x="6429" y="8498"/>
                </a:lnTo>
                <a:lnTo>
                  <a:pt x="6429" y="8498"/>
                </a:lnTo>
                <a:cubicBezTo>
                  <a:pt x="6419" y="8612"/>
                  <a:pt x="6409" y="8727"/>
                  <a:pt x="6399" y="8841"/>
                </a:cubicBezTo>
                <a:lnTo>
                  <a:pt x="6369" y="9099"/>
                </a:lnTo>
                <a:cubicBezTo>
                  <a:pt x="6349" y="9185"/>
                  <a:pt x="6330" y="9270"/>
                  <a:pt x="6310" y="9356"/>
                </a:cubicBezTo>
                <a:lnTo>
                  <a:pt x="6190" y="9571"/>
                </a:lnTo>
                <a:cubicBezTo>
                  <a:pt x="6150" y="9628"/>
                  <a:pt x="6111" y="9685"/>
                  <a:pt x="6071" y="9742"/>
                </a:cubicBezTo>
                <a:lnTo>
                  <a:pt x="5952" y="9871"/>
                </a:lnTo>
                <a:lnTo>
                  <a:pt x="5774" y="9957"/>
                </a:lnTo>
                <a:lnTo>
                  <a:pt x="5625" y="10000"/>
                </a:lnTo>
                <a:lnTo>
                  <a:pt x="5625" y="1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6">
              <a:solidFill>
                <a:prstClr val="white"/>
              </a:solidFill>
            </a:endParaRPr>
          </a:p>
        </p:txBody>
      </p:sp>
      <p:sp>
        <p:nvSpPr>
          <p:cNvPr id="24" name="Freeform 112"/>
          <p:cNvSpPr>
            <a:spLocks/>
          </p:cNvSpPr>
          <p:nvPr/>
        </p:nvSpPr>
        <p:spPr bwMode="auto">
          <a:xfrm rot="5400000">
            <a:off x="3793612" y="3604497"/>
            <a:ext cx="174669" cy="324373"/>
          </a:xfrm>
          <a:custGeom>
            <a:avLst/>
            <a:gdLst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9762 w 10000"/>
              <a:gd name="connsiteY31" fmla="*/ 2532 h 10000"/>
              <a:gd name="connsiteX32" fmla="*/ 10000 w 10000"/>
              <a:gd name="connsiteY32" fmla="*/ 2876 h 10000"/>
              <a:gd name="connsiteX33" fmla="*/ 10000 w 10000"/>
              <a:gd name="connsiteY33" fmla="*/ 7124 h 10000"/>
              <a:gd name="connsiteX34" fmla="*/ 10000 w 10000"/>
              <a:gd name="connsiteY34" fmla="*/ 7468 h 10000"/>
              <a:gd name="connsiteX35" fmla="*/ 9762 w 10000"/>
              <a:gd name="connsiteY35" fmla="*/ 7468 h 10000"/>
              <a:gd name="connsiteX36" fmla="*/ 6429 w 10000"/>
              <a:gd name="connsiteY36" fmla="*/ 7468 h 10000"/>
              <a:gd name="connsiteX37" fmla="*/ 6429 w 10000"/>
              <a:gd name="connsiteY37" fmla="*/ 8498 h 10000"/>
              <a:gd name="connsiteX38" fmla="*/ 6429 w 10000"/>
              <a:gd name="connsiteY38" fmla="*/ 8498 h 10000"/>
              <a:gd name="connsiteX39" fmla="*/ 6399 w 10000"/>
              <a:gd name="connsiteY39" fmla="*/ 8841 h 10000"/>
              <a:gd name="connsiteX40" fmla="*/ 6369 w 10000"/>
              <a:gd name="connsiteY40" fmla="*/ 9099 h 10000"/>
              <a:gd name="connsiteX41" fmla="*/ 6310 w 10000"/>
              <a:gd name="connsiteY41" fmla="*/ 9356 h 10000"/>
              <a:gd name="connsiteX42" fmla="*/ 6190 w 10000"/>
              <a:gd name="connsiteY42" fmla="*/ 9571 h 10000"/>
              <a:gd name="connsiteX43" fmla="*/ 6071 w 10000"/>
              <a:gd name="connsiteY43" fmla="*/ 9742 h 10000"/>
              <a:gd name="connsiteX44" fmla="*/ 5952 w 10000"/>
              <a:gd name="connsiteY44" fmla="*/ 9871 h 10000"/>
              <a:gd name="connsiteX45" fmla="*/ 5774 w 10000"/>
              <a:gd name="connsiteY45" fmla="*/ 9957 h 10000"/>
              <a:gd name="connsiteX46" fmla="*/ 5625 w 10000"/>
              <a:gd name="connsiteY46" fmla="*/ 10000 h 10000"/>
              <a:gd name="connsiteX47" fmla="*/ 5625 w 10000"/>
              <a:gd name="connsiteY47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2876 h 10000"/>
              <a:gd name="connsiteX32" fmla="*/ 10000 w 10000"/>
              <a:gd name="connsiteY32" fmla="*/ 7124 h 10000"/>
              <a:gd name="connsiteX33" fmla="*/ 10000 w 10000"/>
              <a:gd name="connsiteY33" fmla="*/ 7468 h 10000"/>
              <a:gd name="connsiteX34" fmla="*/ 9762 w 10000"/>
              <a:gd name="connsiteY34" fmla="*/ 7468 h 10000"/>
              <a:gd name="connsiteX35" fmla="*/ 6429 w 10000"/>
              <a:gd name="connsiteY35" fmla="*/ 7468 h 10000"/>
              <a:gd name="connsiteX36" fmla="*/ 6429 w 10000"/>
              <a:gd name="connsiteY36" fmla="*/ 8498 h 10000"/>
              <a:gd name="connsiteX37" fmla="*/ 6429 w 10000"/>
              <a:gd name="connsiteY37" fmla="*/ 8498 h 10000"/>
              <a:gd name="connsiteX38" fmla="*/ 6399 w 10000"/>
              <a:gd name="connsiteY38" fmla="*/ 8841 h 10000"/>
              <a:gd name="connsiteX39" fmla="*/ 6369 w 10000"/>
              <a:gd name="connsiteY39" fmla="*/ 9099 h 10000"/>
              <a:gd name="connsiteX40" fmla="*/ 6310 w 10000"/>
              <a:gd name="connsiteY40" fmla="*/ 9356 h 10000"/>
              <a:gd name="connsiteX41" fmla="*/ 6190 w 10000"/>
              <a:gd name="connsiteY41" fmla="*/ 9571 h 10000"/>
              <a:gd name="connsiteX42" fmla="*/ 6071 w 10000"/>
              <a:gd name="connsiteY42" fmla="*/ 9742 h 10000"/>
              <a:gd name="connsiteX43" fmla="*/ 5952 w 10000"/>
              <a:gd name="connsiteY43" fmla="*/ 9871 h 10000"/>
              <a:gd name="connsiteX44" fmla="*/ 5774 w 10000"/>
              <a:gd name="connsiteY44" fmla="*/ 9957 h 10000"/>
              <a:gd name="connsiteX45" fmla="*/ 5625 w 10000"/>
              <a:gd name="connsiteY45" fmla="*/ 10000 h 10000"/>
              <a:gd name="connsiteX46" fmla="*/ 5625 w 10000"/>
              <a:gd name="connsiteY46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9762 w 10000"/>
              <a:gd name="connsiteY33" fmla="*/ 7468 h 10000"/>
              <a:gd name="connsiteX34" fmla="*/ 6429 w 10000"/>
              <a:gd name="connsiteY34" fmla="*/ 7468 h 10000"/>
              <a:gd name="connsiteX35" fmla="*/ 6429 w 10000"/>
              <a:gd name="connsiteY35" fmla="*/ 8498 h 10000"/>
              <a:gd name="connsiteX36" fmla="*/ 6429 w 10000"/>
              <a:gd name="connsiteY36" fmla="*/ 8498 h 10000"/>
              <a:gd name="connsiteX37" fmla="*/ 6399 w 10000"/>
              <a:gd name="connsiteY37" fmla="*/ 8841 h 10000"/>
              <a:gd name="connsiteX38" fmla="*/ 6369 w 10000"/>
              <a:gd name="connsiteY38" fmla="*/ 9099 h 10000"/>
              <a:gd name="connsiteX39" fmla="*/ 6310 w 10000"/>
              <a:gd name="connsiteY39" fmla="*/ 9356 h 10000"/>
              <a:gd name="connsiteX40" fmla="*/ 6190 w 10000"/>
              <a:gd name="connsiteY40" fmla="*/ 9571 h 10000"/>
              <a:gd name="connsiteX41" fmla="*/ 6071 w 10000"/>
              <a:gd name="connsiteY41" fmla="*/ 9742 h 10000"/>
              <a:gd name="connsiteX42" fmla="*/ 5952 w 10000"/>
              <a:gd name="connsiteY42" fmla="*/ 9871 h 10000"/>
              <a:gd name="connsiteX43" fmla="*/ 5774 w 10000"/>
              <a:gd name="connsiteY43" fmla="*/ 9957 h 10000"/>
              <a:gd name="connsiteX44" fmla="*/ 5625 w 10000"/>
              <a:gd name="connsiteY44" fmla="*/ 10000 h 10000"/>
              <a:gd name="connsiteX45" fmla="*/ 5625 w 10000"/>
              <a:gd name="connsiteY45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6429 w 10000"/>
              <a:gd name="connsiteY33" fmla="*/ 7468 h 10000"/>
              <a:gd name="connsiteX34" fmla="*/ 6429 w 10000"/>
              <a:gd name="connsiteY34" fmla="*/ 8498 h 10000"/>
              <a:gd name="connsiteX35" fmla="*/ 6429 w 10000"/>
              <a:gd name="connsiteY35" fmla="*/ 8498 h 10000"/>
              <a:gd name="connsiteX36" fmla="*/ 6399 w 10000"/>
              <a:gd name="connsiteY36" fmla="*/ 8841 h 10000"/>
              <a:gd name="connsiteX37" fmla="*/ 6369 w 10000"/>
              <a:gd name="connsiteY37" fmla="*/ 9099 h 10000"/>
              <a:gd name="connsiteX38" fmla="*/ 6310 w 10000"/>
              <a:gd name="connsiteY38" fmla="*/ 9356 h 10000"/>
              <a:gd name="connsiteX39" fmla="*/ 6190 w 10000"/>
              <a:gd name="connsiteY39" fmla="*/ 9571 h 10000"/>
              <a:gd name="connsiteX40" fmla="*/ 6071 w 10000"/>
              <a:gd name="connsiteY40" fmla="*/ 9742 h 10000"/>
              <a:gd name="connsiteX41" fmla="*/ 5952 w 10000"/>
              <a:gd name="connsiteY41" fmla="*/ 9871 h 10000"/>
              <a:gd name="connsiteX42" fmla="*/ 5774 w 10000"/>
              <a:gd name="connsiteY42" fmla="*/ 9957 h 10000"/>
              <a:gd name="connsiteX43" fmla="*/ 5625 w 10000"/>
              <a:gd name="connsiteY43" fmla="*/ 10000 h 10000"/>
              <a:gd name="connsiteX44" fmla="*/ 5625 w 10000"/>
              <a:gd name="connsiteY44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6429 w 10000"/>
              <a:gd name="connsiteY32" fmla="*/ 7468 h 10000"/>
              <a:gd name="connsiteX33" fmla="*/ 6429 w 10000"/>
              <a:gd name="connsiteY33" fmla="*/ 8498 h 10000"/>
              <a:gd name="connsiteX34" fmla="*/ 6429 w 10000"/>
              <a:gd name="connsiteY34" fmla="*/ 8498 h 10000"/>
              <a:gd name="connsiteX35" fmla="*/ 6399 w 10000"/>
              <a:gd name="connsiteY35" fmla="*/ 8841 h 10000"/>
              <a:gd name="connsiteX36" fmla="*/ 6369 w 10000"/>
              <a:gd name="connsiteY36" fmla="*/ 9099 h 10000"/>
              <a:gd name="connsiteX37" fmla="*/ 6310 w 10000"/>
              <a:gd name="connsiteY37" fmla="*/ 9356 h 10000"/>
              <a:gd name="connsiteX38" fmla="*/ 6190 w 10000"/>
              <a:gd name="connsiteY38" fmla="*/ 9571 h 10000"/>
              <a:gd name="connsiteX39" fmla="*/ 6071 w 10000"/>
              <a:gd name="connsiteY39" fmla="*/ 9742 h 10000"/>
              <a:gd name="connsiteX40" fmla="*/ 5952 w 10000"/>
              <a:gd name="connsiteY40" fmla="*/ 9871 h 10000"/>
              <a:gd name="connsiteX41" fmla="*/ 5774 w 10000"/>
              <a:gd name="connsiteY41" fmla="*/ 9957 h 10000"/>
              <a:gd name="connsiteX42" fmla="*/ 5625 w 10000"/>
              <a:gd name="connsiteY42" fmla="*/ 10000 h 10000"/>
              <a:gd name="connsiteX43" fmla="*/ 5625 w 10000"/>
              <a:gd name="connsiteY43" fmla="*/ 10000 h 10000"/>
              <a:gd name="connsiteX0" fmla="*/ 5625 w 6429"/>
              <a:gd name="connsiteY0" fmla="*/ 10000 h 10000"/>
              <a:gd name="connsiteX1" fmla="*/ 5625 w 6429"/>
              <a:gd name="connsiteY1" fmla="*/ 10000 h 10000"/>
              <a:gd name="connsiteX2" fmla="*/ 5476 w 6429"/>
              <a:gd name="connsiteY2" fmla="*/ 9957 h 10000"/>
              <a:gd name="connsiteX3" fmla="*/ 5357 w 6429"/>
              <a:gd name="connsiteY3" fmla="*/ 9914 h 10000"/>
              <a:gd name="connsiteX4" fmla="*/ 5089 w 6429"/>
              <a:gd name="connsiteY4" fmla="*/ 9785 h 10000"/>
              <a:gd name="connsiteX5" fmla="*/ 536 w 6429"/>
              <a:gd name="connsiteY5" fmla="*/ 6094 h 10000"/>
              <a:gd name="connsiteX6" fmla="*/ 536 w 6429"/>
              <a:gd name="connsiteY6" fmla="*/ 6094 h 10000"/>
              <a:gd name="connsiteX7" fmla="*/ 298 w 6429"/>
              <a:gd name="connsiteY7" fmla="*/ 5880 h 10000"/>
              <a:gd name="connsiteX8" fmla="*/ 119 w 6429"/>
              <a:gd name="connsiteY8" fmla="*/ 5579 h 10000"/>
              <a:gd name="connsiteX9" fmla="*/ 30 w 6429"/>
              <a:gd name="connsiteY9" fmla="*/ 5322 h 10000"/>
              <a:gd name="connsiteX10" fmla="*/ 0 w 6429"/>
              <a:gd name="connsiteY10" fmla="*/ 4979 h 10000"/>
              <a:gd name="connsiteX11" fmla="*/ 0 w 6429"/>
              <a:gd name="connsiteY11" fmla="*/ 4979 h 10000"/>
              <a:gd name="connsiteX12" fmla="*/ 30 w 6429"/>
              <a:gd name="connsiteY12" fmla="*/ 4678 h 10000"/>
              <a:gd name="connsiteX13" fmla="*/ 119 w 6429"/>
              <a:gd name="connsiteY13" fmla="*/ 4378 h 10000"/>
              <a:gd name="connsiteX14" fmla="*/ 298 w 6429"/>
              <a:gd name="connsiteY14" fmla="*/ 4120 h 10000"/>
              <a:gd name="connsiteX15" fmla="*/ 536 w 6429"/>
              <a:gd name="connsiteY15" fmla="*/ 3906 h 10000"/>
              <a:gd name="connsiteX16" fmla="*/ 5089 w 6429"/>
              <a:gd name="connsiteY16" fmla="*/ 215 h 10000"/>
              <a:gd name="connsiteX17" fmla="*/ 5089 w 6429"/>
              <a:gd name="connsiteY17" fmla="*/ 215 h 10000"/>
              <a:gd name="connsiteX18" fmla="*/ 5357 w 6429"/>
              <a:gd name="connsiteY18" fmla="*/ 86 h 10000"/>
              <a:gd name="connsiteX19" fmla="*/ 5476 w 6429"/>
              <a:gd name="connsiteY19" fmla="*/ 43 h 10000"/>
              <a:gd name="connsiteX20" fmla="*/ 5625 w 6429"/>
              <a:gd name="connsiteY20" fmla="*/ 0 h 10000"/>
              <a:gd name="connsiteX21" fmla="*/ 5625 w 6429"/>
              <a:gd name="connsiteY21" fmla="*/ 0 h 10000"/>
              <a:gd name="connsiteX22" fmla="*/ 5774 w 6429"/>
              <a:gd name="connsiteY22" fmla="*/ 43 h 10000"/>
              <a:gd name="connsiteX23" fmla="*/ 5923 w 6429"/>
              <a:gd name="connsiteY23" fmla="*/ 86 h 10000"/>
              <a:gd name="connsiteX24" fmla="*/ 6042 w 6429"/>
              <a:gd name="connsiteY24" fmla="*/ 215 h 10000"/>
              <a:gd name="connsiteX25" fmla="*/ 6161 w 6429"/>
              <a:gd name="connsiteY25" fmla="*/ 386 h 10000"/>
              <a:gd name="connsiteX26" fmla="*/ 6280 w 6429"/>
              <a:gd name="connsiteY26" fmla="*/ 558 h 10000"/>
              <a:gd name="connsiteX27" fmla="*/ 6369 w 6429"/>
              <a:gd name="connsiteY27" fmla="*/ 815 h 10000"/>
              <a:gd name="connsiteX28" fmla="*/ 6399 w 6429"/>
              <a:gd name="connsiteY28" fmla="*/ 1116 h 10000"/>
              <a:gd name="connsiteX29" fmla="*/ 6429 w 6429"/>
              <a:gd name="connsiteY29" fmla="*/ 1502 h 10000"/>
              <a:gd name="connsiteX30" fmla="*/ 6429 w 6429"/>
              <a:gd name="connsiteY30" fmla="*/ 2532 h 10000"/>
              <a:gd name="connsiteX31" fmla="*/ 6429 w 6429"/>
              <a:gd name="connsiteY31" fmla="*/ 7468 h 10000"/>
              <a:gd name="connsiteX32" fmla="*/ 6429 w 6429"/>
              <a:gd name="connsiteY32" fmla="*/ 8498 h 10000"/>
              <a:gd name="connsiteX33" fmla="*/ 6429 w 6429"/>
              <a:gd name="connsiteY33" fmla="*/ 8498 h 10000"/>
              <a:gd name="connsiteX34" fmla="*/ 6399 w 6429"/>
              <a:gd name="connsiteY34" fmla="*/ 8841 h 10000"/>
              <a:gd name="connsiteX35" fmla="*/ 6369 w 6429"/>
              <a:gd name="connsiteY35" fmla="*/ 9099 h 10000"/>
              <a:gd name="connsiteX36" fmla="*/ 6310 w 6429"/>
              <a:gd name="connsiteY36" fmla="*/ 9356 h 10000"/>
              <a:gd name="connsiteX37" fmla="*/ 6190 w 6429"/>
              <a:gd name="connsiteY37" fmla="*/ 9571 h 10000"/>
              <a:gd name="connsiteX38" fmla="*/ 6071 w 6429"/>
              <a:gd name="connsiteY38" fmla="*/ 9742 h 10000"/>
              <a:gd name="connsiteX39" fmla="*/ 5952 w 6429"/>
              <a:gd name="connsiteY39" fmla="*/ 9871 h 10000"/>
              <a:gd name="connsiteX40" fmla="*/ 5774 w 6429"/>
              <a:gd name="connsiteY40" fmla="*/ 9957 h 10000"/>
              <a:gd name="connsiteX41" fmla="*/ 5625 w 6429"/>
              <a:gd name="connsiteY41" fmla="*/ 10000 h 10000"/>
              <a:gd name="connsiteX42" fmla="*/ 5625 w 6429"/>
              <a:gd name="connsiteY42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429" h="10000">
                <a:moveTo>
                  <a:pt x="5625" y="10000"/>
                </a:moveTo>
                <a:lnTo>
                  <a:pt x="5625" y="10000"/>
                </a:lnTo>
                <a:lnTo>
                  <a:pt x="5476" y="9957"/>
                </a:lnTo>
                <a:cubicBezTo>
                  <a:pt x="5436" y="9943"/>
                  <a:pt x="5397" y="9928"/>
                  <a:pt x="5357" y="9914"/>
                </a:cubicBezTo>
                <a:lnTo>
                  <a:pt x="5089" y="9785"/>
                </a:lnTo>
                <a:lnTo>
                  <a:pt x="536" y="6094"/>
                </a:lnTo>
                <a:lnTo>
                  <a:pt x="536" y="6094"/>
                </a:lnTo>
                <a:lnTo>
                  <a:pt x="298" y="5880"/>
                </a:lnTo>
                <a:cubicBezTo>
                  <a:pt x="238" y="5780"/>
                  <a:pt x="179" y="5679"/>
                  <a:pt x="119" y="5579"/>
                </a:cubicBezTo>
                <a:cubicBezTo>
                  <a:pt x="89" y="5493"/>
                  <a:pt x="60" y="5408"/>
                  <a:pt x="30" y="5322"/>
                </a:cubicBezTo>
                <a:cubicBezTo>
                  <a:pt x="20" y="5208"/>
                  <a:pt x="10" y="5093"/>
                  <a:pt x="0" y="4979"/>
                </a:cubicBezTo>
                <a:lnTo>
                  <a:pt x="0" y="4979"/>
                </a:lnTo>
                <a:cubicBezTo>
                  <a:pt x="10" y="4879"/>
                  <a:pt x="20" y="4778"/>
                  <a:pt x="30" y="4678"/>
                </a:cubicBezTo>
                <a:cubicBezTo>
                  <a:pt x="60" y="4578"/>
                  <a:pt x="89" y="4478"/>
                  <a:pt x="119" y="4378"/>
                </a:cubicBezTo>
                <a:lnTo>
                  <a:pt x="298" y="4120"/>
                </a:lnTo>
                <a:lnTo>
                  <a:pt x="536" y="3906"/>
                </a:lnTo>
                <a:lnTo>
                  <a:pt x="5089" y="215"/>
                </a:lnTo>
                <a:lnTo>
                  <a:pt x="5089" y="215"/>
                </a:lnTo>
                <a:lnTo>
                  <a:pt x="5357" y="86"/>
                </a:lnTo>
                <a:cubicBezTo>
                  <a:pt x="5397" y="72"/>
                  <a:pt x="5436" y="57"/>
                  <a:pt x="5476" y="43"/>
                </a:cubicBezTo>
                <a:lnTo>
                  <a:pt x="5625" y="0"/>
                </a:lnTo>
                <a:lnTo>
                  <a:pt x="5625" y="0"/>
                </a:lnTo>
                <a:lnTo>
                  <a:pt x="5774" y="43"/>
                </a:lnTo>
                <a:lnTo>
                  <a:pt x="5923" y="86"/>
                </a:lnTo>
                <a:lnTo>
                  <a:pt x="6042" y="215"/>
                </a:lnTo>
                <a:cubicBezTo>
                  <a:pt x="6082" y="272"/>
                  <a:pt x="6121" y="329"/>
                  <a:pt x="6161" y="386"/>
                </a:cubicBezTo>
                <a:cubicBezTo>
                  <a:pt x="6201" y="443"/>
                  <a:pt x="6240" y="501"/>
                  <a:pt x="6280" y="558"/>
                </a:cubicBezTo>
                <a:cubicBezTo>
                  <a:pt x="6310" y="644"/>
                  <a:pt x="6339" y="729"/>
                  <a:pt x="6369" y="815"/>
                </a:cubicBezTo>
                <a:cubicBezTo>
                  <a:pt x="6379" y="915"/>
                  <a:pt x="6389" y="1016"/>
                  <a:pt x="6399" y="1116"/>
                </a:cubicBezTo>
                <a:cubicBezTo>
                  <a:pt x="6409" y="1245"/>
                  <a:pt x="6419" y="1373"/>
                  <a:pt x="6429" y="1502"/>
                </a:cubicBezTo>
                <a:lnTo>
                  <a:pt x="6429" y="2532"/>
                </a:lnTo>
                <a:lnTo>
                  <a:pt x="6429" y="7468"/>
                </a:lnTo>
                <a:lnTo>
                  <a:pt x="6429" y="8498"/>
                </a:lnTo>
                <a:lnTo>
                  <a:pt x="6429" y="8498"/>
                </a:lnTo>
                <a:cubicBezTo>
                  <a:pt x="6419" y="8612"/>
                  <a:pt x="6409" y="8727"/>
                  <a:pt x="6399" y="8841"/>
                </a:cubicBezTo>
                <a:lnTo>
                  <a:pt x="6369" y="9099"/>
                </a:lnTo>
                <a:cubicBezTo>
                  <a:pt x="6349" y="9185"/>
                  <a:pt x="6330" y="9270"/>
                  <a:pt x="6310" y="9356"/>
                </a:cubicBezTo>
                <a:lnTo>
                  <a:pt x="6190" y="9571"/>
                </a:lnTo>
                <a:cubicBezTo>
                  <a:pt x="6150" y="9628"/>
                  <a:pt x="6111" y="9685"/>
                  <a:pt x="6071" y="9742"/>
                </a:cubicBezTo>
                <a:lnTo>
                  <a:pt x="5952" y="9871"/>
                </a:lnTo>
                <a:lnTo>
                  <a:pt x="5774" y="9957"/>
                </a:lnTo>
                <a:lnTo>
                  <a:pt x="5625" y="10000"/>
                </a:lnTo>
                <a:lnTo>
                  <a:pt x="5625" y="1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6">
              <a:solidFill>
                <a:prstClr val="white"/>
              </a:solidFill>
            </a:endParaRPr>
          </a:p>
        </p:txBody>
      </p:sp>
      <p:sp>
        <p:nvSpPr>
          <p:cNvPr id="29" name="Freeform 112"/>
          <p:cNvSpPr>
            <a:spLocks/>
          </p:cNvSpPr>
          <p:nvPr/>
        </p:nvSpPr>
        <p:spPr bwMode="auto">
          <a:xfrm rot="5400000">
            <a:off x="6721240" y="3604498"/>
            <a:ext cx="174668" cy="324373"/>
          </a:xfrm>
          <a:custGeom>
            <a:avLst/>
            <a:gdLst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9762 w 10000"/>
              <a:gd name="connsiteY31" fmla="*/ 2532 h 10000"/>
              <a:gd name="connsiteX32" fmla="*/ 10000 w 10000"/>
              <a:gd name="connsiteY32" fmla="*/ 2876 h 10000"/>
              <a:gd name="connsiteX33" fmla="*/ 10000 w 10000"/>
              <a:gd name="connsiteY33" fmla="*/ 7124 h 10000"/>
              <a:gd name="connsiteX34" fmla="*/ 10000 w 10000"/>
              <a:gd name="connsiteY34" fmla="*/ 7468 h 10000"/>
              <a:gd name="connsiteX35" fmla="*/ 9762 w 10000"/>
              <a:gd name="connsiteY35" fmla="*/ 7468 h 10000"/>
              <a:gd name="connsiteX36" fmla="*/ 6429 w 10000"/>
              <a:gd name="connsiteY36" fmla="*/ 7468 h 10000"/>
              <a:gd name="connsiteX37" fmla="*/ 6429 w 10000"/>
              <a:gd name="connsiteY37" fmla="*/ 8498 h 10000"/>
              <a:gd name="connsiteX38" fmla="*/ 6429 w 10000"/>
              <a:gd name="connsiteY38" fmla="*/ 8498 h 10000"/>
              <a:gd name="connsiteX39" fmla="*/ 6399 w 10000"/>
              <a:gd name="connsiteY39" fmla="*/ 8841 h 10000"/>
              <a:gd name="connsiteX40" fmla="*/ 6369 w 10000"/>
              <a:gd name="connsiteY40" fmla="*/ 9099 h 10000"/>
              <a:gd name="connsiteX41" fmla="*/ 6310 w 10000"/>
              <a:gd name="connsiteY41" fmla="*/ 9356 h 10000"/>
              <a:gd name="connsiteX42" fmla="*/ 6190 w 10000"/>
              <a:gd name="connsiteY42" fmla="*/ 9571 h 10000"/>
              <a:gd name="connsiteX43" fmla="*/ 6071 w 10000"/>
              <a:gd name="connsiteY43" fmla="*/ 9742 h 10000"/>
              <a:gd name="connsiteX44" fmla="*/ 5952 w 10000"/>
              <a:gd name="connsiteY44" fmla="*/ 9871 h 10000"/>
              <a:gd name="connsiteX45" fmla="*/ 5774 w 10000"/>
              <a:gd name="connsiteY45" fmla="*/ 9957 h 10000"/>
              <a:gd name="connsiteX46" fmla="*/ 5625 w 10000"/>
              <a:gd name="connsiteY46" fmla="*/ 10000 h 10000"/>
              <a:gd name="connsiteX47" fmla="*/ 5625 w 10000"/>
              <a:gd name="connsiteY47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2876 h 10000"/>
              <a:gd name="connsiteX32" fmla="*/ 10000 w 10000"/>
              <a:gd name="connsiteY32" fmla="*/ 7124 h 10000"/>
              <a:gd name="connsiteX33" fmla="*/ 10000 w 10000"/>
              <a:gd name="connsiteY33" fmla="*/ 7468 h 10000"/>
              <a:gd name="connsiteX34" fmla="*/ 9762 w 10000"/>
              <a:gd name="connsiteY34" fmla="*/ 7468 h 10000"/>
              <a:gd name="connsiteX35" fmla="*/ 6429 w 10000"/>
              <a:gd name="connsiteY35" fmla="*/ 7468 h 10000"/>
              <a:gd name="connsiteX36" fmla="*/ 6429 w 10000"/>
              <a:gd name="connsiteY36" fmla="*/ 8498 h 10000"/>
              <a:gd name="connsiteX37" fmla="*/ 6429 w 10000"/>
              <a:gd name="connsiteY37" fmla="*/ 8498 h 10000"/>
              <a:gd name="connsiteX38" fmla="*/ 6399 w 10000"/>
              <a:gd name="connsiteY38" fmla="*/ 8841 h 10000"/>
              <a:gd name="connsiteX39" fmla="*/ 6369 w 10000"/>
              <a:gd name="connsiteY39" fmla="*/ 9099 h 10000"/>
              <a:gd name="connsiteX40" fmla="*/ 6310 w 10000"/>
              <a:gd name="connsiteY40" fmla="*/ 9356 h 10000"/>
              <a:gd name="connsiteX41" fmla="*/ 6190 w 10000"/>
              <a:gd name="connsiteY41" fmla="*/ 9571 h 10000"/>
              <a:gd name="connsiteX42" fmla="*/ 6071 w 10000"/>
              <a:gd name="connsiteY42" fmla="*/ 9742 h 10000"/>
              <a:gd name="connsiteX43" fmla="*/ 5952 w 10000"/>
              <a:gd name="connsiteY43" fmla="*/ 9871 h 10000"/>
              <a:gd name="connsiteX44" fmla="*/ 5774 w 10000"/>
              <a:gd name="connsiteY44" fmla="*/ 9957 h 10000"/>
              <a:gd name="connsiteX45" fmla="*/ 5625 w 10000"/>
              <a:gd name="connsiteY45" fmla="*/ 10000 h 10000"/>
              <a:gd name="connsiteX46" fmla="*/ 5625 w 10000"/>
              <a:gd name="connsiteY46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9762 w 10000"/>
              <a:gd name="connsiteY33" fmla="*/ 7468 h 10000"/>
              <a:gd name="connsiteX34" fmla="*/ 6429 w 10000"/>
              <a:gd name="connsiteY34" fmla="*/ 7468 h 10000"/>
              <a:gd name="connsiteX35" fmla="*/ 6429 w 10000"/>
              <a:gd name="connsiteY35" fmla="*/ 8498 h 10000"/>
              <a:gd name="connsiteX36" fmla="*/ 6429 w 10000"/>
              <a:gd name="connsiteY36" fmla="*/ 8498 h 10000"/>
              <a:gd name="connsiteX37" fmla="*/ 6399 w 10000"/>
              <a:gd name="connsiteY37" fmla="*/ 8841 h 10000"/>
              <a:gd name="connsiteX38" fmla="*/ 6369 w 10000"/>
              <a:gd name="connsiteY38" fmla="*/ 9099 h 10000"/>
              <a:gd name="connsiteX39" fmla="*/ 6310 w 10000"/>
              <a:gd name="connsiteY39" fmla="*/ 9356 h 10000"/>
              <a:gd name="connsiteX40" fmla="*/ 6190 w 10000"/>
              <a:gd name="connsiteY40" fmla="*/ 9571 h 10000"/>
              <a:gd name="connsiteX41" fmla="*/ 6071 w 10000"/>
              <a:gd name="connsiteY41" fmla="*/ 9742 h 10000"/>
              <a:gd name="connsiteX42" fmla="*/ 5952 w 10000"/>
              <a:gd name="connsiteY42" fmla="*/ 9871 h 10000"/>
              <a:gd name="connsiteX43" fmla="*/ 5774 w 10000"/>
              <a:gd name="connsiteY43" fmla="*/ 9957 h 10000"/>
              <a:gd name="connsiteX44" fmla="*/ 5625 w 10000"/>
              <a:gd name="connsiteY44" fmla="*/ 10000 h 10000"/>
              <a:gd name="connsiteX45" fmla="*/ 5625 w 10000"/>
              <a:gd name="connsiteY45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6429 w 10000"/>
              <a:gd name="connsiteY33" fmla="*/ 7468 h 10000"/>
              <a:gd name="connsiteX34" fmla="*/ 6429 w 10000"/>
              <a:gd name="connsiteY34" fmla="*/ 8498 h 10000"/>
              <a:gd name="connsiteX35" fmla="*/ 6429 w 10000"/>
              <a:gd name="connsiteY35" fmla="*/ 8498 h 10000"/>
              <a:gd name="connsiteX36" fmla="*/ 6399 w 10000"/>
              <a:gd name="connsiteY36" fmla="*/ 8841 h 10000"/>
              <a:gd name="connsiteX37" fmla="*/ 6369 w 10000"/>
              <a:gd name="connsiteY37" fmla="*/ 9099 h 10000"/>
              <a:gd name="connsiteX38" fmla="*/ 6310 w 10000"/>
              <a:gd name="connsiteY38" fmla="*/ 9356 h 10000"/>
              <a:gd name="connsiteX39" fmla="*/ 6190 w 10000"/>
              <a:gd name="connsiteY39" fmla="*/ 9571 h 10000"/>
              <a:gd name="connsiteX40" fmla="*/ 6071 w 10000"/>
              <a:gd name="connsiteY40" fmla="*/ 9742 h 10000"/>
              <a:gd name="connsiteX41" fmla="*/ 5952 w 10000"/>
              <a:gd name="connsiteY41" fmla="*/ 9871 h 10000"/>
              <a:gd name="connsiteX42" fmla="*/ 5774 w 10000"/>
              <a:gd name="connsiteY42" fmla="*/ 9957 h 10000"/>
              <a:gd name="connsiteX43" fmla="*/ 5625 w 10000"/>
              <a:gd name="connsiteY43" fmla="*/ 10000 h 10000"/>
              <a:gd name="connsiteX44" fmla="*/ 5625 w 10000"/>
              <a:gd name="connsiteY44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6429 w 10000"/>
              <a:gd name="connsiteY32" fmla="*/ 7468 h 10000"/>
              <a:gd name="connsiteX33" fmla="*/ 6429 w 10000"/>
              <a:gd name="connsiteY33" fmla="*/ 8498 h 10000"/>
              <a:gd name="connsiteX34" fmla="*/ 6429 w 10000"/>
              <a:gd name="connsiteY34" fmla="*/ 8498 h 10000"/>
              <a:gd name="connsiteX35" fmla="*/ 6399 w 10000"/>
              <a:gd name="connsiteY35" fmla="*/ 8841 h 10000"/>
              <a:gd name="connsiteX36" fmla="*/ 6369 w 10000"/>
              <a:gd name="connsiteY36" fmla="*/ 9099 h 10000"/>
              <a:gd name="connsiteX37" fmla="*/ 6310 w 10000"/>
              <a:gd name="connsiteY37" fmla="*/ 9356 h 10000"/>
              <a:gd name="connsiteX38" fmla="*/ 6190 w 10000"/>
              <a:gd name="connsiteY38" fmla="*/ 9571 h 10000"/>
              <a:gd name="connsiteX39" fmla="*/ 6071 w 10000"/>
              <a:gd name="connsiteY39" fmla="*/ 9742 h 10000"/>
              <a:gd name="connsiteX40" fmla="*/ 5952 w 10000"/>
              <a:gd name="connsiteY40" fmla="*/ 9871 h 10000"/>
              <a:gd name="connsiteX41" fmla="*/ 5774 w 10000"/>
              <a:gd name="connsiteY41" fmla="*/ 9957 h 10000"/>
              <a:gd name="connsiteX42" fmla="*/ 5625 w 10000"/>
              <a:gd name="connsiteY42" fmla="*/ 10000 h 10000"/>
              <a:gd name="connsiteX43" fmla="*/ 5625 w 10000"/>
              <a:gd name="connsiteY43" fmla="*/ 10000 h 10000"/>
              <a:gd name="connsiteX0" fmla="*/ 5625 w 6429"/>
              <a:gd name="connsiteY0" fmla="*/ 10000 h 10000"/>
              <a:gd name="connsiteX1" fmla="*/ 5625 w 6429"/>
              <a:gd name="connsiteY1" fmla="*/ 10000 h 10000"/>
              <a:gd name="connsiteX2" fmla="*/ 5476 w 6429"/>
              <a:gd name="connsiteY2" fmla="*/ 9957 h 10000"/>
              <a:gd name="connsiteX3" fmla="*/ 5357 w 6429"/>
              <a:gd name="connsiteY3" fmla="*/ 9914 h 10000"/>
              <a:gd name="connsiteX4" fmla="*/ 5089 w 6429"/>
              <a:gd name="connsiteY4" fmla="*/ 9785 h 10000"/>
              <a:gd name="connsiteX5" fmla="*/ 536 w 6429"/>
              <a:gd name="connsiteY5" fmla="*/ 6094 h 10000"/>
              <a:gd name="connsiteX6" fmla="*/ 536 w 6429"/>
              <a:gd name="connsiteY6" fmla="*/ 6094 h 10000"/>
              <a:gd name="connsiteX7" fmla="*/ 298 w 6429"/>
              <a:gd name="connsiteY7" fmla="*/ 5880 h 10000"/>
              <a:gd name="connsiteX8" fmla="*/ 119 w 6429"/>
              <a:gd name="connsiteY8" fmla="*/ 5579 h 10000"/>
              <a:gd name="connsiteX9" fmla="*/ 30 w 6429"/>
              <a:gd name="connsiteY9" fmla="*/ 5322 h 10000"/>
              <a:gd name="connsiteX10" fmla="*/ 0 w 6429"/>
              <a:gd name="connsiteY10" fmla="*/ 4979 h 10000"/>
              <a:gd name="connsiteX11" fmla="*/ 0 w 6429"/>
              <a:gd name="connsiteY11" fmla="*/ 4979 h 10000"/>
              <a:gd name="connsiteX12" fmla="*/ 30 w 6429"/>
              <a:gd name="connsiteY12" fmla="*/ 4678 h 10000"/>
              <a:gd name="connsiteX13" fmla="*/ 119 w 6429"/>
              <a:gd name="connsiteY13" fmla="*/ 4378 h 10000"/>
              <a:gd name="connsiteX14" fmla="*/ 298 w 6429"/>
              <a:gd name="connsiteY14" fmla="*/ 4120 h 10000"/>
              <a:gd name="connsiteX15" fmla="*/ 536 w 6429"/>
              <a:gd name="connsiteY15" fmla="*/ 3906 h 10000"/>
              <a:gd name="connsiteX16" fmla="*/ 5089 w 6429"/>
              <a:gd name="connsiteY16" fmla="*/ 215 h 10000"/>
              <a:gd name="connsiteX17" fmla="*/ 5089 w 6429"/>
              <a:gd name="connsiteY17" fmla="*/ 215 h 10000"/>
              <a:gd name="connsiteX18" fmla="*/ 5357 w 6429"/>
              <a:gd name="connsiteY18" fmla="*/ 86 h 10000"/>
              <a:gd name="connsiteX19" fmla="*/ 5476 w 6429"/>
              <a:gd name="connsiteY19" fmla="*/ 43 h 10000"/>
              <a:gd name="connsiteX20" fmla="*/ 5625 w 6429"/>
              <a:gd name="connsiteY20" fmla="*/ 0 h 10000"/>
              <a:gd name="connsiteX21" fmla="*/ 5625 w 6429"/>
              <a:gd name="connsiteY21" fmla="*/ 0 h 10000"/>
              <a:gd name="connsiteX22" fmla="*/ 5774 w 6429"/>
              <a:gd name="connsiteY22" fmla="*/ 43 h 10000"/>
              <a:gd name="connsiteX23" fmla="*/ 5923 w 6429"/>
              <a:gd name="connsiteY23" fmla="*/ 86 h 10000"/>
              <a:gd name="connsiteX24" fmla="*/ 6042 w 6429"/>
              <a:gd name="connsiteY24" fmla="*/ 215 h 10000"/>
              <a:gd name="connsiteX25" fmla="*/ 6161 w 6429"/>
              <a:gd name="connsiteY25" fmla="*/ 386 h 10000"/>
              <a:gd name="connsiteX26" fmla="*/ 6280 w 6429"/>
              <a:gd name="connsiteY26" fmla="*/ 558 h 10000"/>
              <a:gd name="connsiteX27" fmla="*/ 6369 w 6429"/>
              <a:gd name="connsiteY27" fmla="*/ 815 h 10000"/>
              <a:gd name="connsiteX28" fmla="*/ 6399 w 6429"/>
              <a:gd name="connsiteY28" fmla="*/ 1116 h 10000"/>
              <a:gd name="connsiteX29" fmla="*/ 6429 w 6429"/>
              <a:gd name="connsiteY29" fmla="*/ 1502 h 10000"/>
              <a:gd name="connsiteX30" fmla="*/ 6429 w 6429"/>
              <a:gd name="connsiteY30" fmla="*/ 2532 h 10000"/>
              <a:gd name="connsiteX31" fmla="*/ 6429 w 6429"/>
              <a:gd name="connsiteY31" fmla="*/ 7468 h 10000"/>
              <a:gd name="connsiteX32" fmla="*/ 6429 w 6429"/>
              <a:gd name="connsiteY32" fmla="*/ 8498 h 10000"/>
              <a:gd name="connsiteX33" fmla="*/ 6429 w 6429"/>
              <a:gd name="connsiteY33" fmla="*/ 8498 h 10000"/>
              <a:gd name="connsiteX34" fmla="*/ 6399 w 6429"/>
              <a:gd name="connsiteY34" fmla="*/ 8841 h 10000"/>
              <a:gd name="connsiteX35" fmla="*/ 6369 w 6429"/>
              <a:gd name="connsiteY35" fmla="*/ 9099 h 10000"/>
              <a:gd name="connsiteX36" fmla="*/ 6310 w 6429"/>
              <a:gd name="connsiteY36" fmla="*/ 9356 h 10000"/>
              <a:gd name="connsiteX37" fmla="*/ 6190 w 6429"/>
              <a:gd name="connsiteY37" fmla="*/ 9571 h 10000"/>
              <a:gd name="connsiteX38" fmla="*/ 6071 w 6429"/>
              <a:gd name="connsiteY38" fmla="*/ 9742 h 10000"/>
              <a:gd name="connsiteX39" fmla="*/ 5952 w 6429"/>
              <a:gd name="connsiteY39" fmla="*/ 9871 h 10000"/>
              <a:gd name="connsiteX40" fmla="*/ 5774 w 6429"/>
              <a:gd name="connsiteY40" fmla="*/ 9957 h 10000"/>
              <a:gd name="connsiteX41" fmla="*/ 5625 w 6429"/>
              <a:gd name="connsiteY41" fmla="*/ 10000 h 10000"/>
              <a:gd name="connsiteX42" fmla="*/ 5625 w 6429"/>
              <a:gd name="connsiteY42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429" h="10000">
                <a:moveTo>
                  <a:pt x="5625" y="10000"/>
                </a:moveTo>
                <a:lnTo>
                  <a:pt x="5625" y="10000"/>
                </a:lnTo>
                <a:lnTo>
                  <a:pt x="5476" y="9957"/>
                </a:lnTo>
                <a:cubicBezTo>
                  <a:pt x="5436" y="9943"/>
                  <a:pt x="5397" y="9928"/>
                  <a:pt x="5357" y="9914"/>
                </a:cubicBezTo>
                <a:lnTo>
                  <a:pt x="5089" y="9785"/>
                </a:lnTo>
                <a:lnTo>
                  <a:pt x="536" y="6094"/>
                </a:lnTo>
                <a:lnTo>
                  <a:pt x="536" y="6094"/>
                </a:lnTo>
                <a:lnTo>
                  <a:pt x="298" y="5880"/>
                </a:lnTo>
                <a:cubicBezTo>
                  <a:pt x="238" y="5780"/>
                  <a:pt x="179" y="5679"/>
                  <a:pt x="119" y="5579"/>
                </a:cubicBezTo>
                <a:cubicBezTo>
                  <a:pt x="89" y="5493"/>
                  <a:pt x="60" y="5408"/>
                  <a:pt x="30" y="5322"/>
                </a:cubicBezTo>
                <a:cubicBezTo>
                  <a:pt x="20" y="5208"/>
                  <a:pt x="10" y="5093"/>
                  <a:pt x="0" y="4979"/>
                </a:cubicBezTo>
                <a:lnTo>
                  <a:pt x="0" y="4979"/>
                </a:lnTo>
                <a:cubicBezTo>
                  <a:pt x="10" y="4879"/>
                  <a:pt x="20" y="4778"/>
                  <a:pt x="30" y="4678"/>
                </a:cubicBezTo>
                <a:cubicBezTo>
                  <a:pt x="60" y="4578"/>
                  <a:pt x="89" y="4478"/>
                  <a:pt x="119" y="4378"/>
                </a:cubicBezTo>
                <a:lnTo>
                  <a:pt x="298" y="4120"/>
                </a:lnTo>
                <a:lnTo>
                  <a:pt x="536" y="3906"/>
                </a:lnTo>
                <a:lnTo>
                  <a:pt x="5089" y="215"/>
                </a:lnTo>
                <a:lnTo>
                  <a:pt x="5089" y="215"/>
                </a:lnTo>
                <a:lnTo>
                  <a:pt x="5357" y="86"/>
                </a:lnTo>
                <a:cubicBezTo>
                  <a:pt x="5397" y="72"/>
                  <a:pt x="5436" y="57"/>
                  <a:pt x="5476" y="43"/>
                </a:cubicBezTo>
                <a:lnTo>
                  <a:pt x="5625" y="0"/>
                </a:lnTo>
                <a:lnTo>
                  <a:pt x="5625" y="0"/>
                </a:lnTo>
                <a:lnTo>
                  <a:pt x="5774" y="43"/>
                </a:lnTo>
                <a:lnTo>
                  <a:pt x="5923" y="86"/>
                </a:lnTo>
                <a:lnTo>
                  <a:pt x="6042" y="215"/>
                </a:lnTo>
                <a:cubicBezTo>
                  <a:pt x="6082" y="272"/>
                  <a:pt x="6121" y="329"/>
                  <a:pt x="6161" y="386"/>
                </a:cubicBezTo>
                <a:cubicBezTo>
                  <a:pt x="6201" y="443"/>
                  <a:pt x="6240" y="501"/>
                  <a:pt x="6280" y="558"/>
                </a:cubicBezTo>
                <a:cubicBezTo>
                  <a:pt x="6310" y="644"/>
                  <a:pt x="6339" y="729"/>
                  <a:pt x="6369" y="815"/>
                </a:cubicBezTo>
                <a:cubicBezTo>
                  <a:pt x="6379" y="915"/>
                  <a:pt x="6389" y="1016"/>
                  <a:pt x="6399" y="1116"/>
                </a:cubicBezTo>
                <a:cubicBezTo>
                  <a:pt x="6409" y="1245"/>
                  <a:pt x="6419" y="1373"/>
                  <a:pt x="6429" y="1502"/>
                </a:cubicBezTo>
                <a:lnTo>
                  <a:pt x="6429" y="2532"/>
                </a:lnTo>
                <a:lnTo>
                  <a:pt x="6429" y="7468"/>
                </a:lnTo>
                <a:lnTo>
                  <a:pt x="6429" y="8498"/>
                </a:lnTo>
                <a:lnTo>
                  <a:pt x="6429" y="8498"/>
                </a:lnTo>
                <a:cubicBezTo>
                  <a:pt x="6419" y="8612"/>
                  <a:pt x="6409" y="8727"/>
                  <a:pt x="6399" y="8841"/>
                </a:cubicBezTo>
                <a:lnTo>
                  <a:pt x="6369" y="9099"/>
                </a:lnTo>
                <a:cubicBezTo>
                  <a:pt x="6349" y="9185"/>
                  <a:pt x="6330" y="9270"/>
                  <a:pt x="6310" y="9356"/>
                </a:cubicBezTo>
                <a:lnTo>
                  <a:pt x="6190" y="9571"/>
                </a:lnTo>
                <a:cubicBezTo>
                  <a:pt x="6150" y="9628"/>
                  <a:pt x="6111" y="9685"/>
                  <a:pt x="6071" y="9742"/>
                </a:cubicBezTo>
                <a:lnTo>
                  <a:pt x="5952" y="9871"/>
                </a:lnTo>
                <a:lnTo>
                  <a:pt x="5774" y="9957"/>
                </a:lnTo>
                <a:lnTo>
                  <a:pt x="5625" y="10000"/>
                </a:lnTo>
                <a:lnTo>
                  <a:pt x="5625" y="1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6">
              <a:solidFill>
                <a:prstClr val="white"/>
              </a:solidFill>
            </a:endParaRPr>
          </a:p>
        </p:txBody>
      </p:sp>
      <p:sp>
        <p:nvSpPr>
          <p:cNvPr id="30" name="Freeform 112"/>
          <p:cNvSpPr>
            <a:spLocks/>
          </p:cNvSpPr>
          <p:nvPr/>
        </p:nvSpPr>
        <p:spPr bwMode="auto">
          <a:xfrm rot="5400000">
            <a:off x="9397255" y="3604498"/>
            <a:ext cx="174668" cy="324373"/>
          </a:xfrm>
          <a:custGeom>
            <a:avLst/>
            <a:gdLst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9762 w 10000"/>
              <a:gd name="connsiteY31" fmla="*/ 2532 h 10000"/>
              <a:gd name="connsiteX32" fmla="*/ 10000 w 10000"/>
              <a:gd name="connsiteY32" fmla="*/ 2876 h 10000"/>
              <a:gd name="connsiteX33" fmla="*/ 10000 w 10000"/>
              <a:gd name="connsiteY33" fmla="*/ 7124 h 10000"/>
              <a:gd name="connsiteX34" fmla="*/ 10000 w 10000"/>
              <a:gd name="connsiteY34" fmla="*/ 7468 h 10000"/>
              <a:gd name="connsiteX35" fmla="*/ 9762 w 10000"/>
              <a:gd name="connsiteY35" fmla="*/ 7468 h 10000"/>
              <a:gd name="connsiteX36" fmla="*/ 6429 w 10000"/>
              <a:gd name="connsiteY36" fmla="*/ 7468 h 10000"/>
              <a:gd name="connsiteX37" fmla="*/ 6429 w 10000"/>
              <a:gd name="connsiteY37" fmla="*/ 8498 h 10000"/>
              <a:gd name="connsiteX38" fmla="*/ 6429 w 10000"/>
              <a:gd name="connsiteY38" fmla="*/ 8498 h 10000"/>
              <a:gd name="connsiteX39" fmla="*/ 6399 w 10000"/>
              <a:gd name="connsiteY39" fmla="*/ 8841 h 10000"/>
              <a:gd name="connsiteX40" fmla="*/ 6369 w 10000"/>
              <a:gd name="connsiteY40" fmla="*/ 9099 h 10000"/>
              <a:gd name="connsiteX41" fmla="*/ 6310 w 10000"/>
              <a:gd name="connsiteY41" fmla="*/ 9356 h 10000"/>
              <a:gd name="connsiteX42" fmla="*/ 6190 w 10000"/>
              <a:gd name="connsiteY42" fmla="*/ 9571 h 10000"/>
              <a:gd name="connsiteX43" fmla="*/ 6071 w 10000"/>
              <a:gd name="connsiteY43" fmla="*/ 9742 h 10000"/>
              <a:gd name="connsiteX44" fmla="*/ 5952 w 10000"/>
              <a:gd name="connsiteY44" fmla="*/ 9871 h 10000"/>
              <a:gd name="connsiteX45" fmla="*/ 5774 w 10000"/>
              <a:gd name="connsiteY45" fmla="*/ 9957 h 10000"/>
              <a:gd name="connsiteX46" fmla="*/ 5625 w 10000"/>
              <a:gd name="connsiteY46" fmla="*/ 10000 h 10000"/>
              <a:gd name="connsiteX47" fmla="*/ 5625 w 10000"/>
              <a:gd name="connsiteY47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2876 h 10000"/>
              <a:gd name="connsiteX32" fmla="*/ 10000 w 10000"/>
              <a:gd name="connsiteY32" fmla="*/ 7124 h 10000"/>
              <a:gd name="connsiteX33" fmla="*/ 10000 w 10000"/>
              <a:gd name="connsiteY33" fmla="*/ 7468 h 10000"/>
              <a:gd name="connsiteX34" fmla="*/ 9762 w 10000"/>
              <a:gd name="connsiteY34" fmla="*/ 7468 h 10000"/>
              <a:gd name="connsiteX35" fmla="*/ 6429 w 10000"/>
              <a:gd name="connsiteY35" fmla="*/ 7468 h 10000"/>
              <a:gd name="connsiteX36" fmla="*/ 6429 w 10000"/>
              <a:gd name="connsiteY36" fmla="*/ 8498 h 10000"/>
              <a:gd name="connsiteX37" fmla="*/ 6429 w 10000"/>
              <a:gd name="connsiteY37" fmla="*/ 8498 h 10000"/>
              <a:gd name="connsiteX38" fmla="*/ 6399 w 10000"/>
              <a:gd name="connsiteY38" fmla="*/ 8841 h 10000"/>
              <a:gd name="connsiteX39" fmla="*/ 6369 w 10000"/>
              <a:gd name="connsiteY39" fmla="*/ 9099 h 10000"/>
              <a:gd name="connsiteX40" fmla="*/ 6310 w 10000"/>
              <a:gd name="connsiteY40" fmla="*/ 9356 h 10000"/>
              <a:gd name="connsiteX41" fmla="*/ 6190 w 10000"/>
              <a:gd name="connsiteY41" fmla="*/ 9571 h 10000"/>
              <a:gd name="connsiteX42" fmla="*/ 6071 w 10000"/>
              <a:gd name="connsiteY42" fmla="*/ 9742 h 10000"/>
              <a:gd name="connsiteX43" fmla="*/ 5952 w 10000"/>
              <a:gd name="connsiteY43" fmla="*/ 9871 h 10000"/>
              <a:gd name="connsiteX44" fmla="*/ 5774 w 10000"/>
              <a:gd name="connsiteY44" fmla="*/ 9957 h 10000"/>
              <a:gd name="connsiteX45" fmla="*/ 5625 w 10000"/>
              <a:gd name="connsiteY45" fmla="*/ 10000 h 10000"/>
              <a:gd name="connsiteX46" fmla="*/ 5625 w 10000"/>
              <a:gd name="connsiteY46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9762 w 10000"/>
              <a:gd name="connsiteY33" fmla="*/ 7468 h 10000"/>
              <a:gd name="connsiteX34" fmla="*/ 6429 w 10000"/>
              <a:gd name="connsiteY34" fmla="*/ 7468 h 10000"/>
              <a:gd name="connsiteX35" fmla="*/ 6429 w 10000"/>
              <a:gd name="connsiteY35" fmla="*/ 8498 h 10000"/>
              <a:gd name="connsiteX36" fmla="*/ 6429 w 10000"/>
              <a:gd name="connsiteY36" fmla="*/ 8498 h 10000"/>
              <a:gd name="connsiteX37" fmla="*/ 6399 w 10000"/>
              <a:gd name="connsiteY37" fmla="*/ 8841 h 10000"/>
              <a:gd name="connsiteX38" fmla="*/ 6369 w 10000"/>
              <a:gd name="connsiteY38" fmla="*/ 9099 h 10000"/>
              <a:gd name="connsiteX39" fmla="*/ 6310 w 10000"/>
              <a:gd name="connsiteY39" fmla="*/ 9356 h 10000"/>
              <a:gd name="connsiteX40" fmla="*/ 6190 w 10000"/>
              <a:gd name="connsiteY40" fmla="*/ 9571 h 10000"/>
              <a:gd name="connsiteX41" fmla="*/ 6071 w 10000"/>
              <a:gd name="connsiteY41" fmla="*/ 9742 h 10000"/>
              <a:gd name="connsiteX42" fmla="*/ 5952 w 10000"/>
              <a:gd name="connsiteY42" fmla="*/ 9871 h 10000"/>
              <a:gd name="connsiteX43" fmla="*/ 5774 w 10000"/>
              <a:gd name="connsiteY43" fmla="*/ 9957 h 10000"/>
              <a:gd name="connsiteX44" fmla="*/ 5625 w 10000"/>
              <a:gd name="connsiteY44" fmla="*/ 10000 h 10000"/>
              <a:gd name="connsiteX45" fmla="*/ 5625 w 10000"/>
              <a:gd name="connsiteY45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6429 w 10000"/>
              <a:gd name="connsiteY33" fmla="*/ 7468 h 10000"/>
              <a:gd name="connsiteX34" fmla="*/ 6429 w 10000"/>
              <a:gd name="connsiteY34" fmla="*/ 8498 h 10000"/>
              <a:gd name="connsiteX35" fmla="*/ 6429 w 10000"/>
              <a:gd name="connsiteY35" fmla="*/ 8498 h 10000"/>
              <a:gd name="connsiteX36" fmla="*/ 6399 w 10000"/>
              <a:gd name="connsiteY36" fmla="*/ 8841 h 10000"/>
              <a:gd name="connsiteX37" fmla="*/ 6369 w 10000"/>
              <a:gd name="connsiteY37" fmla="*/ 9099 h 10000"/>
              <a:gd name="connsiteX38" fmla="*/ 6310 w 10000"/>
              <a:gd name="connsiteY38" fmla="*/ 9356 h 10000"/>
              <a:gd name="connsiteX39" fmla="*/ 6190 w 10000"/>
              <a:gd name="connsiteY39" fmla="*/ 9571 h 10000"/>
              <a:gd name="connsiteX40" fmla="*/ 6071 w 10000"/>
              <a:gd name="connsiteY40" fmla="*/ 9742 h 10000"/>
              <a:gd name="connsiteX41" fmla="*/ 5952 w 10000"/>
              <a:gd name="connsiteY41" fmla="*/ 9871 h 10000"/>
              <a:gd name="connsiteX42" fmla="*/ 5774 w 10000"/>
              <a:gd name="connsiteY42" fmla="*/ 9957 h 10000"/>
              <a:gd name="connsiteX43" fmla="*/ 5625 w 10000"/>
              <a:gd name="connsiteY43" fmla="*/ 10000 h 10000"/>
              <a:gd name="connsiteX44" fmla="*/ 5625 w 10000"/>
              <a:gd name="connsiteY44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6429 w 10000"/>
              <a:gd name="connsiteY32" fmla="*/ 7468 h 10000"/>
              <a:gd name="connsiteX33" fmla="*/ 6429 w 10000"/>
              <a:gd name="connsiteY33" fmla="*/ 8498 h 10000"/>
              <a:gd name="connsiteX34" fmla="*/ 6429 w 10000"/>
              <a:gd name="connsiteY34" fmla="*/ 8498 h 10000"/>
              <a:gd name="connsiteX35" fmla="*/ 6399 w 10000"/>
              <a:gd name="connsiteY35" fmla="*/ 8841 h 10000"/>
              <a:gd name="connsiteX36" fmla="*/ 6369 w 10000"/>
              <a:gd name="connsiteY36" fmla="*/ 9099 h 10000"/>
              <a:gd name="connsiteX37" fmla="*/ 6310 w 10000"/>
              <a:gd name="connsiteY37" fmla="*/ 9356 h 10000"/>
              <a:gd name="connsiteX38" fmla="*/ 6190 w 10000"/>
              <a:gd name="connsiteY38" fmla="*/ 9571 h 10000"/>
              <a:gd name="connsiteX39" fmla="*/ 6071 w 10000"/>
              <a:gd name="connsiteY39" fmla="*/ 9742 h 10000"/>
              <a:gd name="connsiteX40" fmla="*/ 5952 w 10000"/>
              <a:gd name="connsiteY40" fmla="*/ 9871 h 10000"/>
              <a:gd name="connsiteX41" fmla="*/ 5774 w 10000"/>
              <a:gd name="connsiteY41" fmla="*/ 9957 h 10000"/>
              <a:gd name="connsiteX42" fmla="*/ 5625 w 10000"/>
              <a:gd name="connsiteY42" fmla="*/ 10000 h 10000"/>
              <a:gd name="connsiteX43" fmla="*/ 5625 w 10000"/>
              <a:gd name="connsiteY43" fmla="*/ 10000 h 10000"/>
              <a:gd name="connsiteX0" fmla="*/ 5625 w 6429"/>
              <a:gd name="connsiteY0" fmla="*/ 10000 h 10000"/>
              <a:gd name="connsiteX1" fmla="*/ 5625 w 6429"/>
              <a:gd name="connsiteY1" fmla="*/ 10000 h 10000"/>
              <a:gd name="connsiteX2" fmla="*/ 5476 w 6429"/>
              <a:gd name="connsiteY2" fmla="*/ 9957 h 10000"/>
              <a:gd name="connsiteX3" fmla="*/ 5357 w 6429"/>
              <a:gd name="connsiteY3" fmla="*/ 9914 h 10000"/>
              <a:gd name="connsiteX4" fmla="*/ 5089 w 6429"/>
              <a:gd name="connsiteY4" fmla="*/ 9785 h 10000"/>
              <a:gd name="connsiteX5" fmla="*/ 536 w 6429"/>
              <a:gd name="connsiteY5" fmla="*/ 6094 h 10000"/>
              <a:gd name="connsiteX6" fmla="*/ 536 w 6429"/>
              <a:gd name="connsiteY6" fmla="*/ 6094 h 10000"/>
              <a:gd name="connsiteX7" fmla="*/ 298 w 6429"/>
              <a:gd name="connsiteY7" fmla="*/ 5880 h 10000"/>
              <a:gd name="connsiteX8" fmla="*/ 119 w 6429"/>
              <a:gd name="connsiteY8" fmla="*/ 5579 h 10000"/>
              <a:gd name="connsiteX9" fmla="*/ 30 w 6429"/>
              <a:gd name="connsiteY9" fmla="*/ 5322 h 10000"/>
              <a:gd name="connsiteX10" fmla="*/ 0 w 6429"/>
              <a:gd name="connsiteY10" fmla="*/ 4979 h 10000"/>
              <a:gd name="connsiteX11" fmla="*/ 0 w 6429"/>
              <a:gd name="connsiteY11" fmla="*/ 4979 h 10000"/>
              <a:gd name="connsiteX12" fmla="*/ 30 w 6429"/>
              <a:gd name="connsiteY12" fmla="*/ 4678 h 10000"/>
              <a:gd name="connsiteX13" fmla="*/ 119 w 6429"/>
              <a:gd name="connsiteY13" fmla="*/ 4378 h 10000"/>
              <a:gd name="connsiteX14" fmla="*/ 298 w 6429"/>
              <a:gd name="connsiteY14" fmla="*/ 4120 h 10000"/>
              <a:gd name="connsiteX15" fmla="*/ 536 w 6429"/>
              <a:gd name="connsiteY15" fmla="*/ 3906 h 10000"/>
              <a:gd name="connsiteX16" fmla="*/ 5089 w 6429"/>
              <a:gd name="connsiteY16" fmla="*/ 215 h 10000"/>
              <a:gd name="connsiteX17" fmla="*/ 5089 w 6429"/>
              <a:gd name="connsiteY17" fmla="*/ 215 h 10000"/>
              <a:gd name="connsiteX18" fmla="*/ 5357 w 6429"/>
              <a:gd name="connsiteY18" fmla="*/ 86 h 10000"/>
              <a:gd name="connsiteX19" fmla="*/ 5476 w 6429"/>
              <a:gd name="connsiteY19" fmla="*/ 43 h 10000"/>
              <a:gd name="connsiteX20" fmla="*/ 5625 w 6429"/>
              <a:gd name="connsiteY20" fmla="*/ 0 h 10000"/>
              <a:gd name="connsiteX21" fmla="*/ 5625 w 6429"/>
              <a:gd name="connsiteY21" fmla="*/ 0 h 10000"/>
              <a:gd name="connsiteX22" fmla="*/ 5774 w 6429"/>
              <a:gd name="connsiteY22" fmla="*/ 43 h 10000"/>
              <a:gd name="connsiteX23" fmla="*/ 5923 w 6429"/>
              <a:gd name="connsiteY23" fmla="*/ 86 h 10000"/>
              <a:gd name="connsiteX24" fmla="*/ 6042 w 6429"/>
              <a:gd name="connsiteY24" fmla="*/ 215 h 10000"/>
              <a:gd name="connsiteX25" fmla="*/ 6161 w 6429"/>
              <a:gd name="connsiteY25" fmla="*/ 386 h 10000"/>
              <a:gd name="connsiteX26" fmla="*/ 6280 w 6429"/>
              <a:gd name="connsiteY26" fmla="*/ 558 h 10000"/>
              <a:gd name="connsiteX27" fmla="*/ 6369 w 6429"/>
              <a:gd name="connsiteY27" fmla="*/ 815 h 10000"/>
              <a:gd name="connsiteX28" fmla="*/ 6399 w 6429"/>
              <a:gd name="connsiteY28" fmla="*/ 1116 h 10000"/>
              <a:gd name="connsiteX29" fmla="*/ 6429 w 6429"/>
              <a:gd name="connsiteY29" fmla="*/ 1502 h 10000"/>
              <a:gd name="connsiteX30" fmla="*/ 6429 w 6429"/>
              <a:gd name="connsiteY30" fmla="*/ 2532 h 10000"/>
              <a:gd name="connsiteX31" fmla="*/ 6429 w 6429"/>
              <a:gd name="connsiteY31" fmla="*/ 7468 h 10000"/>
              <a:gd name="connsiteX32" fmla="*/ 6429 w 6429"/>
              <a:gd name="connsiteY32" fmla="*/ 8498 h 10000"/>
              <a:gd name="connsiteX33" fmla="*/ 6429 w 6429"/>
              <a:gd name="connsiteY33" fmla="*/ 8498 h 10000"/>
              <a:gd name="connsiteX34" fmla="*/ 6399 w 6429"/>
              <a:gd name="connsiteY34" fmla="*/ 8841 h 10000"/>
              <a:gd name="connsiteX35" fmla="*/ 6369 w 6429"/>
              <a:gd name="connsiteY35" fmla="*/ 9099 h 10000"/>
              <a:gd name="connsiteX36" fmla="*/ 6310 w 6429"/>
              <a:gd name="connsiteY36" fmla="*/ 9356 h 10000"/>
              <a:gd name="connsiteX37" fmla="*/ 6190 w 6429"/>
              <a:gd name="connsiteY37" fmla="*/ 9571 h 10000"/>
              <a:gd name="connsiteX38" fmla="*/ 6071 w 6429"/>
              <a:gd name="connsiteY38" fmla="*/ 9742 h 10000"/>
              <a:gd name="connsiteX39" fmla="*/ 5952 w 6429"/>
              <a:gd name="connsiteY39" fmla="*/ 9871 h 10000"/>
              <a:gd name="connsiteX40" fmla="*/ 5774 w 6429"/>
              <a:gd name="connsiteY40" fmla="*/ 9957 h 10000"/>
              <a:gd name="connsiteX41" fmla="*/ 5625 w 6429"/>
              <a:gd name="connsiteY41" fmla="*/ 10000 h 10000"/>
              <a:gd name="connsiteX42" fmla="*/ 5625 w 6429"/>
              <a:gd name="connsiteY42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429" h="10000">
                <a:moveTo>
                  <a:pt x="5625" y="10000"/>
                </a:moveTo>
                <a:lnTo>
                  <a:pt x="5625" y="10000"/>
                </a:lnTo>
                <a:lnTo>
                  <a:pt x="5476" y="9957"/>
                </a:lnTo>
                <a:cubicBezTo>
                  <a:pt x="5436" y="9943"/>
                  <a:pt x="5397" y="9928"/>
                  <a:pt x="5357" y="9914"/>
                </a:cubicBezTo>
                <a:lnTo>
                  <a:pt x="5089" y="9785"/>
                </a:lnTo>
                <a:lnTo>
                  <a:pt x="536" y="6094"/>
                </a:lnTo>
                <a:lnTo>
                  <a:pt x="536" y="6094"/>
                </a:lnTo>
                <a:lnTo>
                  <a:pt x="298" y="5880"/>
                </a:lnTo>
                <a:cubicBezTo>
                  <a:pt x="238" y="5780"/>
                  <a:pt x="179" y="5679"/>
                  <a:pt x="119" y="5579"/>
                </a:cubicBezTo>
                <a:cubicBezTo>
                  <a:pt x="89" y="5493"/>
                  <a:pt x="60" y="5408"/>
                  <a:pt x="30" y="5322"/>
                </a:cubicBezTo>
                <a:cubicBezTo>
                  <a:pt x="20" y="5208"/>
                  <a:pt x="10" y="5093"/>
                  <a:pt x="0" y="4979"/>
                </a:cubicBezTo>
                <a:lnTo>
                  <a:pt x="0" y="4979"/>
                </a:lnTo>
                <a:cubicBezTo>
                  <a:pt x="10" y="4879"/>
                  <a:pt x="20" y="4778"/>
                  <a:pt x="30" y="4678"/>
                </a:cubicBezTo>
                <a:cubicBezTo>
                  <a:pt x="60" y="4578"/>
                  <a:pt x="89" y="4478"/>
                  <a:pt x="119" y="4378"/>
                </a:cubicBezTo>
                <a:lnTo>
                  <a:pt x="298" y="4120"/>
                </a:lnTo>
                <a:lnTo>
                  <a:pt x="536" y="3906"/>
                </a:lnTo>
                <a:lnTo>
                  <a:pt x="5089" y="215"/>
                </a:lnTo>
                <a:lnTo>
                  <a:pt x="5089" y="215"/>
                </a:lnTo>
                <a:lnTo>
                  <a:pt x="5357" y="86"/>
                </a:lnTo>
                <a:cubicBezTo>
                  <a:pt x="5397" y="72"/>
                  <a:pt x="5436" y="57"/>
                  <a:pt x="5476" y="43"/>
                </a:cubicBezTo>
                <a:lnTo>
                  <a:pt x="5625" y="0"/>
                </a:lnTo>
                <a:lnTo>
                  <a:pt x="5625" y="0"/>
                </a:lnTo>
                <a:lnTo>
                  <a:pt x="5774" y="43"/>
                </a:lnTo>
                <a:lnTo>
                  <a:pt x="5923" y="86"/>
                </a:lnTo>
                <a:lnTo>
                  <a:pt x="6042" y="215"/>
                </a:lnTo>
                <a:cubicBezTo>
                  <a:pt x="6082" y="272"/>
                  <a:pt x="6121" y="329"/>
                  <a:pt x="6161" y="386"/>
                </a:cubicBezTo>
                <a:cubicBezTo>
                  <a:pt x="6201" y="443"/>
                  <a:pt x="6240" y="501"/>
                  <a:pt x="6280" y="558"/>
                </a:cubicBezTo>
                <a:cubicBezTo>
                  <a:pt x="6310" y="644"/>
                  <a:pt x="6339" y="729"/>
                  <a:pt x="6369" y="815"/>
                </a:cubicBezTo>
                <a:cubicBezTo>
                  <a:pt x="6379" y="915"/>
                  <a:pt x="6389" y="1016"/>
                  <a:pt x="6399" y="1116"/>
                </a:cubicBezTo>
                <a:cubicBezTo>
                  <a:pt x="6409" y="1245"/>
                  <a:pt x="6419" y="1373"/>
                  <a:pt x="6429" y="1502"/>
                </a:cubicBezTo>
                <a:lnTo>
                  <a:pt x="6429" y="2532"/>
                </a:lnTo>
                <a:lnTo>
                  <a:pt x="6429" y="7468"/>
                </a:lnTo>
                <a:lnTo>
                  <a:pt x="6429" y="8498"/>
                </a:lnTo>
                <a:lnTo>
                  <a:pt x="6429" y="8498"/>
                </a:lnTo>
                <a:cubicBezTo>
                  <a:pt x="6419" y="8612"/>
                  <a:pt x="6409" y="8727"/>
                  <a:pt x="6399" y="8841"/>
                </a:cubicBezTo>
                <a:lnTo>
                  <a:pt x="6369" y="9099"/>
                </a:lnTo>
                <a:cubicBezTo>
                  <a:pt x="6349" y="9185"/>
                  <a:pt x="6330" y="9270"/>
                  <a:pt x="6310" y="9356"/>
                </a:cubicBezTo>
                <a:lnTo>
                  <a:pt x="6190" y="9571"/>
                </a:lnTo>
                <a:cubicBezTo>
                  <a:pt x="6150" y="9628"/>
                  <a:pt x="6111" y="9685"/>
                  <a:pt x="6071" y="9742"/>
                </a:cubicBezTo>
                <a:lnTo>
                  <a:pt x="5952" y="9871"/>
                </a:lnTo>
                <a:lnTo>
                  <a:pt x="5774" y="9957"/>
                </a:lnTo>
                <a:lnTo>
                  <a:pt x="5625" y="10000"/>
                </a:lnTo>
                <a:lnTo>
                  <a:pt x="5625" y="1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6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238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 flipH="1">
            <a:off x="609598" y="2111022"/>
            <a:ext cx="10969625" cy="3251200"/>
          </a:xfrm>
          <a:prstGeom prst="round2DiagRect">
            <a:avLst>
              <a:gd name="adj1" fmla="val 10417"/>
              <a:gd name="adj2" fmla="val 0"/>
            </a:avLst>
          </a:prstGeom>
          <a:solidFill>
            <a:schemeClr val="bg1">
              <a:alpha val="8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Font typeface="HP Simplified" panose="020B0604020204020204" pitchFamily="34" charset="0"/>
              <a:buNone/>
            </a:pPr>
            <a:r>
              <a:rPr lang="en-US" sz="2800" b="1" dirty="0" smtClean="0">
                <a:solidFill>
                  <a:srgbClr val="0096D6"/>
                </a:solidFill>
              </a:rPr>
              <a:t>It </a:t>
            </a:r>
            <a:r>
              <a:rPr lang="en-US" sz="2800" b="1" dirty="0">
                <a:solidFill>
                  <a:srgbClr val="0096D6"/>
                </a:solidFill>
              </a:rPr>
              <a:t>will be able to compute much faster with huge amounts of data. </a:t>
            </a:r>
          </a:p>
          <a:p>
            <a:pPr marL="0" indent="0" algn="ctr">
              <a:spcBef>
                <a:spcPts val="600"/>
              </a:spcBef>
              <a:buFont typeface="HP Simplified" panose="020B0604020204020204" pitchFamily="34" charset="0"/>
              <a:buNone/>
            </a:pPr>
            <a:r>
              <a:rPr lang="en-US" sz="2400" dirty="0">
                <a:solidFill>
                  <a:srgbClr val="87898B">
                    <a:lumMod val="75000"/>
                  </a:srgbClr>
                </a:solidFill>
              </a:rPr>
              <a:t>And it will also take up a lot less space and pull a lot less energy</a:t>
            </a:r>
            <a:r>
              <a:rPr lang="en-US" sz="2400" dirty="0" smtClean="0">
                <a:solidFill>
                  <a:srgbClr val="87898B">
                    <a:lumMod val="75000"/>
                  </a:srgbClr>
                </a:solidFill>
              </a:rPr>
              <a:t>.</a:t>
            </a:r>
            <a:endParaRPr lang="en-US" sz="2400" dirty="0">
              <a:solidFill>
                <a:srgbClr val="87898B">
                  <a:lumMod val="7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achine: HP’s answer to today’s data explosion problem</a:t>
            </a:r>
            <a:endParaRPr lang="hi-IN" dirty="0"/>
          </a:p>
        </p:txBody>
      </p:sp>
    </p:spTree>
    <p:extLst>
      <p:ext uri="{BB962C8B-B14F-4D97-AF65-F5344CB8AC3E}">
        <p14:creationId xmlns:p14="http://schemas.microsoft.com/office/powerpoint/2010/main" val="223375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446749" y="5381625"/>
            <a:ext cx="2306358" cy="400087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kumimoji="1" lang="en-US" altLang="ja-JP" dirty="0" smtClean="0">
                <a:solidFill>
                  <a:prstClr val="black"/>
                </a:solidFill>
              </a:rPr>
              <a:t>Special purpose cores</a:t>
            </a: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85" name="Group 84"/>
          <p:cNvGrpSpPr/>
          <p:nvPr/>
        </p:nvGrpSpPr>
        <p:grpSpPr>
          <a:xfrm>
            <a:off x="962121" y="1835566"/>
            <a:ext cx="10150996" cy="3487508"/>
            <a:chOff x="962121" y="1559341"/>
            <a:chExt cx="10150996" cy="3487508"/>
          </a:xfrm>
        </p:grpSpPr>
        <p:cxnSp>
          <p:nvCxnSpPr>
            <p:cNvPr id="5" name="Straight Connector 4"/>
            <p:cNvCxnSpPr/>
            <p:nvPr/>
          </p:nvCxnSpPr>
          <p:spPr>
            <a:xfrm>
              <a:off x="3323193" y="3303095"/>
              <a:ext cx="5809935" cy="0"/>
            </a:xfrm>
            <a:prstGeom prst="line">
              <a:avLst/>
            </a:prstGeom>
            <a:ln w="76200" cmpd="sng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oup 3"/>
            <p:cNvGrpSpPr/>
            <p:nvPr/>
          </p:nvGrpSpPr>
          <p:grpSpPr>
            <a:xfrm>
              <a:off x="7335090" y="1559341"/>
              <a:ext cx="3778027" cy="3487508"/>
              <a:chOff x="823262" y="2395110"/>
              <a:chExt cx="1914328" cy="2002986"/>
            </a:xfrm>
          </p:grpSpPr>
          <p:sp>
            <p:nvSpPr>
              <p:cNvPr id="6" name="Round Diagonal Corner Rectangle 5"/>
              <p:cNvSpPr/>
              <p:nvPr/>
            </p:nvSpPr>
            <p:spPr>
              <a:xfrm>
                <a:off x="823262" y="2395110"/>
                <a:ext cx="1914328" cy="2002986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grpSp>
            <p:nvGrpSpPr>
              <p:cNvPr id="7" name="Group 6"/>
              <p:cNvGrpSpPr/>
              <p:nvPr/>
            </p:nvGrpSpPr>
            <p:grpSpPr>
              <a:xfrm>
                <a:off x="904258" y="2491861"/>
                <a:ext cx="1752336" cy="1809484"/>
                <a:chOff x="884969" y="2458561"/>
                <a:chExt cx="1752336" cy="1809484"/>
              </a:xfrm>
            </p:grpSpPr>
            <p:grpSp>
              <p:nvGrpSpPr>
                <p:cNvPr id="8" name="Group 7"/>
                <p:cNvGrpSpPr/>
                <p:nvPr/>
              </p:nvGrpSpPr>
              <p:grpSpPr>
                <a:xfrm>
                  <a:off x="884969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5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5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9" name="Group 8"/>
                <p:cNvGrpSpPr/>
                <p:nvPr/>
              </p:nvGrpSpPr>
              <p:grpSpPr>
                <a:xfrm>
                  <a:off x="1333755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5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5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0" name="Group 9"/>
                <p:cNvGrpSpPr/>
                <p:nvPr/>
              </p:nvGrpSpPr>
              <p:grpSpPr>
                <a:xfrm>
                  <a:off x="1782540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5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5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1" name="Group 10"/>
                <p:cNvGrpSpPr/>
                <p:nvPr/>
              </p:nvGrpSpPr>
              <p:grpSpPr>
                <a:xfrm>
                  <a:off x="2231325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4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4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" name="Group 11"/>
                <p:cNvGrpSpPr/>
                <p:nvPr/>
              </p:nvGrpSpPr>
              <p:grpSpPr>
                <a:xfrm>
                  <a:off x="884969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4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4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" name="Group 12"/>
                <p:cNvGrpSpPr/>
                <p:nvPr/>
              </p:nvGrpSpPr>
              <p:grpSpPr>
                <a:xfrm>
                  <a:off x="1333755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4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4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4" name="Group 13"/>
                <p:cNvGrpSpPr/>
                <p:nvPr/>
              </p:nvGrpSpPr>
              <p:grpSpPr>
                <a:xfrm>
                  <a:off x="1782540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4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4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5" name="Group 14"/>
                <p:cNvGrpSpPr/>
                <p:nvPr/>
              </p:nvGrpSpPr>
              <p:grpSpPr>
                <a:xfrm>
                  <a:off x="2231325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4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4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6" name="Group 15"/>
                <p:cNvGrpSpPr/>
                <p:nvPr/>
              </p:nvGrpSpPr>
              <p:grpSpPr>
                <a:xfrm>
                  <a:off x="884969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3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3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7" name="Group 16"/>
                <p:cNvGrpSpPr/>
                <p:nvPr/>
              </p:nvGrpSpPr>
              <p:grpSpPr>
                <a:xfrm>
                  <a:off x="1333755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3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3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8" name="Group 17"/>
                <p:cNvGrpSpPr/>
                <p:nvPr/>
              </p:nvGrpSpPr>
              <p:grpSpPr>
                <a:xfrm>
                  <a:off x="1782540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3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3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9" name="Group 18"/>
                <p:cNvGrpSpPr/>
                <p:nvPr/>
              </p:nvGrpSpPr>
              <p:grpSpPr>
                <a:xfrm>
                  <a:off x="2231325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3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3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20" name="Group 19"/>
                <p:cNvGrpSpPr/>
                <p:nvPr/>
              </p:nvGrpSpPr>
              <p:grpSpPr>
                <a:xfrm>
                  <a:off x="884969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3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3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21" name="Group 20"/>
                <p:cNvGrpSpPr/>
                <p:nvPr/>
              </p:nvGrpSpPr>
              <p:grpSpPr>
                <a:xfrm>
                  <a:off x="1333755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2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2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22" name="Group 21"/>
                <p:cNvGrpSpPr/>
                <p:nvPr/>
              </p:nvGrpSpPr>
              <p:grpSpPr>
                <a:xfrm>
                  <a:off x="1782540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2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2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23" name="Group 22"/>
                <p:cNvGrpSpPr/>
                <p:nvPr/>
              </p:nvGrpSpPr>
              <p:grpSpPr>
                <a:xfrm>
                  <a:off x="2231325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2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2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</p:grpSp>
        </p:grpSp>
        <p:grpSp>
          <p:nvGrpSpPr>
            <p:cNvPr id="56" name="Group 55"/>
            <p:cNvGrpSpPr/>
            <p:nvPr/>
          </p:nvGrpSpPr>
          <p:grpSpPr>
            <a:xfrm>
              <a:off x="962121" y="1559341"/>
              <a:ext cx="3778027" cy="3487508"/>
              <a:chOff x="1495490" y="1832272"/>
              <a:chExt cx="1914328" cy="2002986"/>
            </a:xfrm>
          </p:grpSpPr>
          <p:sp>
            <p:nvSpPr>
              <p:cNvPr id="57" name="Round Diagonal Corner Rectangle 56"/>
              <p:cNvSpPr/>
              <p:nvPr/>
            </p:nvSpPr>
            <p:spPr>
              <a:xfrm>
                <a:off x="1495490" y="1832272"/>
                <a:ext cx="1914328" cy="2002986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grpSp>
            <p:nvGrpSpPr>
              <p:cNvPr id="58" name="Group 57"/>
              <p:cNvGrpSpPr/>
              <p:nvPr/>
            </p:nvGrpSpPr>
            <p:grpSpPr>
              <a:xfrm>
                <a:off x="1571547" y="1947128"/>
                <a:ext cx="1762214" cy="1773274"/>
                <a:chOff x="1576486" y="1934992"/>
                <a:chExt cx="1762214" cy="1773274"/>
              </a:xfrm>
            </p:grpSpPr>
            <p:grpSp>
              <p:nvGrpSpPr>
                <p:cNvPr id="59" name="Group 58"/>
                <p:cNvGrpSpPr/>
                <p:nvPr/>
              </p:nvGrpSpPr>
              <p:grpSpPr>
                <a:xfrm>
                  <a:off x="1576486" y="1934992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75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76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77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78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60" name="Group 59"/>
                <p:cNvGrpSpPr/>
                <p:nvPr/>
              </p:nvGrpSpPr>
              <p:grpSpPr>
                <a:xfrm>
                  <a:off x="1576486" y="2390757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71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72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73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74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61" name="Group 60"/>
                <p:cNvGrpSpPr/>
                <p:nvPr/>
              </p:nvGrpSpPr>
              <p:grpSpPr>
                <a:xfrm>
                  <a:off x="1576486" y="2846522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67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68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69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70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62" name="Group 61"/>
                <p:cNvGrpSpPr/>
                <p:nvPr/>
              </p:nvGrpSpPr>
              <p:grpSpPr>
                <a:xfrm>
                  <a:off x="1576486" y="3302286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63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64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65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66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</p:grpSp>
        </p:grpSp>
        <p:cxnSp>
          <p:nvCxnSpPr>
            <p:cNvPr id="3" name="Straight Connector 2"/>
            <p:cNvCxnSpPr/>
            <p:nvPr/>
          </p:nvCxnSpPr>
          <p:spPr>
            <a:xfrm>
              <a:off x="4740149" y="3303095"/>
              <a:ext cx="520167" cy="0"/>
            </a:xfrm>
            <a:prstGeom prst="line">
              <a:avLst/>
            </a:prstGeom>
            <a:ln w="5715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>
              <a:off x="6772783" y="3303095"/>
              <a:ext cx="562308" cy="0"/>
            </a:xfrm>
            <a:prstGeom prst="line">
              <a:avLst/>
            </a:prstGeom>
            <a:ln w="5715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2" name="Group 81"/>
            <p:cNvGrpSpPr/>
            <p:nvPr/>
          </p:nvGrpSpPr>
          <p:grpSpPr>
            <a:xfrm>
              <a:off x="5260315" y="2605012"/>
              <a:ext cx="1512467" cy="1396163"/>
              <a:chOff x="3984638" y="1583425"/>
              <a:chExt cx="1134646" cy="1047122"/>
            </a:xfrm>
          </p:grpSpPr>
          <p:sp>
            <p:nvSpPr>
              <p:cNvPr id="79" name="Round Diagonal Corner Rectangle 78"/>
              <p:cNvSpPr/>
              <p:nvPr/>
            </p:nvSpPr>
            <p:spPr>
              <a:xfrm>
                <a:off x="3984638" y="1583425"/>
                <a:ext cx="1134646" cy="1047122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sp>
            <p:nvSpPr>
              <p:cNvPr id="130" name="Freeform 129"/>
              <p:cNvSpPr/>
              <p:nvPr/>
            </p:nvSpPr>
            <p:spPr>
              <a:xfrm>
                <a:off x="4108954" y="1693740"/>
                <a:ext cx="875235" cy="826492"/>
              </a:xfrm>
              <a:custGeom>
                <a:avLst/>
                <a:gdLst>
                  <a:gd name="connsiteX0" fmla="*/ 437712 w 875235"/>
                  <a:gd name="connsiteY0" fmla="*/ 753602 h 826492"/>
                  <a:gd name="connsiteX1" fmla="*/ 414852 w 875235"/>
                  <a:gd name="connsiteY1" fmla="*/ 776462 h 826492"/>
                  <a:gd name="connsiteX2" fmla="*/ 437712 w 875235"/>
                  <a:gd name="connsiteY2" fmla="*/ 799322 h 826492"/>
                  <a:gd name="connsiteX3" fmla="*/ 460572 w 875235"/>
                  <a:gd name="connsiteY3" fmla="*/ 776462 h 826492"/>
                  <a:gd name="connsiteX4" fmla="*/ 437712 w 875235"/>
                  <a:gd name="connsiteY4" fmla="*/ 753602 h 826492"/>
                  <a:gd name="connsiteX5" fmla="*/ 488486 w 875235"/>
                  <a:gd name="connsiteY5" fmla="*/ 726187 h 826492"/>
                  <a:gd name="connsiteX6" fmla="*/ 465626 w 875235"/>
                  <a:gd name="connsiteY6" fmla="*/ 749047 h 826492"/>
                  <a:gd name="connsiteX7" fmla="*/ 488486 w 875235"/>
                  <a:gd name="connsiteY7" fmla="*/ 771907 h 826492"/>
                  <a:gd name="connsiteX8" fmla="*/ 511346 w 875235"/>
                  <a:gd name="connsiteY8" fmla="*/ 749047 h 826492"/>
                  <a:gd name="connsiteX9" fmla="*/ 488486 w 875235"/>
                  <a:gd name="connsiteY9" fmla="*/ 726187 h 826492"/>
                  <a:gd name="connsiteX10" fmla="*/ 386938 w 875235"/>
                  <a:gd name="connsiteY10" fmla="*/ 726187 h 826492"/>
                  <a:gd name="connsiteX11" fmla="*/ 364078 w 875235"/>
                  <a:gd name="connsiteY11" fmla="*/ 749047 h 826492"/>
                  <a:gd name="connsiteX12" fmla="*/ 386938 w 875235"/>
                  <a:gd name="connsiteY12" fmla="*/ 771907 h 826492"/>
                  <a:gd name="connsiteX13" fmla="*/ 409798 w 875235"/>
                  <a:gd name="connsiteY13" fmla="*/ 749047 h 826492"/>
                  <a:gd name="connsiteX14" fmla="*/ 386938 w 875235"/>
                  <a:gd name="connsiteY14" fmla="*/ 726187 h 826492"/>
                  <a:gd name="connsiteX15" fmla="*/ 437712 w 875235"/>
                  <a:gd name="connsiteY15" fmla="*/ 696400 h 826492"/>
                  <a:gd name="connsiteX16" fmla="*/ 414852 w 875235"/>
                  <a:gd name="connsiteY16" fmla="*/ 719260 h 826492"/>
                  <a:gd name="connsiteX17" fmla="*/ 437712 w 875235"/>
                  <a:gd name="connsiteY17" fmla="*/ 742120 h 826492"/>
                  <a:gd name="connsiteX18" fmla="*/ 460572 w 875235"/>
                  <a:gd name="connsiteY18" fmla="*/ 719260 h 826492"/>
                  <a:gd name="connsiteX19" fmla="*/ 437712 w 875235"/>
                  <a:gd name="connsiteY19" fmla="*/ 696400 h 826492"/>
                  <a:gd name="connsiteX20" fmla="*/ 488486 w 875235"/>
                  <a:gd name="connsiteY20" fmla="*/ 665784 h 826492"/>
                  <a:gd name="connsiteX21" fmla="*/ 465626 w 875235"/>
                  <a:gd name="connsiteY21" fmla="*/ 688644 h 826492"/>
                  <a:gd name="connsiteX22" fmla="*/ 488486 w 875235"/>
                  <a:gd name="connsiteY22" fmla="*/ 711504 h 826492"/>
                  <a:gd name="connsiteX23" fmla="*/ 511346 w 875235"/>
                  <a:gd name="connsiteY23" fmla="*/ 688644 h 826492"/>
                  <a:gd name="connsiteX24" fmla="*/ 488486 w 875235"/>
                  <a:gd name="connsiteY24" fmla="*/ 665784 h 826492"/>
                  <a:gd name="connsiteX25" fmla="*/ 386938 w 875235"/>
                  <a:gd name="connsiteY25" fmla="*/ 665784 h 826492"/>
                  <a:gd name="connsiteX26" fmla="*/ 364078 w 875235"/>
                  <a:gd name="connsiteY26" fmla="*/ 688644 h 826492"/>
                  <a:gd name="connsiteX27" fmla="*/ 386938 w 875235"/>
                  <a:gd name="connsiteY27" fmla="*/ 711504 h 826492"/>
                  <a:gd name="connsiteX28" fmla="*/ 409798 w 875235"/>
                  <a:gd name="connsiteY28" fmla="*/ 688644 h 826492"/>
                  <a:gd name="connsiteX29" fmla="*/ 386938 w 875235"/>
                  <a:gd name="connsiteY29" fmla="*/ 665784 h 826492"/>
                  <a:gd name="connsiteX30" fmla="*/ 437712 w 875235"/>
                  <a:gd name="connsiteY30" fmla="*/ 639199 h 826492"/>
                  <a:gd name="connsiteX31" fmla="*/ 414852 w 875235"/>
                  <a:gd name="connsiteY31" fmla="*/ 662059 h 826492"/>
                  <a:gd name="connsiteX32" fmla="*/ 437712 w 875235"/>
                  <a:gd name="connsiteY32" fmla="*/ 684919 h 826492"/>
                  <a:gd name="connsiteX33" fmla="*/ 460572 w 875235"/>
                  <a:gd name="connsiteY33" fmla="*/ 662059 h 826492"/>
                  <a:gd name="connsiteX34" fmla="*/ 437712 w 875235"/>
                  <a:gd name="connsiteY34" fmla="*/ 639199 h 826492"/>
                  <a:gd name="connsiteX35" fmla="*/ 765165 w 875235"/>
                  <a:gd name="connsiteY35" fmla="*/ 449417 h 826492"/>
                  <a:gd name="connsiteX36" fmla="*/ 742305 w 875235"/>
                  <a:gd name="connsiteY36" fmla="*/ 472277 h 826492"/>
                  <a:gd name="connsiteX37" fmla="*/ 765165 w 875235"/>
                  <a:gd name="connsiteY37" fmla="*/ 495137 h 826492"/>
                  <a:gd name="connsiteX38" fmla="*/ 788025 w 875235"/>
                  <a:gd name="connsiteY38" fmla="*/ 472277 h 826492"/>
                  <a:gd name="connsiteX39" fmla="*/ 765165 w 875235"/>
                  <a:gd name="connsiteY39" fmla="*/ 449417 h 826492"/>
                  <a:gd name="connsiteX40" fmla="*/ 437712 w 875235"/>
                  <a:gd name="connsiteY40" fmla="*/ 449417 h 826492"/>
                  <a:gd name="connsiteX41" fmla="*/ 414852 w 875235"/>
                  <a:gd name="connsiteY41" fmla="*/ 472277 h 826492"/>
                  <a:gd name="connsiteX42" fmla="*/ 437712 w 875235"/>
                  <a:gd name="connsiteY42" fmla="*/ 495137 h 826492"/>
                  <a:gd name="connsiteX43" fmla="*/ 460572 w 875235"/>
                  <a:gd name="connsiteY43" fmla="*/ 472277 h 826492"/>
                  <a:gd name="connsiteX44" fmla="*/ 437712 w 875235"/>
                  <a:gd name="connsiteY44" fmla="*/ 449417 h 826492"/>
                  <a:gd name="connsiteX45" fmla="*/ 104693 w 875235"/>
                  <a:gd name="connsiteY45" fmla="*/ 449417 h 826492"/>
                  <a:gd name="connsiteX46" fmla="*/ 81833 w 875235"/>
                  <a:gd name="connsiteY46" fmla="*/ 472277 h 826492"/>
                  <a:gd name="connsiteX47" fmla="*/ 104693 w 875235"/>
                  <a:gd name="connsiteY47" fmla="*/ 495137 h 826492"/>
                  <a:gd name="connsiteX48" fmla="*/ 127553 w 875235"/>
                  <a:gd name="connsiteY48" fmla="*/ 472277 h 826492"/>
                  <a:gd name="connsiteX49" fmla="*/ 104693 w 875235"/>
                  <a:gd name="connsiteY49" fmla="*/ 449417 h 826492"/>
                  <a:gd name="connsiteX50" fmla="*/ 815266 w 875235"/>
                  <a:gd name="connsiteY50" fmla="*/ 425491 h 826492"/>
                  <a:gd name="connsiteX51" fmla="*/ 792406 w 875235"/>
                  <a:gd name="connsiteY51" fmla="*/ 448351 h 826492"/>
                  <a:gd name="connsiteX52" fmla="*/ 815266 w 875235"/>
                  <a:gd name="connsiteY52" fmla="*/ 471211 h 826492"/>
                  <a:gd name="connsiteX53" fmla="*/ 838126 w 875235"/>
                  <a:gd name="connsiteY53" fmla="*/ 448351 h 826492"/>
                  <a:gd name="connsiteX54" fmla="*/ 815266 w 875235"/>
                  <a:gd name="connsiteY54" fmla="*/ 425491 h 826492"/>
                  <a:gd name="connsiteX55" fmla="*/ 713718 w 875235"/>
                  <a:gd name="connsiteY55" fmla="*/ 425491 h 826492"/>
                  <a:gd name="connsiteX56" fmla="*/ 690858 w 875235"/>
                  <a:gd name="connsiteY56" fmla="*/ 448351 h 826492"/>
                  <a:gd name="connsiteX57" fmla="*/ 713718 w 875235"/>
                  <a:gd name="connsiteY57" fmla="*/ 471211 h 826492"/>
                  <a:gd name="connsiteX58" fmla="*/ 736578 w 875235"/>
                  <a:gd name="connsiteY58" fmla="*/ 448351 h 826492"/>
                  <a:gd name="connsiteX59" fmla="*/ 713718 w 875235"/>
                  <a:gd name="connsiteY59" fmla="*/ 425491 h 826492"/>
                  <a:gd name="connsiteX60" fmla="*/ 488486 w 875235"/>
                  <a:gd name="connsiteY60" fmla="*/ 425491 h 826492"/>
                  <a:gd name="connsiteX61" fmla="*/ 465626 w 875235"/>
                  <a:gd name="connsiteY61" fmla="*/ 448351 h 826492"/>
                  <a:gd name="connsiteX62" fmla="*/ 488486 w 875235"/>
                  <a:gd name="connsiteY62" fmla="*/ 471211 h 826492"/>
                  <a:gd name="connsiteX63" fmla="*/ 511346 w 875235"/>
                  <a:gd name="connsiteY63" fmla="*/ 448351 h 826492"/>
                  <a:gd name="connsiteX64" fmla="*/ 488486 w 875235"/>
                  <a:gd name="connsiteY64" fmla="*/ 425491 h 826492"/>
                  <a:gd name="connsiteX65" fmla="*/ 386938 w 875235"/>
                  <a:gd name="connsiteY65" fmla="*/ 425491 h 826492"/>
                  <a:gd name="connsiteX66" fmla="*/ 364078 w 875235"/>
                  <a:gd name="connsiteY66" fmla="*/ 448351 h 826492"/>
                  <a:gd name="connsiteX67" fmla="*/ 386938 w 875235"/>
                  <a:gd name="connsiteY67" fmla="*/ 471211 h 826492"/>
                  <a:gd name="connsiteX68" fmla="*/ 409798 w 875235"/>
                  <a:gd name="connsiteY68" fmla="*/ 448351 h 826492"/>
                  <a:gd name="connsiteX69" fmla="*/ 386938 w 875235"/>
                  <a:gd name="connsiteY69" fmla="*/ 425491 h 826492"/>
                  <a:gd name="connsiteX70" fmla="*/ 160771 w 875235"/>
                  <a:gd name="connsiteY70" fmla="*/ 425491 h 826492"/>
                  <a:gd name="connsiteX71" fmla="*/ 137911 w 875235"/>
                  <a:gd name="connsiteY71" fmla="*/ 448351 h 826492"/>
                  <a:gd name="connsiteX72" fmla="*/ 160771 w 875235"/>
                  <a:gd name="connsiteY72" fmla="*/ 471211 h 826492"/>
                  <a:gd name="connsiteX73" fmla="*/ 183631 w 875235"/>
                  <a:gd name="connsiteY73" fmla="*/ 448351 h 826492"/>
                  <a:gd name="connsiteX74" fmla="*/ 160771 w 875235"/>
                  <a:gd name="connsiteY74" fmla="*/ 425491 h 826492"/>
                  <a:gd name="connsiteX75" fmla="*/ 59223 w 875235"/>
                  <a:gd name="connsiteY75" fmla="*/ 425491 h 826492"/>
                  <a:gd name="connsiteX76" fmla="*/ 36363 w 875235"/>
                  <a:gd name="connsiteY76" fmla="*/ 448351 h 826492"/>
                  <a:gd name="connsiteX77" fmla="*/ 59223 w 875235"/>
                  <a:gd name="connsiteY77" fmla="*/ 471211 h 826492"/>
                  <a:gd name="connsiteX78" fmla="*/ 82083 w 875235"/>
                  <a:gd name="connsiteY78" fmla="*/ 448351 h 826492"/>
                  <a:gd name="connsiteX79" fmla="*/ 59223 w 875235"/>
                  <a:gd name="connsiteY79" fmla="*/ 425491 h 826492"/>
                  <a:gd name="connsiteX80" fmla="*/ 763819 w 875235"/>
                  <a:gd name="connsiteY80" fmla="*/ 393660 h 826492"/>
                  <a:gd name="connsiteX81" fmla="*/ 740959 w 875235"/>
                  <a:gd name="connsiteY81" fmla="*/ 416520 h 826492"/>
                  <a:gd name="connsiteX82" fmla="*/ 763819 w 875235"/>
                  <a:gd name="connsiteY82" fmla="*/ 439380 h 826492"/>
                  <a:gd name="connsiteX83" fmla="*/ 786679 w 875235"/>
                  <a:gd name="connsiteY83" fmla="*/ 416520 h 826492"/>
                  <a:gd name="connsiteX84" fmla="*/ 763819 w 875235"/>
                  <a:gd name="connsiteY84" fmla="*/ 393660 h 826492"/>
                  <a:gd name="connsiteX85" fmla="*/ 437712 w 875235"/>
                  <a:gd name="connsiteY85" fmla="*/ 393660 h 826492"/>
                  <a:gd name="connsiteX86" fmla="*/ 414852 w 875235"/>
                  <a:gd name="connsiteY86" fmla="*/ 416520 h 826492"/>
                  <a:gd name="connsiteX87" fmla="*/ 437712 w 875235"/>
                  <a:gd name="connsiteY87" fmla="*/ 439380 h 826492"/>
                  <a:gd name="connsiteX88" fmla="*/ 460572 w 875235"/>
                  <a:gd name="connsiteY88" fmla="*/ 416520 h 826492"/>
                  <a:gd name="connsiteX89" fmla="*/ 437712 w 875235"/>
                  <a:gd name="connsiteY89" fmla="*/ 393660 h 826492"/>
                  <a:gd name="connsiteX90" fmla="*/ 104266 w 875235"/>
                  <a:gd name="connsiteY90" fmla="*/ 393660 h 826492"/>
                  <a:gd name="connsiteX91" fmla="*/ 81406 w 875235"/>
                  <a:gd name="connsiteY91" fmla="*/ 416520 h 826492"/>
                  <a:gd name="connsiteX92" fmla="*/ 104266 w 875235"/>
                  <a:gd name="connsiteY92" fmla="*/ 439380 h 826492"/>
                  <a:gd name="connsiteX93" fmla="*/ 127126 w 875235"/>
                  <a:gd name="connsiteY93" fmla="*/ 416520 h 826492"/>
                  <a:gd name="connsiteX94" fmla="*/ 104266 w 875235"/>
                  <a:gd name="connsiteY94" fmla="*/ 393660 h 826492"/>
                  <a:gd name="connsiteX95" fmla="*/ 815266 w 875235"/>
                  <a:gd name="connsiteY95" fmla="*/ 365088 h 826492"/>
                  <a:gd name="connsiteX96" fmla="*/ 792406 w 875235"/>
                  <a:gd name="connsiteY96" fmla="*/ 387948 h 826492"/>
                  <a:gd name="connsiteX97" fmla="*/ 815266 w 875235"/>
                  <a:gd name="connsiteY97" fmla="*/ 410808 h 826492"/>
                  <a:gd name="connsiteX98" fmla="*/ 838126 w 875235"/>
                  <a:gd name="connsiteY98" fmla="*/ 387948 h 826492"/>
                  <a:gd name="connsiteX99" fmla="*/ 815266 w 875235"/>
                  <a:gd name="connsiteY99" fmla="*/ 365088 h 826492"/>
                  <a:gd name="connsiteX100" fmla="*/ 713718 w 875235"/>
                  <a:gd name="connsiteY100" fmla="*/ 365088 h 826492"/>
                  <a:gd name="connsiteX101" fmla="*/ 690858 w 875235"/>
                  <a:gd name="connsiteY101" fmla="*/ 387948 h 826492"/>
                  <a:gd name="connsiteX102" fmla="*/ 713718 w 875235"/>
                  <a:gd name="connsiteY102" fmla="*/ 410808 h 826492"/>
                  <a:gd name="connsiteX103" fmla="*/ 736578 w 875235"/>
                  <a:gd name="connsiteY103" fmla="*/ 387948 h 826492"/>
                  <a:gd name="connsiteX104" fmla="*/ 713718 w 875235"/>
                  <a:gd name="connsiteY104" fmla="*/ 365088 h 826492"/>
                  <a:gd name="connsiteX105" fmla="*/ 488486 w 875235"/>
                  <a:gd name="connsiteY105" fmla="*/ 365088 h 826492"/>
                  <a:gd name="connsiteX106" fmla="*/ 465626 w 875235"/>
                  <a:gd name="connsiteY106" fmla="*/ 387948 h 826492"/>
                  <a:gd name="connsiteX107" fmla="*/ 488486 w 875235"/>
                  <a:gd name="connsiteY107" fmla="*/ 410808 h 826492"/>
                  <a:gd name="connsiteX108" fmla="*/ 511346 w 875235"/>
                  <a:gd name="connsiteY108" fmla="*/ 387948 h 826492"/>
                  <a:gd name="connsiteX109" fmla="*/ 488486 w 875235"/>
                  <a:gd name="connsiteY109" fmla="*/ 365088 h 826492"/>
                  <a:gd name="connsiteX110" fmla="*/ 386938 w 875235"/>
                  <a:gd name="connsiteY110" fmla="*/ 365088 h 826492"/>
                  <a:gd name="connsiteX111" fmla="*/ 364078 w 875235"/>
                  <a:gd name="connsiteY111" fmla="*/ 387948 h 826492"/>
                  <a:gd name="connsiteX112" fmla="*/ 386938 w 875235"/>
                  <a:gd name="connsiteY112" fmla="*/ 410808 h 826492"/>
                  <a:gd name="connsiteX113" fmla="*/ 409798 w 875235"/>
                  <a:gd name="connsiteY113" fmla="*/ 387948 h 826492"/>
                  <a:gd name="connsiteX114" fmla="*/ 386938 w 875235"/>
                  <a:gd name="connsiteY114" fmla="*/ 365088 h 826492"/>
                  <a:gd name="connsiteX115" fmla="*/ 160771 w 875235"/>
                  <a:gd name="connsiteY115" fmla="*/ 365088 h 826492"/>
                  <a:gd name="connsiteX116" fmla="*/ 137911 w 875235"/>
                  <a:gd name="connsiteY116" fmla="*/ 387948 h 826492"/>
                  <a:gd name="connsiteX117" fmla="*/ 160771 w 875235"/>
                  <a:gd name="connsiteY117" fmla="*/ 410808 h 826492"/>
                  <a:gd name="connsiteX118" fmla="*/ 183631 w 875235"/>
                  <a:gd name="connsiteY118" fmla="*/ 387948 h 826492"/>
                  <a:gd name="connsiteX119" fmla="*/ 160771 w 875235"/>
                  <a:gd name="connsiteY119" fmla="*/ 365088 h 826492"/>
                  <a:gd name="connsiteX120" fmla="*/ 59223 w 875235"/>
                  <a:gd name="connsiteY120" fmla="*/ 365088 h 826492"/>
                  <a:gd name="connsiteX121" fmla="*/ 36363 w 875235"/>
                  <a:gd name="connsiteY121" fmla="*/ 387948 h 826492"/>
                  <a:gd name="connsiteX122" fmla="*/ 59223 w 875235"/>
                  <a:gd name="connsiteY122" fmla="*/ 410808 h 826492"/>
                  <a:gd name="connsiteX123" fmla="*/ 82083 w 875235"/>
                  <a:gd name="connsiteY123" fmla="*/ 387948 h 826492"/>
                  <a:gd name="connsiteX124" fmla="*/ 59223 w 875235"/>
                  <a:gd name="connsiteY124" fmla="*/ 365088 h 826492"/>
                  <a:gd name="connsiteX125" fmla="*/ 765165 w 875235"/>
                  <a:gd name="connsiteY125" fmla="*/ 335014 h 826492"/>
                  <a:gd name="connsiteX126" fmla="*/ 742305 w 875235"/>
                  <a:gd name="connsiteY126" fmla="*/ 357874 h 826492"/>
                  <a:gd name="connsiteX127" fmla="*/ 765165 w 875235"/>
                  <a:gd name="connsiteY127" fmla="*/ 380734 h 826492"/>
                  <a:gd name="connsiteX128" fmla="*/ 788025 w 875235"/>
                  <a:gd name="connsiteY128" fmla="*/ 357874 h 826492"/>
                  <a:gd name="connsiteX129" fmla="*/ 765165 w 875235"/>
                  <a:gd name="connsiteY129" fmla="*/ 335014 h 826492"/>
                  <a:gd name="connsiteX130" fmla="*/ 437712 w 875235"/>
                  <a:gd name="connsiteY130" fmla="*/ 335014 h 826492"/>
                  <a:gd name="connsiteX131" fmla="*/ 414852 w 875235"/>
                  <a:gd name="connsiteY131" fmla="*/ 357874 h 826492"/>
                  <a:gd name="connsiteX132" fmla="*/ 437712 w 875235"/>
                  <a:gd name="connsiteY132" fmla="*/ 380734 h 826492"/>
                  <a:gd name="connsiteX133" fmla="*/ 460572 w 875235"/>
                  <a:gd name="connsiteY133" fmla="*/ 357874 h 826492"/>
                  <a:gd name="connsiteX134" fmla="*/ 437712 w 875235"/>
                  <a:gd name="connsiteY134" fmla="*/ 335014 h 826492"/>
                  <a:gd name="connsiteX135" fmla="*/ 104693 w 875235"/>
                  <a:gd name="connsiteY135" fmla="*/ 335014 h 826492"/>
                  <a:gd name="connsiteX136" fmla="*/ 81833 w 875235"/>
                  <a:gd name="connsiteY136" fmla="*/ 357874 h 826492"/>
                  <a:gd name="connsiteX137" fmla="*/ 104693 w 875235"/>
                  <a:gd name="connsiteY137" fmla="*/ 380734 h 826492"/>
                  <a:gd name="connsiteX138" fmla="*/ 127553 w 875235"/>
                  <a:gd name="connsiteY138" fmla="*/ 357874 h 826492"/>
                  <a:gd name="connsiteX139" fmla="*/ 104693 w 875235"/>
                  <a:gd name="connsiteY139" fmla="*/ 335014 h 826492"/>
                  <a:gd name="connsiteX140" fmla="*/ 437712 w 875235"/>
                  <a:gd name="connsiteY140" fmla="*/ 138633 h 826492"/>
                  <a:gd name="connsiteX141" fmla="*/ 414852 w 875235"/>
                  <a:gd name="connsiteY141" fmla="*/ 161493 h 826492"/>
                  <a:gd name="connsiteX142" fmla="*/ 437712 w 875235"/>
                  <a:gd name="connsiteY142" fmla="*/ 184353 h 826492"/>
                  <a:gd name="connsiteX143" fmla="*/ 460572 w 875235"/>
                  <a:gd name="connsiteY143" fmla="*/ 161493 h 826492"/>
                  <a:gd name="connsiteX144" fmla="*/ 437712 w 875235"/>
                  <a:gd name="connsiteY144" fmla="*/ 138633 h 826492"/>
                  <a:gd name="connsiteX145" fmla="*/ 488486 w 875235"/>
                  <a:gd name="connsiteY145" fmla="*/ 113932 h 826492"/>
                  <a:gd name="connsiteX146" fmla="*/ 465626 w 875235"/>
                  <a:gd name="connsiteY146" fmla="*/ 136792 h 826492"/>
                  <a:gd name="connsiteX147" fmla="*/ 488486 w 875235"/>
                  <a:gd name="connsiteY147" fmla="*/ 159652 h 826492"/>
                  <a:gd name="connsiteX148" fmla="*/ 511346 w 875235"/>
                  <a:gd name="connsiteY148" fmla="*/ 136792 h 826492"/>
                  <a:gd name="connsiteX149" fmla="*/ 488486 w 875235"/>
                  <a:gd name="connsiteY149" fmla="*/ 113932 h 826492"/>
                  <a:gd name="connsiteX150" fmla="*/ 386938 w 875235"/>
                  <a:gd name="connsiteY150" fmla="*/ 113932 h 826492"/>
                  <a:gd name="connsiteX151" fmla="*/ 364078 w 875235"/>
                  <a:gd name="connsiteY151" fmla="*/ 136792 h 826492"/>
                  <a:gd name="connsiteX152" fmla="*/ 386938 w 875235"/>
                  <a:gd name="connsiteY152" fmla="*/ 159652 h 826492"/>
                  <a:gd name="connsiteX153" fmla="*/ 409798 w 875235"/>
                  <a:gd name="connsiteY153" fmla="*/ 136792 h 826492"/>
                  <a:gd name="connsiteX154" fmla="*/ 386938 w 875235"/>
                  <a:gd name="connsiteY154" fmla="*/ 113932 h 826492"/>
                  <a:gd name="connsiteX155" fmla="*/ 437712 w 875235"/>
                  <a:gd name="connsiteY155" fmla="*/ 81407 h 826492"/>
                  <a:gd name="connsiteX156" fmla="*/ 414852 w 875235"/>
                  <a:gd name="connsiteY156" fmla="*/ 104267 h 826492"/>
                  <a:gd name="connsiteX157" fmla="*/ 437712 w 875235"/>
                  <a:gd name="connsiteY157" fmla="*/ 127127 h 826492"/>
                  <a:gd name="connsiteX158" fmla="*/ 460572 w 875235"/>
                  <a:gd name="connsiteY158" fmla="*/ 104267 h 826492"/>
                  <a:gd name="connsiteX159" fmla="*/ 437712 w 875235"/>
                  <a:gd name="connsiteY159" fmla="*/ 81407 h 826492"/>
                  <a:gd name="connsiteX160" fmla="*/ 488486 w 875235"/>
                  <a:gd name="connsiteY160" fmla="*/ 53529 h 826492"/>
                  <a:gd name="connsiteX161" fmla="*/ 465626 w 875235"/>
                  <a:gd name="connsiteY161" fmla="*/ 76389 h 826492"/>
                  <a:gd name="connsiteX162" fmla="*/ 488486 w 875235"/>
                  <a:gd name="connsiteY162" fmla="*/ 99249 h 826492"/>
                  <a:gd name="connsiteX163" fmla="*/ 511346 w 875235"/>
                  <a:gd name="connsiteY163" fmla="*/ 76389 h 826492"/>
                  <a:gd name="connsiteX164" fmla="*/ 488486 w 875235"/>
                  <a:gd name="connsiteY164" fmla="*/ 53529 h 826492"/>
                  <a:gd name="connsiteX165" fmla="*/ 386938 w 875235"/>
                  <a:gd name="connsiteY165" fmla="*/ 53529 h 826492"/>
                  <a:gd name="connsiteX166" fmla="*/ 364078 w 875235"/>
                  <a:gd name="connsiteY166" fmla="*/ 76389 h 826492"/>
                  <a:gd name="connsiteX167" fmla="*/ 386938 w 875235"/>
                  <a:gd name="connsiteY167" fmla="*/ 99249 h 826492"/>
                  <a:gd name="connsiteX168" fmla="*/ 409798 w 875235"/>
                  <a:gd name="connsiteY168" fmla="*/ 76389 h 826492"/>
                  <a:gd name="connsiteX169" fmla="*/ 386938 w 875235"/>
                  <a:gd name="connsiteY169" fmla="*/ 53529 h 826492"/>
                  <a:gd name="connsiteX170" fmla="*/ 437712 w 875235"/>
                  <a:gd name="connsiteY170" fmla="*/ 24230 h 826492"/>
                  <a:gd name="connsiteX171" fmla="*/ 414852 w 875235"/>
                  <a:gd name="connsiteY171" fmla="*/ 47090 h 826492"/>
                  <a:gd name="connsiteX172" fmla="*/ 437712 w 875235"/>
                  <a:gd name="connsiteY172" fmla="*/ 69950 h 826492"/>
                  <a:gd name="connsiteX173" fmla="*/ 460572 w 875235"/>
                  <a:gd name="connsiteY173" fmla="*/ 47090 h 826492"/>
                  <a:gd name="connsiteX174" fmla="*/ 437712 w 875235"/>
                  <a:gd name="connsiteY174" fmla="*/ 24230 h 826492"/>
                  <a:gd name="connsiteX175" fmla="*/ 437617 w 875235"/>
                  <a:gd name="connsiteY175" fmla="*/ 0 h 826492"/>
                  <a:gd name="connsiteX176" fmla="*/ 545922 w 875235"/>
                  <a:gd name="connsiteY176" fmla="*/ 108305 h 826492"/>
                  <a:gd name="connsiteX177" fmla="*/ 479774 w 875235"/>
                  <a:gd name="connsiteY177" fmla="*/ 208099 h 826492"/>
                  <a:gd name="connsiteX178" fmla="*/ 477170 w 875235"/>
                  <a:gd name="connsiteY178" fmla="*/ 208624 h 826492"/>
                  <a:gd name="connsiteX179" fmla="*/ 477170 w 875235"/>
                  <a:gd name="connsiteY179" fmla="*/ 312925 h 826492"/>
                  <a:gd name="connsiteX180" fmla="*/ 479774 w 875235"/>
                  <a:gd name="connsiteY180" fmla="*/ 313451 h 826492"/>
                  <a:gd name="connsiteX181" fmla="*/ 537411 w 875235"/>
                  <a:gd name="connsiteY181" fmla="*/ 371087 h 826492"/>
                  <a:gd name="connsiteX182" fmla="*/ 537655 w 875235"/>
                  <a:gd name="connsiteY182" fmla="*/ 372297 h 826492"/>
                  <a:gd name="connsiteX183" fmla="*/ 666891 w 875235"/>
                  <a:gd name="connsiteY183" fmla="*/ 372297 h 826492"/>
                  <a:gd name="connsiteX184" fmla="*/ 667135 w 875235"/>
                  <a:gd name="connsiteY184" fmla="*/ 371088 h 826492"/>
                  <a:gd name="connsiteX185" fmla="*/ 766930 w 875235"/>
                  <a:gd name="connsiteY185" fmla="*/ 304940 h 826492"/>
                  <a:gd name="connsiteX186" fmla="*/ 875235 w 875235"/>
                  <a:gd name="connsiteY186" fmla="*/ 413246 h 826492"/>
                  <a:gd name="connsiteX187" fmla="*/ 766930 w 875235"/>
                  <a:gd name="connsiteY187" fmla="*/ 521551 h 826492"/>
                  <a:gd name="connsiteX188" fmla="*/ 667135 w 875235"/>
                  <a:gd name="connsiteY188" fmla="*/ 455403 h 826492"/>
                  <a:gd name="connsiteX189" fmla="*/ 666328 w 875235"/>
                  <a:gd name="connsiteY189" fmla="*/ 451404 h 826492"/>
                  <a:gd name="connsiteX190" fmla="*/ 538218 w 875235"/>
                  <a:gd name="connsiteY190" fmla="*/ 451404 h 826492"/>
                  <a:gd name="connsiteX191" fmla="*/ 537411 w 875235"/>
                  <a:gd name="connsiteY191" fmla="*/ 455402 h 826492"/>
                  <a:gd name="connsiteX192" fmla="*/ 479774 w 875235"/>
                  <a:gd name="connsiteY192" fmla="*/ 513039 h 826492"/>
                  <a:gd name="connsiteX193" fmla="*/ 477170 w 875235"/>
                  <a:gd name="connsiteY193" fmla="*/ 513565 h 826492"/>
                  <a:gd name="connsiteX194" fmla="*/ 477170 w 875235"/>
                  <a:gd name="connsiteY194" fmla="*/ 617868 h 826492"/>
                  <a:gd name="connsiteX195" fmla="*/ 479774 w 875235"/>
                  <a:gd name="connsiteY195" fmla="*/ 618393 h 826492"/>
                  <a:gd name="connsiteX196" fmla="*/ 545922 w 875235"/>
                  <a:gd name="connsiteY196" fmla="*/ 718187 h 826492"/>
                  <a:gd name="connsiteX197" fmla="*/ 437617 w 875235"/>
                  <a:gd name="connsiteY197" fmla="*/ 826492 h 826492"/>
                  <a:gd name="connsiteX198" fmla="*/ 329312 w 875235"/>
                  <a:gd name="connsiteY198" fmla="*/ 718187 h 826492"/>
                  <a:gd name="connsiteX199" fmla="*/ 395460 w 875235"/>
                  <a:gd name="connsiteY199" fmla="*/ 618393 h 826492"/>
                  <a:gd name="connsiteX200" fmla="*/ 398064 w 875235"/>
                  <a:gd name="connsiteY200" fmla="*/ 617868 h 826492"/>
                  <a:gd name="connsiteX201" fmla="*/ 398064 w 875235"/>
                  <a:gd name="connsiteY201" fmla="*/ 513565 h 826492"/>
                  <a:gd name="connsiteX202" fmla="*/ 395460 w 875235"/>
                  <a:gd name="connsiteY202" fmla="*/ 513039 h 826492"/>
                  <a:gd name="connsiteX203" fmla="*/ 337823 w 875235"/>
                  <a:gd name="connsiteY203" fmla="*/ 455402 h 826492"/>
                  <a:gd name="connsiteX204" fmla="*/ 337016 w 875235"/>
                  <a:gd name="connsiteY204" fmla="*/ 451404 h 826492"/>
                  <a:gd name="connsiteX205" fmla="*/ 208906 w 875235"/>
                  <a:gd name="connsiteY205" fmla="*/ 451404 h 826492"/>
                  <a:gd name="connsiteX206" fmla="*/ 208099 w 875235"/>
                  <a:gd name="connsiteY206" fmla="*/ 455403 h 826492"/>
                  <a:gd name="connsiteX207" fmla="*/ 108305 w 875235"/>
                  <a:gd name="connsiteY207" fmla="*/ 521551 h 826492"/>
                  <a:gd name="connsiteX208" fmla="*/ 0 w 875235"/>
                  <a:gd name="connsiteY208" fmla="*/ 413246 h 826492"/>
                  <a:gd name="connsiteX209" fmla="*/ 108305 w 875235"/>
                  <a:gd name="connsiteY209" fmla="*/ 304940 h 826492"/>
                  <a:gd name="connsiteX210" fmla="*/ 208099 w 875235"/>
                  <a:gd name="connsiteY210" fmla="*/ 371088 h 826492"/>
                  <a:gd name="connsiteX211" fmla="*/ 208343 w 875235"/>
                  <a:gd name="connsiteY211" fmla="*/ 372297 h 826492"/>
                  <a:gd name="connsiteX212" fmla="*/ 337579 w 875235"/>
                  <a:gd name="connsiteY212" fmla="*/ 372297 h 826492"/>
                  <a:gd name="connsiteX213" fmla="*/ 337823 w 875235"/>
                  <a:gd name="connsiteY213" fmla="*/ 371087 h 826492"/>
                  <a:gd name="connsiteX214" fmla="*/ 395460 w 875235"/>
                  <a:gd name="connsiteY214" fmla="*/ 313451 h 826492"/>
                  <a:gd name="connsiteX215" fmla="*/ 398064 w 875235"/>
                  <a:gd name="connsiteY215" fmla="*/ 312925 h 826492"/>
                  <a:gd name="connsiteX216" fmla="*/ 398064 w 875235"/>
                  <a:gd name="connsiteY216" fmla="*/ 208624 h 826492"/>
                  <a:gd name="connsiteX217" fmla="*/ 395460 w 875235"/>
                  <a:gd name="connsiteY217" fmla="*/ 208099 h 826492"/>
                  <a:gd name="connsiteX218" fmla="*/ 329312 w 875235"/>
                  <a:gd name="connsiteY218" fmla="*/ 108305 h 826492"/>
                  <a:gd name="connsiteX219" fmla="*/ 437617 w 875235"/>
                  <a:gd name="connsiteY219" fmla="*/ 0 h 826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875235" h="826492">
                    <a:moveTo>
                      <a:pt x="437712" y="753602"/>
                    </a:moveTo>
                    <a:cubicBezTo>
                      <a:pt x="425087" y="753602"/>
                      <a:pt x="414852" y="763837"/>
                      <a:pt x="414852" y="776462"/>
                    </a:cubicBezTo>
                    <a:cubicBezTo>
                      <a:pt x="414852" y="789087"/>
                      <a:pt x="425087" y="799322"/>
                      <a:pt x="437712" y="799322"/>
                    </a:cubicBezTo>
                    <a:cubicBezTo>
                      <a:pt x="450337" y="799322"/>
                      <a:pt x="460572" y="789087"/>
                      <a:pt x="460572" y="776462"/>
                    </a:cubicBezTo>
                    <a:cubicBezTo>
                      <a:pt x="460572" y="763837"/>
                      <a:pt x="450337" y="753602"/>
                      <a:pt x="437712" y="753602"/>
                    </a:cubicBezTo>
                    <a:close/>
                    <a:moveTo>
                      <a:pt x="488486" y="726187"/>
                    </a:moveTo>
                    <a:cubicBezTo>
                      <a:pt x="475861" y="726187"/>
                      <a:pt x="465626" y="736422"/>
                      <a:pt x="465626" y="749047"/>
                    </a:cubicBezTo>
                    <a:cubicBezTo>
                      <a:pt x="465626" y="761672"/>
                      <a:pt x="475861" y="771907"/>
                      <a:pt x="488486" y="771907"/>
                    </a:cubicBezTo>
                    <a:cubicBezTo>
                      <a:pt x="501111" y="771907"/>
                      <a:pt x="511346" y="761672"/>
                      <a:pt x="511346" y="749047"/>
                    </a:cubicBezTo>
                    <a:cubicBezTo>
                      <a:pt x="511346" y="736422"/>
                      <a:pt x="501111" y="726187"/>
                      <a:pt x="488486" y="726187"/>
                    </a:cubicBezTo>
                    <a:close/>
                    <a:moveTo>
                      <a:pt x="386938" y="726187"/>
                    </a:moveTo>
                    <a:cubicBezTo>
                      <a:pt x="374313" y="726187"/>
                      <a:pt x="364078" y="736422"/>
                      <a:pt x="364078" y="749047"/>
                    </a:cubicBezTo>
                    <a:cubicBezTo>
                      <a:pt x="364078" y="761672"/>
                      <a:pt x="374313" y="771907"/>
                      <a:pt x="386938" y="771907"/>
                    </a:cubicBezTo>
                    <a:cubicBezTo>
                      <a:pt x="399563" y="771907"/>
                      <a:pt x="409798" y="761672"/>
                      <a:pt x="409798" y="749047"/>
                    </a:cubicBezTo>
                    <a:cubicBezTo>
                      <a:pt x="409798" y="736422"/>
                      <a:pt x="399563" y="726187"/>
                      <a:pt x="386938" y="726187"/>
                    </a:cubicBezTo>
                    <a:close/>
                    <a:moveTo>
                      <a:pt x="437712" y="696400"/>
                    </a:moveTo>
                    <a:cubicBezTo>
                      <a:pt x="425087" y="696400"/>
                      <a:pt x="414852" y="706635"/>
                      <a:pt x="414852" y="719260"/>
                    </a:cubicBezTo>
                    <a:cubicBezTo>
                      <a:pt x="414852" y="731885"/>
                      <a:pt x="425087" y="742120"/>
                      <a:pt x="437712" y="742120"/>
                    </a:cubicBezTo>
                    <a:cubicBezTo>
                      <a:pt x="450337" y="742120"/>
                      <a:pt x="460572" y="731885"/>
                      <a:pt x="460572" y="719260"/>
                    </a:cubicBezTo>
                    <a:cubicBezTo>
                      <a:pt x="460572" y="706635"/>
                      <a:pt x="450337" y="696400"/>
                      <a:pt x="437712" y="696400"/>
                    </a:cubicBezTo>
                    <a:close/>
                    <a:moveTo>
                      <a:pt x="488486" y="665784"/>
                    </a:moveTo>
                    <a:cubicBezTo>
                      <a:pt x="475861" y="665784"/>
                      <a:pt x="465626" y="676019"/>
                      <a:pt x="465626" y="688644"/>
                    </a:cubicBezTo>
                    <a:cubicBezTo>
                      <a:pt x="465626" y="701269"/>
                      <a:pt x="475861" y="711504"/>
                      <a:pt x="488486" y="711504"/>
                    </a:cubicBezTo>
                    <a:cubicBezTo>
                      <a:pt x="501111" y="711504"/>
                      <a:pt x="511346" y="701269"/>
                      <a:pt x="511346" y="688644"/>
                    </a:cubicBezTo>
                    <a:cubicBezTo>
                      <a:pt x="511346" y="676019"/>
                      <a:pt x="501111" y="665784"/>
                      <a:pt x="488486" y="665784"/>
                    </a:cubicBezTo>
                    <a:close/>
                    <a:moveTo>
                      <a:pt x="386938" y="665784"/>
                    </a:moveTo>
                    <a:cubicBezTo>
                      <a:pt x="374313" y="665784"/>
                      <a:pt x="364078" y="676019"/>
                      <a:pt x="364078" y="688644"/>
                    </a:cubicBezTo>
                    <a:cubicBezTo>
                      <a:pt x="364078" y="701269"/>
                      <a:pt x="374313" y="711504"/>
                      <a:pt x="386938" y="711504"/>
                    </a:cubicBezTo>
                    <a:cubicBezTo>
                      <a:pt x="399563" y="711504"/>
                      <a:pt x="409798" y="701269"/>
                      <a:pt x="409798" y="688644"/>
                    </a:cubicBezTo>
                    <a:cubicBezTo>
                      <a:pt x="409798" y="676019"/>
                      <a:pt x="399563" y="665784"/>
                      <a:pt x="386938" y="665784"/>
                    </a:cubicBezTo>
                    <a:close/>
                    <a:moveTo>
                      <a:pt x="437712" y="639199"/>
                    </a:moveTo>
                    <a:cubicBezTo>
                      <a:pt x="425087" y="639199"/>
                      <a:pt x="414852" y="649434"/>
                      <a:pt x="414852" y="662059"/>
                    </a:cubicBezTo>
                    <a:cubicBezTo>
                      <a:pt x="414852" y="674684"/>
                      <a:pt x="425087" y="684919"/>
                      <a:pt x="437712" y="684919"/>
                    </a:cubicBezTo>
                    <a:cubicBezTo>
                      <a:pt x="450337" y="684919"/>
                      <a:pt x="460572" y="674684"/>
                      <a:pt x="460572" y="662059"/>
                    </a:cubicBezTo>
                    <a:cubicBezTo>
                      <a:pt x="460572" y="649434"/>
                      <a:pt x="450337" y="639199"/>
                      <a:pt x="437712" y="639199"/>
                    </a:cubicBezTo>
                    <a:close/>
                    <a:moveTo>
                      <a:pt x="765165" y="449417"/>
                    </a:moveTo>
                    <a:cubicBezTo>
                      <a:pt x="752540" y="449417"/>
                      <a:pt x="742305" y="459652"/>
                      <a:pt x="742305" y="472277"/>
                    </a:cubicBezTo>
                    <a:cubicBezTo>
                      <a:pt x="742305" y="484902"/>
                      <a:pt x="752540" y="495137"/>
                      <a:pt x="765165" y="495137"/>
                    </a:cubicBezTo>
                    <a:cubicBezTo>
                      <a:pt x="777790" y="495137"/>
                      <a:pt x="788025" y="484902"/>
                      <a:pt x="788025" y="472277"/>
                    </a:cubicBezTo>
                    <a:cubicBezTo>
                      <a:pt x="788025" y="459652"/>
                      <a:pt x="777790" y="449417"/>
                      <a:pt x="765165" y="449417"/>
                    </a:cubicBezTo>
                    <a:close/>
                    <a:moveTo>
                      <a:pt x="437712" y="449417"/>
                    </a:moveTo>
                    <a:cubicBezTo>
                      <a:pt x="425087" y="449417"/>
                      <a:pt x="414852" y="459652"/>
                      <a:pt x="414852" y="472277"/>
                    </a:cubicBezTo>
                    <a:cubicBezTo>
                      <a:pt x="414852" y="484902"/>
                      <a:pt x="425087" y="495137"/>
                      <a:pt x="437712" y="495137"/>
                    </a:cubicBezTo>
                    <a:cubicBezTo>
                      <a:pt x="450337" y="495137"/>
                      <a:pt x="460572" y="484902"/>
                      <a:pt x="460572" y="472277"/>
                    </a:cubicBezTo>
                    <a:cubicBezTo>
                      <a:pt x="460572" y="459652"/>
                      <a:pt x="450337" y="449417"/>
                      <a:pt x="437712" y="449417"/>
                    </a:cubicBezTo>
                    <a:close/>
                    <a:moveTo>
                      <a:pt x="104693" y="449417"/>
                    </a:moveTo>
                    <a:cubicBezTo>
                      <a:pt x="92068" y="449417"/>
                      <a:pt x="81833" y="459652"/>
                      <a:pt x="81833" y="472277"/>
                    </a:cubicBezTo>
                    <a:cubicBezTo>
                      <a:pt x="81833" y="484902"/>
                      <a:pt x="92068" y="495137"/>
                      <a:pt x="104693" y="495137"/>
                    </a:cubicBezTo>
                    <a:cubicBezTo>
                      <a:pt x="117318" y="495137"/>
                      <a:pt x="127553" y="484902"/>
                      <a:pt x="127553" y="472277"/>
                    </a:cubicBezTo>
                    <a:cubicBezTo>
                      <a:pt x="127553" y="459652"/>
                      <a:pt x="117318" y="449417"/>
                      <a:pt x="104693" y="449417"/>
                    </a:cubicBezTo>
                    <a:close/>
                    <a:moveTo>
                      <a:pt x="815266" y="425491"/>
                    </a:moveTo>
                    <a:cubicBezTo>
                      <a:pt x="802641" y="425491"/>
                      <a:pt x="792406" y="435726"/>
                      <a:pt x="792406" y="448351"/>
                    </a:cubicBezTo>
                    <a:cubicBezTo>
                      <a:pt x="792406" y="460976"/>
                      <a:pt x="802641" y="471211"/>
                      <a:pt x="815266" y="471211"/>
                    </a:cubicBezTo>
                    <a:cubicBezTo>
                      <a:pt x="827891" y="471211"/>
                      <a:pt x="838126" y="460976"/>
                      <a:pt x="838126" y="448351"/>
                    </a:cubicBezTo>
                    <a:cubicBezTo>
                      <a:pt x="838126" y="435726"/>
                      <a:pt x="827891" y="425491"/>
                      <a:pt x="815266" y="425491"/>
                    </a:cubicBezTo>
                    <a:close/>
                    <a:moveTo>
                      <a:pt x="713718" y="425491"/>
                    </a:moveTo>
                    <a:cubicBezTo>
                      <a:pt x="701093" y="425491"/>
                      <a:pt x="690858" y="435726"/>
                      <a:pt x="690858" y="448351"/>
                    </a:cubicBezTo>
                    <a:cubicBezTo>
                      <a:pt x="690858" y="460976"/>
                      <a:pt x="701093" y="471211"/>
                      <a:pt x="713718" y="471211"/>
                    </a:cubicBezTo>
                    <a:cubicBezTo>
                      <a:pt x="726343" y="471211"/>
                      <a:pt x="736578" y="460976"/>
                      <a:pt x="736578" y="448351"/>
                    </a:cubicBezTo>
                    <a:cubicBezTo>
                      <a:pt x="736578" y="435726"/>
                      <a:pt x="726343" y="425491"/>
                      <a:pt x="713718" y="425491"/>
                    </a:cubicBezTo>
                    <a:close/>
                    <a:moveTo>
                      <a:pt x="488486" y="425491"/>
                    </a:moveTo>
                    <a:cubicBezTo>
                      <a:pt x="475861" y="425491"/>
                      <a:pt x="465626" y="435726"/>
                      <a:pt x="465626" y="448351"/>
                    </a:cubicBezTo>
                    <a:cubicBezTo>
                      <a:pt x="465626" y="460976"/>
                      <a:pt x="475861" y="471211"/>
                      <a:pt x="488486" y="471211"/>
                    </a:cubicBezTo>
                    <a:cubicBezTo>
                      <a:pt x="501111" y="471211"/>
                      <a:pt x="511346" y="460976"/>
                      <a:pt x="511346" y="448351"/>
                    </a:cubicBezTo>
                    <a:cubicBezTo>
                      <a:pt x="511346" y="435726"/>
                      <a:pt x="501111" y="425491"/>
                      <a:pt x="488486" y="425491"/>
                    </a:cubicBezTo>
                    <a:close/>
                    <a:moveTo>
                      <a:pt x="386938" y="425491"/>
                    </a:moveTo>
                    <a:cubicBezTo>
                      <a:pt x="374313" y="425491"/>
                      <a:pt x="364078" y="435726"/>
                      <a:pt x="364078" y="448351"/>
                    </a:cubicBezTo>
                    <a:cubicBezTo>
                      <a:pt x="364078" y="460976"/>
                      <a:pt x="374313" y="471211"/>
                      <a:pt x="386938" y="471211"/>
                    </a:cubicBezTo>
                    <a:cubicBezTo>
                      <a:pt x="399563" y="471211"/>
                      <a:pt x="409798" y="460976"/>
                      <a:pt x="409798" y="448351"/>
                    </a:cubicBezTo>
                    <a:cubicBezTo>
                      <a:pt x="409798" y="435726"/>
                      <a:pt x="399563" y="425491"/>
                      <a:pt x="386938" y="425491"/>
                    </a:cubicBezTo>
                    <a:close/>
                    <a:moveTo>
                      <a:pt x="160771" y="425491"/>
                    </a:moveTo>
                    <a:cubicBezTo>
                      <a:pt x="148146" y="425491"/>
                      <a:pt x="137911" y="435726"/>
                      <a:pt x="137911" y="448351"/>
                    </a:cubicBezTo>
                    <a:cubicBezTo>
                      <a:pt x="137911" y="460976"/>
                      <a:pt x="148146" y="471211"/>
                      <a:pt x="160771" y="471211"/>
                    </a:cubicBezTo>
                    <a:cubicBezTo>
                      <a:pt x="173396" y="471211"/>
                      <a:pt x="183631" y="460976"/>
                      <a:pt x="183631" y="448351"/>
                    </a:cubicBezTo>
                    <a:cubicBezTo>
                      <a:pt x="183631" y="435726"/>
                      <a:pt x="173396" y="425491"/>
                      <a:pt x="160771" y="425491"/>
                    </a:cubicBezTo>
                    <a:close/>
                    <a:moveTo>
                      <a:pt x="59223" y="425491"/>
                    </a:moveTo>
                    <a:cubicBezTo>
                      <a:pt x="46598" y="425491"/>
                      <a:pt x="36363" y="435726"/>
                      <a:pt x="36363" y="448351"/>
                    </a:cubicBezTo>
                    <a:cubicBezTo>
                      <a:pt x="36363" y="460976"/>
                      <a:pt x="46598" y="471211"/>
                      <a:pt x="59223" y="471211"/>
                    </a:cubicBezTo>
                    <a:cubicBezTo>
                      <a:pt x="71848" y="471211"/>
                      <a:pt x="82083" y="460976"/>
                      <a:pt x="82083" y="448351"/>
                    </a:cubicBezTo>
                    <a:cubicBezTo>
                      <a:pt x="82083" y="435726"/>
                      <a:pt x="71848" y="425491"/>
                      <a:pt x="59223" y="425491"/>
                    </a:cubicBezTo>
                    <a:close/>
                    <a:moveTo>
                      <a:pt x="763819" y="393660"/>
                    </a:moveTo>
                    <a:cubicBezTo>
                      <a:pt x="751194" y="393660"/>
                      <a:pt x="740959" y="403895"/>
                      <a:pt x="740959" y="416520"/>
                    </a:cubicBezTo>
                    <a:cubicBezTo>
                      <a:pt x="740959" y="429145"/>
                      <a:pt x="751194" y="439380"/>
                      <a:pt x="763819" y="439380"/>
                    </a:cubicBezTo>
                    <a:cubicBezTo>
                      <a:pt x="776444" y="439380"/>
                      <a:pt x="786679" y="429145"/>
                      <a:pt x="786679" y="416520"/>
                    </a:cubicBezTo>
                    <a:cubicBezTo>
                      <a:pt x="786679" y="403895"/>
                      <a:pt x="776444" y="393660"/>
                      <a:pt x="763819" y="393660"/>
                    </a:cubicBezTo>
                    <a:close/>
                    <a:moveTo>
                      <a:pt x="437712" y="393660"/>
                    </a:moveTo>
                    <a:cubicBezTo>
                      <a:pt x="425087" y="393660"/>
                      <a:pt x="414852" y="403895"/>
                      <a:pt x="414852" y="416520"/>
                    </a:cubicBezTo>
                    <a:cubicBezTo>
                      <a:pt x="414852" y="429145"/>
                      <a:pt x="425087" y="439380"/>
                      <a:pt x="437712" y="439380"/>
                    </a:cubicBezTo>
                    <a:cubicBezTo>
                      <a:pt x="450337" y="439380"/>
                      <a:pt x="460572" y="429145"/>
                      <a:pt x="460572" y="416520"/>
                    </a:cubicBezTo>
                    <a:cubicBezTo>
                      <a:pt x="460572" y="403895"/>
                      <a:pt x="450337" y="393660"/>
                      <a:pt x="437712" y="393660"/>
                    </a:cubicBezTo>
                    <a:close/>
                    <a:moveTo>
                      <a:pt x="104266" y="393660"/>
                    </a:moveTo>
                    <a:cubicBezTo>
                      <a:pt x="91641" y="393660"/>
                      <a:pt x="81406" y="403895"/>
                      <a:pt x="81406" y="416520"/>
                    </a:cubicBezTo>
                    <a:cubicBezTo>
                      <a:pt x="81406" y="429145"/>
                      <a:pt x="91641" y="439380"/>
                      <a:pt x="104266" y="439380"/>
                    </a:cubicBezTo>
                    <a:cubicBezTo>
                      <a:pt x="116891" y="439380"/>
                      <a:pt x="127126" y="429145"/>
                      <a:pt x="127126" y="416520"/>
                    </a:cubicBezTo>
                    <a:cubicBezTo>
                      <a:pt x="127126" y="403895"/>
                      <a:pt x="116891" y="393660"/>
                      <a:pt x="104266" y="393660"/>
                    </a:cubicBezTo>
                    <a:close/>
                    <a:moveTo>
                      <a:pt x="815266" y="365088"/>
                    </a:moveTo>
                    <a:cubicBezTo>
                      <a:pt x="802641" y="365088"/>
                      <a:pt x="792406" y="375323"/>
                      <a:pt x="792406" y="387948"/>
                    </a:cubicBezTo>
                    <a:cubicBezTo>
                      <a:pt x="792406" y="400573"/>
                      <a:pt x="802641" y="410808"/>
                      <a:pt x="815266" y="410808"/>
                    </a:cubicBezTo>
                    <a:cubicBezTo>
                      <a:pt x="827891" y="410808"/>
                      <a:pt x="838126" y="400573"/>
                      <a:pt x="838126" y="387948"/>
                    </a:cubicBezTo>
                    <a:cubicBezTo>
                      <a:pt x="838126" y="375323"/>
                      <a:pt x="827891" y="365088"/>
                      <a:pt x="815266" y="365088"/>
                    </a:cubicBezTo>
                    <a:close/>
                    <a:moveTo>
                      <a:pt x="713718" y="365088"/>
                    </a:moveTo>
                    <a:cubicBezTo>
                      <a:pt x="701093" y="365088"/>
                      <a:pt x="690858" y="375323"/>
                      <a:pt x="690858" y="387948"/>
                    </a:cubicBezTo>
                    <a:cubicBezTo>
                      <a:pt x="690858" y="400573"/>
                      <a:pt x="701093" y="410808"/>
                      <a:pt x="713718" y="410808"/>
                    </a:cubicBezTo>
                    <a:cubicBezTo>
                      <a:pt x="726343" y="410808"/>
                      <a:pt x="736578" y="400573"/>
                      <a:pt x="736578" y="387948"/>
                    </a:cubicBezTo>
                    <a:cubicBezTo>
                      <a:pt x="736578" y="375323"/>
                      <a:pt x="726343" y="365088"/>
                      <a:pt x="713718" y="365088"/>
                    </a:cubicBezTo>
                    <a:close/>
                    <a:moveTo>
                      <a:pt x="488486" y="365088"/>
                    </a:moveTo>
                    <a:cubicBezTo>
                      <a:pt x="475861" y="365088"/>
                      <a:pt x="465626" y="375323"/>
                      <a:pt x="465626" y="387948"/>
                    </a:cubicBezTo>
                    <a:cubicBezTo>
                      <a:pt x="465626" y="400573"/>
                      <a:pt x="475861" y="410808"/>
                      <a:pt x="488486" y="410808"/>
                    </a:cubicBezTo>
                    <a:cubicBezTo>
                      <a:pt x="501111" y="410808"/>
                      <a:pt x="511346" y="400573"/>
                      <a:pt x="511346" y="387948"/>
                    </a:cubicBezTo>
                    <a:cubicBezTo>
                      <a:pt x="511346" y="375323"/>
                      <a:pt x="501111" y="365088"/>
                      <a:pt x="488486" y="365088"/>
                    </a:cubicBezTo>
                    <a:close/>
                    <a:moveTo>
                      <a:pt x="386938" y="365088"/>
                    </a:moveTo>
                    <a:cubicBezTo>
                      <a:pt x="374313" y="365088"/>
                      <a:pt x="364078" y="375323"/>
                      <a:pt x="364078" y="387948"/>
                    </a:cubicBezTo>
                    <a:cubicBezTo>
                      <a:pt x="364078" y="400573"/>
                      <a:pt x="374313" y="410808"/>
                      <a:pt x="386938" y="410808"/>
                    </a:cubicBezTo>
                    <a:cubicBezTo>
                      <a:pt x="399563" y="410808"/>
                      <a:pt x="409798" y="400573"/>
                      <a:pt x="409798" y="387948"/>
                    </a:cubicBezTo>
                    <a:cubicBezTo>
                      <a:pt x="409798" y="375323"/>
                      <a:pt x="399563" y="365088"/>
                      <a:pt x="386938" y="365088"/>
                    </a:cubicBezTo>
                    <a:close/>
                    <a:moveTo>
                      <a:pt x="160771" y="365088"/>
                    </a:moveTo>
                    <a:cubicBezTo>
                      <a:pt x="148146" y="365088"/>
                      <a:pt x="137911" y="375323"/>
                      <a:pt x="137911" y="387948"/>
                    </a:cubicBezTo>
                    <a:cubicBezTo>
                      <a:pt x="137911" y="400573"/>
                      <a:pt x="148146" y="410808"/>
                      <a:pt x="160771" y="410808"/>
                    </a:cubicBezTo>
                    <a:cubicBezTo>
                      <a:pt x="173396" y="410808"/>
                      <a:pt x="183631" y="400573"/>
                      <a:pt x="183631" y="387948"/>
                    </a:cubicBezTo>
                    <a:cubicBezTo>
                      <a:pt x="183631" y="375323"/>
                      <a:pt x="173396" y="365088"/>
                      <a:pt x="160771" y="365088"/>
                    </a:cubicBezTo>
                    <a:close/>
                    <a:moveTo>
                      <a:pt x="59223" y="365088"/>
                    </a:moveTo>
                    <a:cubicBezTo>
                      <a:pt x="46598" y="365088"/>
                      <a:pt x="36363" y="375323"/>
                      <a:pt x="36363" y="387948"/>
                    </a:cubicBezTo>
                    <a:cubicBezTo>
                      <a:pt x="36363" y="400573"/>
                      <a:pt x="46598" y="410808"/>
                      <a:pt x="59223" y="410808"/>
                    </a:cubicBezTo>
                    <a:cubicBezTo>
                      <a:pt x="71848" y="410808"/>
                      <a:pt x="82083" y="400573"/>
                      <a:pt x="82083" y="387948"/>
                    </a:cubicBezTo>
                    <a:cubicBezTo>
                      <a:pt x="82083" y="375323"/>
                      <a:pt x="71848" y="365088"/>
                      <a:pt x="59223" y="365088"/>
                    </a:cubicBezTo>
                    <a:close/>
                    <a:moveTo>
                      <a:pt x="765165" y="335014"/>
                    </a:moveTo>
                    <a:cubicBezTo>
                      <a:pt x="752540" y="335014"/>
                      <a:pt x="742305" y="345249"/>
                      <a:pt x="742305" y="357874"/>
                    </a:cubicBezTo>
                    <a:cubicBezTo>
                      <a:pt x="742305" y="370499"/>
                      <a:pt x="752540" y="380734"/>
                      <a:pt x="765165" y="380734"/>
                    </a:cubicBezTo>
                    <a:cubicBezTo>
                      <a:pt x="777790" y="380734"/>
                      <a:pt x="788025" y="370499"/>
                      <a:pt x="788025" y="357874"/>
                    </a:cubicBezTo>
                    <a:cubicBezTo>
                      <a:pt x="788025" y="345249"/>
                      <a:pt x="777790" y="335014"/>
                      <a:pt x="765165" y="335014"/>
                    </a:cubicBezTo>
                    <a:close/>
                    <a:moveTo>
                      <a:pt x="437712" y="335014"/>
                    </a:moveTo>
                    <a:cubicBezTo>
                      <a:pt x="425087" y="335014"/>
                      <a:pt x="414852" y="345249"/>
                      <a:pt x="414852" y="357874"/>
                    </a:cubicBezTo>
                    <a:cubicBezTo>
                      <a:pt x="414852" y="370499"/>
                      <a:pt x="425087" y="380734"/>
                      <a:pt x="437712" y="380734"/>
                    </a:cubicBezTo>
                    <a:cubicBezTo>
                      <a:pt x="450337" y="380734"/>
                      <a:pt x="460572" y="370499"/>
                      <a:pt x="460572" y="357874"/>
                    </a:cubicBezTo>
                    <a:cubicBezTo>
                      <a:pt x="460572" y="345249"/>
                      <a:pt x="450337" y="335014"/>
                      <a:pt x="437712" y="335014"/>
                    </a:cubicBezTo>
                    <a:close/>
                    <a:moveTo>
                      <a:pt x="104693" y="335014"/>
                    </a:moveTo>
                    <a:cubicBezTo>
                      <a:pt x="92068" y="335014"/>
                      <a:pt x="81833" y="345249"/>
                      <a:pt x="81833" y="357874"/>
                    </a:cubicBezTo>
                    <a:cubicBezTo>
                      <a:pt x="81833" y="370499"/>
                      <a:pt x="92068" y="380734"/>
                      <a:pt x="104693" y="380734"/>
                    </a:cubicBezTo>
                    <a:cubicBezTo>
                      <a:pt x="117318" y="380734"/>
                      <a:pt x="127553" y="370499"/>
                      <a:pt x="127553" y="357874"/>
                    </a:cubicBezTo>
                    <a:cubicBezTo>
                      <a:pt x="127553" y="345249"/>
                      <a:pt x="117318" y="335014"/>
                      <a:pt x="104693" y="335014"/>
                    </a:cubicBezTo>
                    <a:close/>
                    <a:moveTo>
                      <a:pt x="437712" y="138633"/>
                    </a:moveTo>
                    <a:cubicBezTo>
                      <a:pt x="425087" y="138633"/>
                      <a:pt x="414852" y="148868"/>
                      <a:pt x="414852" y="161493"/>
                    </a:cubicBezTo>
                    <a:cubicBezTo>
                      <a:pt x="414852" y="174118"/>
                      <a:pt x="425087" y="184353"/>
                      <a:pt x="437712" y="184353"/>
                    </a:cubicBezTo>
                    <a:cubicBezTo>
                      <a:pt x="450337" y="184353"/>
                      <a:pt x="460572" y="174118"/>
                      <a:pt x="460572" y="161493"/>
                    </a:cubicBezTo>
                    <a:cubicBezTo>
                      <a:pt x="460572" y="148868"/>
                      <a:pt x="450337" y="138633"/>
                      <a:pt x="437712" y="138633"/>
                    </a:cubicBezTo>
                    <a:close/>
                    <a:moveTo>
                      <a:pt x="488486" y="113932"/>
                    </a:moveTo>
                    <a:cubicBezTo>
                      <a:pt x="475861" y="113932"/>
                      <a:pt x="465626" y="124167"/>
                      <a:pt x="465626" y="136792"/>
                    </a:cubicBezTo>
                    <a:cubicBezTo>
                      <a:pt x="465626" y="149417"/>
                      <a:pt x="475861" y="159652"/>
                      <a:pt x="488486" y="159652"/>
                    </a:cubicBezTo>
                    <a:cubicBezTo>
                      <a:pt x="501111" y="159652"/>
                      <a:pt x="511346" y="149417"/>
                      <a:pt x="511346" y="136792"/>
                    </a:cubicBezTo>
                    <a:cubicBezTo>
                      <a:pt x="511346" y="124167"/>
                      <a:pt x="501111" y="113932"/>
                      <a:pt x="488486" y="113932"/>
                    </a:cubicBezTo>
                    <a:close/>
                    <a:moveTo>
                      <a:pt x="386938" y="113932"/>
                    </a:moveTo>
                    <a:cubicBezTo>
                      <a:pt x="374313" y="113932"/>
                      <a:pt x="364078" y="124167"/>
                      <a:pt x="364078" y="136792"/>
                    </a:cubicBezTo>
                    <a:cubicBezTo>
                      <a:pt x="364078" y="149417"/>
                      <a:pt x="374313" y="159652"/>
                      <a:pt x="386938" y="159652"/>
                    </a:cubicBezTo>
                    <a:cubicBezTo>
                      <a:pt x="399563" y="159652"/>
                      <a:pt x="409798" y="149417"/>
                      <a:pt x="409798" y="136792"/>
                    </a:cubicBezTo>
                    <a:cubicBezTo>
                      <a:pt x="409798" y="124167"/>
                      <a:pt x="399563" y="113932"/>
                      <a:pt x="386938" y="113932"/>
                    </a:cubicBezTo>
                    <a:close/>
                    <a:moveTo>
                      <a:pt x="437712" y="81407"/>
                    </a:moveTo>
                    <a:cubicBezTo>
                      <a:pt x="425087" y="81407"/>
                      <a:pt x="414852" y="91642"/>
                      <a:pt x="414852" y="104267"/>
                    </a:cubicBezTo>
                    <a:cubicBezTo>
                      <a:pt x="414852" y="116892"/>
                      <a:pt x="425087" y="127127"/>
                      <a:pt x="437712" y="127127"/>
                    </a:cubicBezTo>
                    <a:cubicBezTo>
                      <a:pt x="450337" y="127127"/>
                      <a:pt x="460572" y="116892"/>
                      <a:pt x="460572" y="104267"/>
                    </a:cubicBezTo>
                    <a:cubicBezTo>
                      <a:pt x="460572" y="91642"/>
                      <a:pt x="450337" y="81407"/>
                      <a:pt x="437712" y="81407"/>
                    </a:cubicBezTo>
                    <a:close/>
                    <a:moveTo>
                      <a:pt x="488486" y="53529"/>
                    </a:moveTo>
                    <a:cubicBezTo>
                      <a:pt x="475861" y="53529"/>
                      <a:pt x="465626" y="63764"/>
                      <a:pt x="465626" y="76389"/>
                    </a:cubicBezTo>
                    <a:cubicBezTo>
                      <a:pt x="465626" y="89014"/>
                      <a:pt x="475861" y="99249"/>
                      <a:pt x="488486" y="99249"/>
                    </a:cubicBezTo>
                    <a:cubicBezTo>
                      <a:pt x="501111" y="99249"/>
                      <a:pt x="511346" y="89014"/>
                      <a:pt x="511346" y="76389"/>
                    </a:cubicBezTo>
                    <a:cubicBezTo>
                      <a:pt x="511346" y="63764"/>
                      <a:pt x="501111" y="53529"/>
                      <a:pt x="488486" y="53529"/>
                    </a:cubicBezTo>
                    <a:close/>
                    <a:moveTo>
                      <a:pt x="386938" y="53529"/>
                    </a:moveTo>
                    <a:cubicBezTo>
                      <a:pt x="374313" y="53529"/>
                      <a:pt x="364078" y="63764"/>
                      <a:pt x="364078" y="76389"/>
                    </a:cubicBezTo>
                    <a:cubicBezTo>
                      <a:pt x="364078" y="89014"/>
                      <a:pt x="374313" y="99249"/>
                      <a:pt x="386938" y="99249"/>
                    </a:cubicBezTo>
                    <a:cubicBezTo>
                      <a:pt x="399563" y="99249"/>
                      <a:pt x="409798" y="89014"/>
                      <a:pt x="409798" y="76389"/>
                    </a:cubicBezTo>
                    <a:cubicBezTo>
                      <a:pt x="409798" y="63764"/>
                      <a:pt x="399563" y="53529"/>
                      <a:pt x="386938" y="53529"/>
                    </a:cubicBezTo>
                    <a:close/>
                    <a:moveTo>
                      <a:pt x="437712" y="24230"/>
                    </a:moveTo>
                    <a:cubicBezTo>
                      <a:pt x="425087" y="24230"/>
                      <a:pt x="414852" y="34465"/>
                      <a:pt x="414852" y="47090"/>
                    </a:cubicBezTo>
                    <a:cubicBezTo>
                      <a:pt x="414852" y="59715"/>
                      <a:pt x="425087" y="69950"/>
                      <a:pt x="437712" y="69950"/>
                    </a:cubicBezTo>
                    <a:cubicBezTo>
                      <a:pt x="450337" y="69950"/>
                      <a:pt x="460572" y="59715"/>
                      <a:pt x="460572" y="47090"/>
                    </a:cubicBezTo>
                    <a:cubicBezTo>
                      <a:pt x="460572" y="34465"/>
                      <a:pt x="450337" y="24230"/>
                      <a:pt x="437712" y="24230"/>
                    </a:cubicBezTo>
                    <a:close/>
                    <a:moveTo>
                      <a:pt x="437617" y="0"/>
                    </a:moveTo>
                    <a:cubicBezTo>
                      <a:pt x="497432" y="0"/>
                      <a:pt x="545922" y="48490"/>
                      <a:pt x="545922" y="108305"/>
                    </a:cubicBezTo>
                    <a:cubicBezTo>
                      <a:pt x="545922" y="153166"/>
                      <a:pt x="518647" y="191657"/>
                      <a:pt x="479774" y="208099"/>
                    </a:cubicBezTo>
                    <a:lnTo>
                      <a:pt x="477170" y="208624"/>
                    </a:lnTo>
                    <a:lnTo>
                      <a:pt x="477170" y="312925"/>
                    </a:lnTo>
                    <a:lnTo>
                      <a:pt x="479774" y="313451"/>
                    </a:lnTo>
                    <a:cubicBezTo>
                      <a:pt x="505689" y="324412"/>
                      <a:pt x="526449" y="345172"/>
                      <a:pt x="537411" y="371087"/>
                    </a:cubicBezTo>
                    <a:lnTo>
                      <a:pt x="537655" y="372297"/>
                    </a:lnTo>
                    <a:lnTo>
                      <a:pt x="666891" y="372297"/>
                    </a:lnTo>
                    <a:lnTo>
                      <a:pt x="667135" y="371088"/>
                    </a:lnTo>
                    <a:cubicBezTo>
                      <a:pt x="683577" y="332216"/>
                      <a:pt x="722068" y="304940"/>
                      <a:pt x="766930" y="304940"/>
                    </a:cubicBezTo>
                    <a:cubicBezTo>
                      <a:pt x="826745" y="304940"/>
                      <a:pt x="875235" y="353430"/>
                      <a:pt x="875235" y="413246"/>
                    </a:cubicBezTo>
                    <a:cubicBezTo>
                      <a:pt x="875235" y="473061"/>
                      <a:pt x="826745" y="521551"/>
                      <a:pt x="766930" y="521551"/>
                    </a:cubicBezTo>
                    <a:cubicBezTo>
                      <a:pt x="722068" y="521551"/>
                      <a:pt x="683577" y="494276"/>
                      <a:pt x="667135" y="455403"/>
                    </a:cubicBezTo>
                    <a:lnTo>
                      <a:pt x="666328" y="451404"/>
                    </a:lnTo>
                    <a:lnTo>
                      <a:pt x="538218" y="451404"/>
                    </a:lnTo>
                    <a:lnTo>
                      <a:pt x="537411" y="455402"/>
                    </a:lnTo>
                    <a:cubicBezTo>
                      <a:pt x="526449" y="481317"/>
                      <a:pt x="505689" y="502078"/>
                      <a:pt x="479774" y="513039"/>
                    </a:cubicBezTo>
                    <a:lnTo>
                      <a:pt x="477170" y="513565"/>
                    </a:lnTo>
                    <a:lnTo>
                      <a:pt x="477170" y="617868"/>
                    </a:lnTo>
                    <a:lnTo>
                      <a:pt x="479774" y="618393"/>
                    </a:lnTo>
                    <a:cubicBezTo>
                      <a:pt x="518647" y="634835"/>
                      <a:pt x="545922" y="673326"/>
                      <a:pt x="545922" y="718187"/>
                    </a:cubicBezTo>
                    <a:cubicBezTo>
                      <a:pt x="545922" y="778002"/>
                      <a:pt x="497432" y="826492"/>
                      <a:pt x="437617" y="826492"/>
                    </a:cubicBezTo>
                    <a:cubicBezTo>
                      <a:pt x="377802" y="826492"/>
                      <a:pt x="329312" y="778002"/>
                      <a:pt x="329312" y="718187"/>
                    </a:cubicBezTo>
                    <a:cubicBezTo>
                      <a:pt x="329312" y="673326"/>
                      <a:pt x="356588" y="634835"/>
                      <a:pt x="395460" y="618393"/>
                    </a:cubicBezTo>
                    <a:lnTo>
                      <a:pt x="398064" y="617868"/>
                    </a:lnTo>
                    <a:lnTo>
                      <a:pt x="398064" y="513565"/>
                    </a:lnTo>
                    <a:lnTo>
                      <a:pt x="395460" y="513039"/>
                    </a:lnTo>
                    <a:cubicBezTo>
                      <a:pt x="369545" y="502078"/>
                      <a:pt x="348784" y="481317"/>
                      <a:pt x="337823" y="455402"/>
                    </a:cubicBezTo>
                    <a:lnTo>
                      <a:pt x="337016" y="451404"/>
                    </a:lnTo>
                    <a:lnTo>
                      <a:pt x="208906" y="451404"/>
                    </a:lnTo>
                    <a:lnTo>
                      <a:pt x="208099" y="455403"/>
                    </a:lnTo>
                    <a:cubicBezTo>
                      <a:pt x="191657" y="494276"/>
                      <a:pt x="153167" y="521551"/>
                      <a:pt x="108305" y="521551"/>
                    </a:cubicBezTo>
                    <a:cubicBezTo>
                      <a:pt x="48490" y="521551"/>
                      <a:pt x="0" y="473061"/>
                      <a:pt x="0" y="413246"/>
                    </a:cubicBezTo>
                    <a:cubicBezTo>
                      <a:pt x="0" y="353430"/>
                      <a:pt x="48490" y="304940"/>
                      <a:pt x="108305" y="304940"/>
                    </a:cubicBezTo>
                    <a:cubicBezTo>
                      <a:pt x="153167" y="304940"/>
                      <a:pt x="191657" y="332216"/>
                      <a:pt x="208099" y="371088"/>
                    </a:cubicBezTo>
                    <a:lnTo>
                      <a:pt x="208343" y="372297"/>
                    </a:lnTo>
                    <a:lnTo>
                      <a:pt x="337579" y="372297"/>
                    </a:lnTo>
                    <a:lnTo>
                      <a:pt x="337823" y="371087"/>
                    </a:lnTo>
                    <a:cubicBezTo>
                      <a:pt x="348784" y="345172"/>
                      <a:pt x="369545" y="324412"/>
                      <a:pt x="395460" y="313451"/>
                    </a:cubicBezTo>
                    <a:lnTo>
                      <a:pt x="398064" y="312925"/>
                    </a:lnTo>
                    <a:lnTo>
                      <a:pt x="398064" y="208624"/>
                    </a:lnTo>
                    <a:lnTo>
                      <a:pt x="395460" y="208099"/>
                    </a:lnTo>
                    <a:cubicBezTo>
                      <a:pt x="356588" y="191657"/>
                      <a:pt x="329312" y="153166"/>
                      <a:pt x="329312" y="108305"/>
                    </a:cubicBezTo>
                    <a:cubicBezTo>
                      <a:pt x="329312" y="48490"/>
                      <a:pt x="377802" y="0"/>
                      <a:pt x="43761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80" name="Rectangle 79"/>
            <p:cNvSpPr/>
            <p:nvPr/>
          </p:nvSpPr>
          <p:spPr>
            <a:xfrm>
              <a:off x="5261277" y="4031570"/>
              <a:ext cx="1184384" cy="400087"/>
            </a:xfrm>
            <a:prstGeom prst="rect">
              <a:avLst/>
            </a:prstGeom>
          </p:spPr>
          <p:txBody>
            <a:bodyPr wrap="none" lIns="121899" tIns="60949" rIns="121899" bIns="60949">
              <a:spAutoFit/>
            </a:bodyPr>
            <a:lstStyle/>
            <a:p>
              <a:r>
                <a:rPr kumimoji="1" lang="en-US" altLang="ja-JP" dirty="0" smtClean="0">
                  <a:solidFill>
                    <a:prstClr val="black"/>
                  </a:solidFill>
                </a:rPr>
                <a:t>Photonics</a:t>
              </a:r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83" name="Rectangle 82"/>
          <p:cNvSpPr/>
          <p:nvPr/>
        </p:nvSpPr>
        <p:spPr>
          <a:xfrm>
            <a:off x="7742606" y="5381625"/>
            <a:ext cx="2324376" cy="400087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kumimoji="1" lang="en-US" altLang="ja-JP" dirty="0" smtClean="0">
                <a:solidFill>
                  <a:prstClr val="black"/>
                </a:solidFill>
              </a:rPr>
              <a:t>Massive memory </a:t>
            </a:r>
            <a:r>
              <a:rPr kumimoji="1" lang="en-US" altLang="ja-JP" dirty="0">
                <a:solidFill>
                  <a:prstClr val="black"/>
                </a:solidFill>
              </a:rPr>
              <a:t>pool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7" name="Title 8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mtClean="0"/>
              <a:t>The Machine architecture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54869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 for The Machine</a:t>
            </a:r>
            <a:endParaRPr lang="hi-IN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 flipH="1">
            <a:off x="609598" y="2111022"/>
            <a:ext cx="10969625" cy="3251200"/>
          </a:xfrm>
          <a:prstGeom prst="round2DiagRect">
            <a:avLst>
              <a:gd name="adj1" fmla="val 10417"/>
              <a:gd name="adj2" fmla="val 0"/>
            </a:avLst>
          </a:prstGeom>
          <a:solidFill>
            <a:schemeClr val="bg1">
              <a:alpha val="8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Font typeface="HP Simplified" panose="020B0604020204020204" pitchFamily="34" charset="0"/>
              <a:buNone/>
            </a:pPr>
            <a:r>
              <a:rPr lang="en-US" sz="2800" b="1" dirty="0" smtClean="0">
                <a:solidFill>
                  <a:srgbClr val="0096D6"/>
                </a:solidFill>
              </a:rPr>
              <a:t>It </a:t>
            </a:r>
            <a:r>
              <a:rPr lang="en-US" sz="2800" b="1" dirty="0">
                <a:solidFill>
                  <a:srgbClr val="0096D6"/>
                </a:solidFill>
              </a:rPr>
              <a:t>will be able to compute much faster with huge amounts of data. </a:t>
            </a:r>
          </a:p>
          <a:p>
            <a:pPr marL="0" indent="0" algn="ctr">
              <a:spcBef>
                <a:spcPts val="600"/>
              </a:spcBef>
              <a:buFont typeface="HP Simplified" panose="020B0604020204020204" pitchFamily="34" charset="0"/>
              <a:buNone/>
            </a:pPr>
            <a:r>
              <a:rPr lang="en-US" sz="2400" dirty="0">
                <a:solidFill>
                  <a:srgbClr val="87898B">
                    <a:lumMod val="75000"/>
                  </a:srgbClr>
                </a:solidFill>
              </a:rPr>
              <a:t>And it will also take up a lot less space and pull a lot less energy.</a:t>
            </a:r>
          </a:p>
          <a:p>
            <a:pPr marL="0" indent="0" algn="ctr">
              <a:buFont typeface="HP Simplified" panose="020B0604020204020204" pitchFamily="34" charset="0"/>
              <a:buNone/>
            </a:pPr>
            <a:endParaRPr lang="en-US" sz="2400" dirty="0" smtClean="0">
              <a:solidFill>
                <a:prstClr val="black"/>
              </a:solidFill>
            </a:endParaRPr>
          </a:p>
          <a:p>
            <a:pPr marL="0" indent="0" algn="ctr">
              <a:spcBef>
                <a:spcPts val="600"/>
              </a:spcBef>
              <a:buFont typeface="HP Simplified" panose="020B0604020204020204" pitchFamily="34" charset="0"/>
              <a:buNone/>
            </a:pPr>
            <a:r>
              <a:rPr lang="en-US" sz="2800" b="1" dirty="0">
                <a:solidFill>
                  <a:srgbClr val="0096D6"/>
                </a:solidFill>
              </a:rPr>
              <a:t>It will be much harder for bad guys to break into the machine, </a:t>
            </a:r>
          </a:p>
          <a:p>
            <a:pPr marL="0" indent="0" algn="ctr">
              <a:spcBef>
                <a:spcPts val="600"/>
              </a:spcBef>
              <a:buFont typeface="HP Simplified" panose="020B0604020204020204" pitchFamily="34" charset="0"/>
              <a:buNone/>
            </a:pPr>
            <a:r>
              <a:rPr lang="en-US" sz="2400" dirty="0">
                <a:solidFill>
                  <a:srgbClr val="87898B">
                    <a:lumMod val="75000"/>
                  </a:srgbClr>
                </a:solidFill>
              </a:rPr>
              <a:t>see what’s inside, destroy anything, or steal anything</a:t>
            </a:r>
            <a:r>
              <a:rPr lang="en-US" sz="2400" dirty="0" smtClean="0">
                <a:solidFill>
                  <a:srgbClr val="87898B">
                    <a:lumMod val="75000"/>
                  </a:srgbClr>
                </a:solidFill>
              </a:rPr>
              <a:t>.</a:t>
            </a:r>
            <a:endParaRPr lang="en-US" sz="2400" dirty="0">
              <a:solidFill>
                <a:srgbClr val="87898B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90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hallenges in securing The Machine</a:t>
            </a:r>
            <a:endParaRPr lang="hi-IN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Security is always a challenge, but much more in the context of The Machin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3594" y="2313729"/>
            <a:ext cx="3860406" cy="3256988"/>
          </a:xfrm>
          <a:prstGeom prst="rect">
            <a:avLst/>
          </a:prstGeom>
        </p:spPr>
      </p:pic>
      <p:sp>
        <p:nvSpPr>
          <p:cNvPr id="8" name="Round Diagonal Corner Rectangle 7"/>
          <p:cNvSpPr/>
          <p:nvPr/>
        </p:nvSpPr>
        <p:spPr>
          <a:xfrm flipH="1">
            <a:off x="5875264" y="2374195"/>
            <a:ext cx="4612467" cy="581025"/>
          </a:xfrm>
          <a:prstGeom prst="round2DiagRect">
            <a:avLst/>
          </a:prstGeom>
          <a:solidFill>
            <a:schemeClr val="accent1"/>
          </a:solidFill>
        </p:spPr>
        <p:txBody>
          <a:bodyPr wrap="square" lIns="731520" anchor="ctr">
            <a:noAutofit/>
          </a:bodyPr>
          <a:lstStyle/>
          <a:p>
            <a:pPr>
              <a:spcAft>
                <a:spcPts val="1000"/>
              </a:spcAft>
            </a:pPr>
            <a:r>
              <a:rPr lang="en-US" sz="2400" b="1" dirty="0" smtClean="0">
                <a:solidFill>
                  <a:prstClr val="white"/>
                </a:solidFill>
              </a:rPr>
              <a:t>Scale</a:t>
            </a:r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9" name="Round Diagonal Corner Rectangle 8"/>
          <p:cNvSpPr/>
          <p:nvPr/>
        </p:nvSpPr>
        <p:spPr>
          <a:xfrm flipH="1">
            <a:off x="5875264" y="3012953"/>
            <a:ext cx="4612467" cy="581025"/>
          </a:xfrm>
          <a:prstGeom prst="round2DiagRect">
            <a:avLst/>
          </a:prstGeom>
          <a:solidFill>
            <a:schemeClr val="accent1"/>
          </a:solidFill>
        </p:spPr>
        <p:txBody>
          <a:bodyPr wrap="square" lIns="731520" anchor="ctr">
            <a:noAutofit/>
          </a:bodyPr>
          <a:lstStyle/>
          <a:p>
            <a:pPr>
              <a:spcAft>
                <a:spcPts val="1000"/>
              </a:spcAft>
            </a:pPr>
            <a:r>
              <a:rPr lang="en-US" sz="2400" b="1" dirty="0" smtClean="0">
                <a:solidFill>
                  <a:prstClr val="white"/>
                </a:solidFill>
              </a:rPr>
              <a:t>New Architecture</a:t>
            </a:r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0" name="Round Diagonal Corner Rectangle 9"/>
          <p:cNvSpPr/>
          <p:nvPr/>
        </p:nvSpPr>
        <p:spPr>
          <a:xfrm flipH="1">
            <a:off x="5875264" y="3651711"/>
            <a:ext cx="4612467" cy="581025"/>
          </a:xfrm>
          <a:prstGeom prst="round2DiagRect">
            <a:avLst/>
          </a:prstGeom>
          <a:solidFill>
            <a:schemeClr val="accent1"/>
          </a:solidFill>
        </p:spPr>
        <p:txBody>
          <a:bodyPr wrap="square" lIns="731520" anchor="ctr">
            <a:noAutofit/>
          </a:bodyPr>
          <a:lstStyle/>
          <a:p>
            <a:pPr>
              <a:spcAft>
                <a:spcPts val="1000"/>
              </a:spcAft>
            </a:pPr>
            <a:r>
              <a:rPr lang="en-US" sz="2400" b="1" dirty="0" smtClean="0">
                <a:solidFill>
                  <a:prstClr val="white"/>
                </a:solidFill>
              </a:rPr>
              <a:t>Vanishing </a:t>
            </a:r>
            <a:r>
              <a:rPr lang="en-US" sz="2400" b="1" dirty="0">
                <a:solidFill>
                  <a:prstClr val="white"/>
                </a:solidFill>
              </a:rPr>
              <a:t>Control </a:t>
            </a:r>
            <a:r>
              <a:rPr lang="en-US" sz="2400" b="1" dirty="0" smtClean="0">
                <a:solidFill>
                  <a:prstClr val="white"/>
                </a:solidFill>
              </a:rPr>
              <a:t>Points</a:t>
            </a:r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1" name="Round Diagonal Corner Rectangle 10"/>
          <p:cNvSpPr/>
          <p:nvPr/>
        </p:nvSpPr>
        <p:spPr>
          <a:xfrm flipH="1">
            <a:off x="5875264" y="4290469"/>
            <a:ext cx="4612467" cy="581025"/>
          </a:xfrm>
          <a:prstGeom prst="round2DiagRect">
            <a:avLst/>
          </a:prstGeom>
          <a:solidFill>
            <a:schemeClr val="accent1"/>
          </a:solidFill>
        </p:spPr>
        <p:txBody>
          <a:bodyPr wrap="square" lIns="731520" anchor="ctr">
            <a:noAutofit/>
          </a:bodyPr>
          <a:lstStyle/>
          <a:p>
            <a:pPr>
              <a:spcAft>
                <a:spcPts val="1000"/>
              </a:spcAft>
            </a:pPr>
            <a:r>
              <a:rPr lang="en-US" sz="2400" b="1" dirty="0" smtClean="0">
                <a:solidFill>
                  <a:prstClr val="white"/>
                </a:solidFill>
              </a:rPr>
              <a:t>Performance Bottleneck</a:t>
            </a:r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2" name="Round Diagonal Corner Rectangle 11"/>
          <p:cNvSpPr/>
          <p:nvPr/>
        </p:nvSpPr>
        <p:spPr>
          <a:xfrm flipH="1">
            <a:off x="5875264" y="4929227"/>
            <a:ext cx="4612467" cy="581025"/>
          </a:xfrm>
          <a:prstGeom prst="round2DiagRect">
            <a:avLst/>
          </a:prstGeom>
          <a:solidFill>
            <a:schemeClr val="accent1"/>
          </a:solidFill>
        </p:spPr>
        <p:txBody>
          <a:bodyPr wrap="square" lIns="731520" anchor="ctr">
            <a:noAutofit/>
          </a:bodyPr>
          <a:lstStyle/>
          <a:p>
            <a:pPr>
              <a:spcAft>
                <a:spcPts val="1000"/>
              </a:spcAft>
            </a:pPr>
            <a:r>
              <a:rPr lang="en-US" sz="2400" b="1" dirty="0" smtClean="0">
                <a:solidFill>
                  <a:prstClr val="white"/>
                </a:solidFill>
              </a:rPr>
              <a:t>Resource </a:t>
            </a:r>
            <a:r>
              <a:rPr lang="en-US" sz="2400" b="1" dirty="0">
                <a:solidFill>
                  <a:prstClr val="white"/>
                </a:solidFill>
              </a:rPr>
              <a:t>Constraints</a:t>
            </a:r>
          </a:p>
        </p:txBody>
      </p:sp>
      <p:grpSp>
        <p:nvGrpSpPr>
          <p:cNvPr id="13" name="Group 4"/>
          <p:cNvGrpSpPr>
            <a:grpSpLocks noChangeAspect="1"/>
          </p:cNvGrpSpPr>
          <p:nvPr/>
        </p:nvGrpSpPr>
        <p:grpSpPr bwMode="auto">
          <a:xfrm>
            <a:off x="6101127" y="2506712"/>
            <a:ext cx="314494" cy="315990"/>
            <a:chOff x="4740" y="602"/>
            <a:chExt cx="210" cy="211"/>
          </a:xfrm>
          <a:solidFill>
            <a:schemeClr val="bg1"/>
          </a:solidFill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4771" y="632"/>
              <a:ext cx="148" cy="151"/>
            </a:xfrm>
            <a:custGeom>
              <a:avLst/>
              <a:gdLst>
                <a:gd name="T0" fmla="*/ 200 w 298"/>
                <a:gd name="T1" fmla="*/ 26 h 303"/>
                <a:gd name="T2" fmla="*/ 196 w 298"/>
                <a:gd name="T3" fmla="*/ 27 h 303"/>
                <a:gd name="T4" fmla="*/ 192 w 298"/>
                <a:gd name="T5" fmla="*/ 32 h 303"/>
                <a:gd name="T6" fmla="*/ 191 w 298"/>
                <a:gd name="T7" fmla="*/ 36 h 303"/>
                <a:gd name="T8" fmla="*/ 193 w 298"/>
                <a:gd name="T9" fmla="*/ 43 h 303"/>
                <a:gd name="T10" fmla="*/ 207 w 298"/>
                <a:gd name="T11" fmla="*/ 57 h 303"/>
                <a:gd name="T12" fmla="*/ 44 w 298"/>
                <a:gd name="T13" fmla="*/ 200 h 303"/>
                <a:gd name="T14" fmla="*/ 41 w 298"/>
                <a:gd name="T15" fmla="*/ 198 h 303"/>
                <a:gd name="T16" fmla="*/ 36 w 298"/>
                <a:gd name="T17" fmla="*/ 196 h 303"/>
                <a:gd name="T18" fmla="*/ 30 w 298"/>
                <a:gd name="T19" fmla="*/ 196 h 303"/>
                <a:gd name="T20" fmla="*/ 26 w 298"/>
                <a:gd name="T21" fmla="*/ 200 h 303"/>
                <a:gd name="T22" fmla="*/ 1 w 298"/>
                <a:gd name="T23" fmla="*/ 289 h 303"/>
                <a:gd name="T24" fmla="*/ 0 w 298"/>
                <a:gd name="T25" fmla="*/ 292 h 303"/>
                <a:gd name="T26" fmla="*/ 1 w 298"/>
                <a:gd name="T27" fmla="*/ 298 h 303"/>
                <a:gd name="T28" fmla="*/ 4 w 298"/>
                <a:gd name="T29" fmla="*/ 302 h 303"/>
                <a:gd name="T30" fmla="*/ 10 w 298"/>
                <a:gd name="T31" fmla="*/ 303 h 303"/>
                <a:gd name="T32" fmla="*/ 98 w 298"/>
                <a:gd name="T33" fmla="*/ 278 h 303"/>
                <a:gd name="T34" fmla="*/ 101 w 298"/>
                <a:gd name="T35" fmla="*/ 277 h 303"/>
                <a:gd name="T36" fmla="*/ 106 w 298"/>
                <a:gd name="T37" fmla="*/ 272 h 303"/>
                <a:gd name="T38" fmla="*/ 107 w 298"/>
                <a:gd name="T39" fmla="*/ 267 h 303"/>
                <a:gd name="T40" fmla="*/ 105 w 298"/>
                <a:gd name="T41" fmla="*/ 262 h 303"/>
                <a:gd name="T42" fmla="*/ 91 w 298"/>
                <a:gd name="T43" fmla="*/ 247 h 303"/>
                <a:gd name="T44" fmla="*/ 243 w 298"/>
                <a:gd name="T45" fmla="*/ 91 h 303"/>
                <a:gd name="T46" fmla="*/ 255 w 298"/>
                <a:gd name="T47" fmla="*/ 103 h 303"/>
                <a:gd name="T48" fmla="*/ 257 w 298"/>
                <a:gd name="T49" fmla="*/ 105 h 303"/>
                <a:gd name="T50" fmla="*/ 263 w 298"/>
                <a:gd name="T51" fmla="*/ 108 h 303"/>
                <a:gd name="T52" fmla="*/ 269 w 298"/>
                <a:gd name="T53" fmla="*/ 107 h 303"/>
                <a:gd name="T54" fmla="*/ 272 w 298"/>
                <a:gd name="T55" fmla="*/ 103 h 303"/>
                <a:gd name="T56" fmla="*/ 297 w 298"/>
                <a:gd name="T57" fmla="*/ 14 h 303"/>
                <a:gd name="T58" fmla="*/ 298 w 298"/>
                <a:gd name="T59" fmla="*/ 10 h 303"/>
                <a:gd name="T60" fmla="*/ 297 w 298"/>
                <a:gd name="T61" fmla="*/ 5 h 303"/>
                <a:gd name="T62" fmla="*/ 293 w 298"/>
                <a:gd name="T63" fmla="*/ 1 h 303"/>
                <a:gd name="T64" fmla="*/ 288 w 298"/>
                <a:gd name="T65" fmla="*/ 0 h 303"/>
                <a:gd name="T66" fmla="*/ 284 w 298"/>
                <a:gd name="T67" fmla="*/ 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8" h="303">
                  <a:moveTo>
                    <a:pt x="284" y="1"/>
                  </a:moveTo>
                  <a:lnTo>
                    <a:pt x="200" y="26"/>
                  </a:lnTo>
                  <a:lnTo>
                    <a:pt x="200" y="26"/>
                  </a:lnTo>
                  <a:lnTo>
                    <a:pt x="196" y="27"/>
                  </a:lnTo>
                  <a:lnTo>
                    <a:pt x="193" y="28"/>
                  </a:lnTo>
                  <a:lnTo>
                    <a:pt x="192" y="32"/>
                  </a:lnTo>
                  <a:lnTo>
                    <a:pt x="191" y="34"/>
                  </a:lnTo>
                  <a:lnTo>
                    <a:pt x="191" y="36"/>
                  </a:lnTo>
                  <a:lnTo>
                    <a:pt x="192" y="39"/>
                  </a:lnTo>
                  <a:lnTo>
                    <a:pt x="193" y="43"/>
                  </a:lnTo>
                  <a:lnTo>
                    <a:pt x="195" y="46"/>
                  </a:lnTo>
                  <a:lnTo>
                    <a:pt x="207" y="57"/>
                  </a:lnTo>
                  <a:lnTo>
                    <a:pt x="56" y="212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1" y="198"/>
                  </a:lnTo>
                  <a:lnTo>
                    <a:pt x="38" y="196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30" y="196"/>
                  </a:lnTo>
                  <a:lnTo>
                    <a:pt x="28" y="198"/>
                  </a:lnTo>
                  <a:lnTo>
                    <a:pt x="26" y="200"/>
                  </a:lnTo>
                  <a:lnTo>
                    <a:pt x="25" y="203"/>
                  </a:lnTo>
                  <a:lnTo>
                    <a:pt x="1" y="289"/>
                  </a:lnTo>
                  <a:lnTo>
                    <a:pt x="1" y="289"/>
                  </a:lnTo>
                  <a:lnTo>
                    <a:pt x="0" y="292"/>
                  </a:lnTo>
                  <a:lnTo>
                    <a:pt x="0" y="295"/>
                  </a:lnTo>
                  <a:lnTo>
                    <a:pt x="1" y="298"/>
                  </a:lnTo>
                  <a:lnTo>
                    <a:pt x="2" y="301"/>
                  </a:lnTo>
                  <a:lnTo>
                    <a:pt x="4" y="302"/>
                  </a:lnTo>
                  <a:lnTo>
                    <a:pt x="8" y="303"/>
                  </a:lnTo>
                  <a:lnTo>
                    <a:pt x="10" y="303"/>
                  </a:lnTo>
                  <a:lnTo>
                    <a:pt x="14" y="302"/>
                  </a:lnTo>
                  <a:lnTo>
                    <a:pt x="98" y="278"/>
                  </a:lnTo>
                  <a:lnTo>
                    <a:pt x="98" y="278"/>
                  </a:lnTo>
                  <a:lnTo>
                    <a:pt x="101" y="277"/>
                  </a:lnTo>
                  <a:lnTo>
                    <a:pt x="105" y="275"/>
                  </a:lnTo>
                  <a:lnTo>
                    <a:pt x="106" y="272"/>
                  </a:lnTo>
                  <a:lnTo>
                    <a:pt x="107" y="270"/>
                  </a:lnTo>
                  <a:lnTo>
                    <a:pt x="107" y="267"/>
                  </a:lnTo>
                  <a:lnTo>
                    <a:pt x="107" y="264"/>
                  </a:lnTo>
                  <a:lnTo>
                    <a:pt x="105" y="262"/>
                  </a:lnTo>
                  <a:lnTo>
                    <a:pt x="103" y="258"/>
                  </a:lnTo>
                  <a:lnTo>
                    <a:pt x="91" y="247"/>
                  </a:lnTo>
                  <a:lnTo>
                    <a:pt x="243" y="91"/>
                  </a:lnTo>
                  <a:lnTo>
                    <a:pt x="243" y="91"/>
                  </a:lnTo>
                  <a:lnTo>
                    <a:pt x="243" y="91"/>
                  </a:lnTo>
                  <a:lnTo>
                    <a:pt x="255" y="103"/>
                  </a:lnTo>
                  <a:lnTo>
                    <a:pt x="255" y="103"/>
                  </a:lnTo>
                  <a:lnTo>
                    <a:pt x="257" y="105"/>
                  </a:lnTo>
                  <a:lnTo>
                    <a:pt x="260" y="107"/>
                  </a:lnTo>
                  <a:lnTo>
                    <a:pt x="263" y="108"/>
                  </a:lnTo>
                  <a:lnTo>
                    <a:pt x="265" y="107"/>
                  </a:lnTo>
                  <a:lnTo>
                    <a:pt x="269" y="107"/>
                  </a:lnTo>
                  <a:lnTo>
                    <a:pt x="271" y="105"/>
                  </a:lnTo>
                  <a:lnTo>
                    <a:pt x="272" y="103"/>
                  </a:lnTo>
                  <a:lnTo>
                    <a:pt x="274" y="100"/>
                  </a:lnTo>
                  <a:lnTo>
                    <a:pt x="297" y="14"/>
                  </a:lnTo>
                  <a:lnTo>
                    <a:pt x="297" y="14"/>
                  </a:lnTo>
                  <a:lnTo>
                    <a:pt x="298" y="10"/>
                  </a:lnTo>
                  <a:lnTo>
                    <a:pt x="298" y="7"/>
                  </a:lnTo>
                  <a:lnTo>
                    <a:pt x="297" y="5"/>
                  </a:lnTo>
                  <a:lnTo>
                    <a:pt x="296" y="3"/>
                  </a:lnTo>
                  <a:lnTo>
                    <a:pt x="293" y="1"/>
                  </a:lnTo>
                  <a:lnTo>
                    <a:pt x="290" y="0"/>
                  </a:lnTo>
                  <a:lnTo>
                    <a:pt x="288" y="0"/>
                  </a:lnTo>
                  <a:lnTo>
                    <a:pt x="284" y="1"/>
                  </a:lnTo>
                  <a:lnTo>
                    <a:pt x="2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4817" y="602"/>
              <a:ext cx="133" cy="131"/>
            </a:xfrm>
            <a:custGeom>
              <a:avLst/>
              <a:gdLst>
                <a:gd name="T0" fmla="*/ 0 w 264"/>
                <a:gd name="T1" fmla="*/ 36 h 262"/>
                <a:gd name="T2" fmla="*/ 224 w 264"/>
                <a:gd name="T3" fmla="*/ 36 h 262"/>
                <a:gd name="T4" fmla="*/ 224 w 264"/>
                <a:gd name="T5" fmla="*/ 36 h 262"/>
                <a:gd name="T6" fmla="*/ 226 w 264"/>
                <a:gd name="T7" fmla="*/ 37 h 262"/>
                <a:gd name="T8" fmla="*/ 227 w 264"/>
                <a:gd name="T9" fmla="*/ 39 h 262"/>
                <a:gd name="T10" fmla="*/ 227 w 264"/>
                <a:gd name="T11" fmla="*/ 262 h 262"/>
                <a:gd name="T12" fmla="*/ 264 w 264"/>
                <a:gd name="T13" fmla="*/ 262 h 262"/>
                <a:gd name="T14" fmla="*/ 264 w 264"/>
                <a:gd name="T15" fmla="*/ 39 h 262"/>
                <a:gd name="T16" fmla="*/ 264 w 264"/>
                <a:gd name="T17" fmla="*/ 39 h 262"/>
                <a:gd name="T18" fmla="*/ 263 w 264"/>
                <a:gd name="T19" fmla="*/ 31 h 262"/>
                <a:gd name="T20" fmla="*/ 261 w 264"/>
                <a:gd name="T21" fmla="*/ 24 h 262"/>
                <a:gd name="T22" fmla="*/ 257 w 264"/>
                <a:gd name="T23" fmla="*/ 17 h 262"/>
                <a:gd name="T24" fmla="*/ 252 w 264"/>
                <a:gd name="T25" fmla="*/ 11 h 262"/>
                <a:gd name="T26" fmla="*/ 246 w 264"/>
                <a:gd name="T27" fmla="*/ 7 h 262"/>
                <a:gd name="T28" fmla="*/ 239 w 264"/>
                <a:gd name="T29" fmla="*/ 3 h 262"/>
                <a:gd name="T30" fmla="*/ 232 w 264"/>
                <a:gd name="T31" fmla="*/ 1 h 262"/>
                <a:gd name="T32" fmla="*/ 224 w 264"/>
                <a:gd name="T33" fmla="*/ 0 h 262"/>
                <a:gd name="T34" fmla="*/ 0 w 264"/>
                <a:gd name="T35" fmla="*/ 0 h 262"/>
                <a:gd name="T36" fmla="*/ 0 w 264"/>
                <a:gd name="T37" fmla="*/ 36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4" h="262">
                  <a:moveTo>
                    <a:pt x="0" y="36"/>
                  </a:moveTo>
                  <a:lnTo>
                    <a:pt x="224" y="36"/>
                  </a:lnTo>
                  <a:lnTo>
                    <a:pt x="224" y="36"/>
                  </a:lnTo>
                  <a:lnTo>
                    <a:pt x="226" y="37"/>
                  </a:lnTo>
                  <a:lnTo>
                    <a:pt x="227" y="39"/>
                  </a:lnTo>
                  <a:lnTo>
                    <a:pt x="227" y="262"/>
                  </a:lnTo>
                  <a:lnTo>
                    <a:pt x="264" y="262"/>
                  </a:lnTo>
                  <a:lnTo>
                    <a:pt x="264" y="39"/>
                  </a:lnTo>
                  <a:lnTo>
                    <a:pt x="264" y="39"/>
                  </a:lnTo>
                  <a:lnTo>
                    <a:pt x="263" y="31"/>
                  </a:lnTo>
                  <a:lnTo>
                    <a:pt x="261" y="24"/>
                  </a:lnTo>
                  <a:lnTo>
                    <a:pt x="257" y="17"/>
                  </a:lnTo>
                  <a:lnTo>
                    <a:pt x="252" y="11"/>
                  </a:lnTo>
                  <a:lnTo>
                    <a:pt x="246" y="7"/>
                  </a:lnTo>
                  <a:lnTo>
                    <a:pt x="239" y="3"/>
                  </a:lnTo>
                  <a:lnTo>
                    <a:pt x="232" y="1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4740" y="681"/>
              <a:ext cx="130" cy="132"/>
            </a:xfrm>
            <a:custGeom>
              <a:avLst/>
              <a:gdLst>
                <a:gd name="T0" fmla="*/ 260 w 260"/>
                <a:gd name="T1" fmla="*/ 227 h 263"/>
                <a:gd name="T2" fmla="*/ 40 w 260"/>
                <a:gd name="T3" fmla="*/ 227 h 263"/>
                <a:gd name="T4" fmla="*/ 40 w 260"/>
                <a:gd name="T5" fmla="*/ 227 h 263"/>
                <a:gd name="T6" fmla="*/ 38 w 260"/>
                <a:gd name="T7" fmla="*/ 226 h 263"/>
                <a:gd name="T8" fmla="*/ 36 w 260"/>
                <a:gd name="T9" fmla="*/ 224 h 263"/>
                <a:gd name="T10" fmla="*/ 36 w 260"/>
                <a:gd name="T11" fmla="*/ 0 h 263"/>
                <a:gd name="T12" fmla="*/ 0 w 260"/>
                <a:gd name="T13" fmla="*/ 0 h 263"/>
                <a:gd name="T14" fmla="*/ 0 w 260"/>
                <a:gd name="T15" fmla="*/ 224 h 263"/>
                <a:gd name="T16" fmla="*/ 0 w 260"/>
                <a:gd name="T17" fmla="*/ 224 h 263"/>
                <a:gd name="T18" fmla="*/ 1 w 260"/>
                <a:gd name="T19" fmla="*/ 232 h 263"/>
                <a:gd name="T20" fmla="*/ 3 w 260"/>
                <a:gd name="T21" fmla="*/ 239 h 263"/>
                <a:gd name="T22" fmla="*/ 7 w 260"/>
                <a:gd name="T23" fmla="*/ 246 h 263"/>
                <a:gd name="T24" fmla="*/ 12 w 260"/>
                <a:gd name="T25" fmla="*/ 252 h 263"/>
                <a:gd name="T26" fmla="*/ 18 w 260"/>
                <a:gd name="T27" fmla="*/ 257 h 263"/>
                <a:gd name="T28" fmla="*/ 25 w 260"/>
                <a:gd name="T29" fmla="*/ 260 h 263"/>
                <a:gd name="T30" fmla="*/ 32 w 260"/>
                <a:gd name="T31" fmla="*/ 262 h 263"/>
                <a:gd name="T32" fmla="*/ 40 w 260"/>
                <a:gd name="T33" fmla="*/ 263 h 263"/>
                <a:gd name="T34" fmla="*/ 260 w 260"/>
                <a:gd name="T35" fmla="*/ 263 h 263"/>
                <a:gd name="T36" fmla="*/ 260 w 260"/>
                <a:gd name="T37" fmla="*/ 227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0" h="263">
                  <a:moveTo>
                    <a:pt x="260" y="227"/>
                  </a:moveTo>
                  <a:lnTo>
                    <a:pt x="40" y="227"/>
                  </a:lnTo>
                  <a:lnTo>
                    <a:pt x="40" y="227"/>
                  </a:lnTo>
                  <a:lnTo>
                    <a:pt x="38" y="226"/>
                  </a:lnTo>
                  <a:lnTo>
                    <a:pt x="36" y="224"/>
                  </a:lnTo>
                  <a:lnTo>
                    <a:pt x="36" y="0"/>
                  </a:lnTo>
                  <a:lnTo>
                    <a:pt x="0" y="0"/>
                  </a:lnTo>
                  <a:lnTo>
                    <a:pt x="0" y="224"/>
                  </a:lnTo>
                  <a:lnTo>
                    <a:pt x="0" y="224"/>
                  </a:lnTo>
                  <a:lnTo>
                    <a:pt x="1" y="232"/>
                  </a:lnTo>
                  <a:lnTo>
                    <a:pt x="3" y="239"/>
                  </a:lnTo>
                  <a:lnTo>
                    <a:pt x="7" y="246"/>
                  </a:lnTo>
                  <a:lnTo>
                    <a:pt x="12" y="252"/>
                  </a:lnTo>
                  <a:lnTo>
                    <a:pt x="18" y="257"/>
                  </a:lnTo>
                  <a:lnTo>
                    <a:pt x="25" y="260"/>
                  </a:lnTo>
                  <a:lnTo>
                    <a:pt x="32" y="262"/>
                  </a:lnTo>
                  <a:lnTo>
                    <a:pt x="40" y="263"/>
                  </a:lnTo>
                  <a:lnTo>
                    <a:pt x="260" y="263"/>
                  </a:lnTo>
                  <a:lnTo>
                    <a:pt x="260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7" name="Group 202"/>
          <p:cNvGrpSpPr>
            <a:grpSpLocks noChangeAspect="1"/>
          </p:cNvGrpSpPr>
          <p:nvPr/>
        </p:nvGrpSpPr>
        <p:grpSpPr bwMode="auto">
          <a:xfrm>
            <a:off x="6089305" y="3783473"/>
            <a:ext cx="338138" cy="317500"/>
            <a:chOff x="3056" y="1235"/>
            <a:chExt cx="213" cy="200"/>
          </a:xfrm>
          <a:solidFill>
            <a:schemeClr val="bg1"/>
          </a:solidFill>
        </p:grpSpPr>
        <p:sp>
          <p:nvSpPr>
            <p:cNvPr id="18" name="Freeform 203"/>
            <p:cNvSpPr>
              <a:spLocks noEditPoints="1"/>
            </p:cNvSpPr>
            <p:nvPr/>
          </p:nvSpPr>
          <p:spPr bwMode="auto">
            <a:xfrm>
              <a:off x="3097" y="1288"/>
              <a:ext cx="132" cy="96"/>
            </a:xfrm>
            <a:custGeom>
              <a:avLst/>
              <a:gdLst>
                <a:gd name="T0" fmla="*/ 0 w 264"/>
                <a:gd name="T1" fmla="*/ 192 h 192"/>
                <a:gd name="T2" fmla="*/ 24 w 264"/>
                <a:gd name="T3" fmla="*/ 192 h 192"/>
                <a:gd name="T4" fmla="*/ 24 w 264"/>
                <a:gd name="T5" fmla="*/ 166 h 192"/>
                <a:gd name="T6" fmla="*/ 0 w 264"/>
                <a:gd name="T7" fmla="*/ 166 h 192"/>
                <a:gd name="T8" fmla="*/ 0 w 264"/>
                <a:gd name="T9" fmla="*/ 192 h 192"/>
                <a:gd name="T10" fmla="*/ 50 w 264"/>
                <a:gd name="T11" fmla="*/ 26 h 192"/>
                <a:gd name="T12" fmla="*/ 118 w 264"/>
                <a:gd name="T13" fmla="*/ 26 h 192"/>
                <a:gd name="T14" fmla="*/ 118 w 264"/>
                <a:gd name="T15" fmla="*/ 0 h 192"/>
                <a:gd name="T16" fmla="*/ 50 w 264"/>
                <a:gd name="T17" fmla="*/ 0 h 192"/>
                <a:gd name="T18" fmla="*/ 50 w 264"/>
                <a:gd name="T19" fmla="*/ 26 h 192"/>
                <a:gd name="T20" fmla="*/ 0 w 264"/>
                <a:gd name="T21" fmla="*/ 109 h 192"/>
                <a:gd name="T22" fmla="*/ 24 w 264"/>
                <a:gd name="T23" fmla="*/ 109 h 192"/>
                <a:gd name="T24" fmla="*/ 24 w 264"/>
                <a:gd name="T25" fmla="*/ 83 h 192"/>
                <a:gd name="T26" fmla="*/ 0 w 264"/>
                <a:gd name="T27" fmla="*/ 83 h 192"/>
                <a:gd name="T28" fmla="*/ 0 w 264"/>
                <a:gd name="T29" fmla="*/ 109 h 192"/>
                <a:gd name="T30" fmla="*/ 50 w 264"/>
                <a:gd name="T31" fmla="*/ 109 h 192"/>
                <a:gd name="T32" fmla="*/ 118 w 264"/>
                <a:gd name="T33" fmla="*/ 109 h 192"/>
                <a:gd name="T34" fmla="*/ 118 w 264"/>
                <a:gd name="T35" fmla="*/ 83 h 192"/>
                <a:gd name="T36" fmla="*/ 50 w 264"/>
                <a:gd name="T37" fmla="*/ 83 h 192"/>
                <a:gd name="T38" fmla="*/ 50 w 264"/>
                <a:gd name="T39" fmla="*/ 109 h 192"/>
                <a:gd name="T40" fmla="*/ 143 w 264"/>
                <a:gd name="T41" fmla="*/ 192 h 192"/>
                <a:gd name="T42" fmla="*/ 264 w 264"/>
                <a:gd name="T43" fmla="*/ 192 h 192"/>
                <a:gd name="T44" fmla="*/ 264 w 264"/>
                <a:gd name="T45" fmla="*/ 166 h 192"/>
                <a:gd name="T46" fmla="*/ 143 w 264"/>
                <a:gd name="T47" fmla="*/ 166 h 192"/>
                <a:gd name="T48" fmla="*/ 143 w 264"/>
                <a:gd name="T49" fmla="*/ 192 h 192"/>
                <a:gd name="T50" fmla="*/ 143 w 264"/>
                <a:gd name="T51" fmla="*/ 0 h 192"/>
                <a:gd name="T52" fmla="*/ 143 w 264"/>
                <a:gd name="T53" fmla="*/ 26 h 192"/>
                <a:gd name="T54" fmla="*/ 264 w 264"/>
                <a:gd name="T55" fmla="*/ 26 h 192"/>
                <a:gd name="T56" fmla="*/ 264 w 264"/>
                <a:gd name="T57" fmla="*/ 0 h 192"/>
                <a:gd name="T58" fmla="*/ 143 w 264"/>
                <a:gd name="T59" fmla="*/ 0 h 192"/>
                <a:gd name="T60" fmla="*/ 143 w 264"/>
                <a:gd name="T61" fmla="*/ 109 h 192"/>
                <a:gd name="T62" fmla="*/ 264 w 264"/>
                <a:gd name="T63" fmla="*/ 109 h 192"/>
                <a:gd name="T64" fmla="*/ 264 w 264"/>
                <a:gd name="T65" fmla="*/ 83 h 192"/>
                <a:gd name="T66" fmla="*/ 143 w 264"/>
                <a:gd name="T67" fmla="*/ 83 h 192"/>
                <a:gd name="T68" fmla="*/ 143 w 264"/>
                <a:gd name="T69" fmla="*/ 109 h 192"/>
                <a:gd name="T70" fmla="*/ 50 w 264"/>
                <a:gd name="T71" fmla="*/ 192 h 192"/>
                <a:gd name="T72" fmla="*/ 118 w 264"/>
                <a:gd name="T73" fmla="*/ 192 h 192"/>
                <a:gd name="T74" fmla="*/ 118 w 264"/>
                <a:gd name="T75" fmla="*/ 166 h 192"/>
                <a:gd name="T76" fmla="*/ 50 w 264"/>
                <a:gd name="T77" fmla="*/ 166 h 192"/>
                <a:gd name="T78" fmla="*/ 50 w 264"/>
                <a:gd name="T79" fmla="*/ 192 h 192"/>
                <a:gd name="T80" fmla="*/ 0 w 264"/>
                <a:gd name="T81" fmla="*/ 26 h 192"/>
                <a:gd name="T82" fmla="*/ 24 w 264"/>
                <a:gd name="T83" fmla="*/ 26 h 192"/>
                <a:gd name="T84" fmla="*/ 24 w 264"/>
                <a:gd name="T85" fmla="*/ 0 h 192"/>
                <a:gd name="T86" fmla="*/ 0 w 264"/>
                <a:gd name="T87" fmla="*/ 0 h 192"/>
                <a:gd name="T88" fmla="*/ 0 w 264"/>
                <a:gd name="T89" fmla="*/ 2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4" h="192">
                  <a:moveTo>
                    <a:pt x="0" y="192"/>
                  </a:moveTo>
                  <a:lnTo>
                    <a:pt x="24" y="192"/>
                  </a:lnTo>
                  <a:lnTo>
                    <a:pt x="24" y="166"/>
                  </a:lnTo>
                  <a:lnTo>
                    <a:pt x="0" y="166"/>
                  </a:lnTo>
                  <a:lnTo>
                    <a:pt x="0" y="192"/>
                  </a:lnTo>
                  <a:close/>
                  <a:moveTo>
                    <a:pt x="50" y="26"/>
                  </a:moveTo>
                  <a:lnTo>
                    <a:pt x="118" y="26"/>
                  </a:lnTo>
                  <a:lnTo>
                    <a:pt x="118" y="0"/>
                  </a:lnTo>
                  <a:lnTo>
                    <a:pt x="50" y="0"/>
                  </a:lnTo>
                  <a:lnTo>
                    <a:pt x="50" y="26"/>
                  </a:lnTo>
                  <a:close/>
                  <a:moveTo>
                    <a:pt x="0" y="109"/>
                  </a:moveTo>
                  <a:lnTo>
                    <a:pt x="24" y="109"/>
                  </a:lnTo>
                  <a:lnTo>
                    <a:pt x="24" y="83"/>
                  </a:lnTo>
                  <a:lnTo>
                    <a:pt x="0" y="83"/>
                  </a:lnTo>
                  <a:lnTo>
                    <a:pt x="0" y="109"/>
                  </a:lnTo>
                  <a:close/>
                  <a:moveTo>
                    <a:pt x="50" y="109"/>
                  </a:moveTo>
                  <a:lnTo>
                    <a:pt x="118" y="109"/>
                  </a:lnTo>
                  <a:lnTo>
                    <a:pt x="118" y="83"/>
                  </a:lnTo>
                  <a:lnTo>
                    <a:pt x="50" y="83"/>
                  </a:lnTo>
                  <a:lnTo>
                    <a:pt x="50" y="109"/>
                  </a:lnTo>
                  <a:close/>
                  <a:moveTo>
                    <a:pt x="143" y="192"/>
                  </a:moveTo>
                  <a:lnTo>
                    <a:pt x="264" y="192"/>
                  </a:lnTo>
                  <a:lnTo>
                    <a:pt x="264" y="166"/>
                  </a:lnTo>
                  <a:lnTo>
                    <a:pt x="143" y="166"/>
                  </a:lnTo>
                  <a:lnTo>
                    <a:pt x="143" y="192"/>
                  </a:lnTo>
                  <a:close/>
                  <a:moveTo>
                    <a:pt x="143" y="0"/>
                  </a:moveTo>
                  <a:lnTo>
                    <a:pt x="143" y="26"/>
                  </a:lnTo>
                  <a:lnTo>
                    <a:pt x="264" y="26"/>
                  </a:lnTo>
                  <a:lnTo>
                    <a:pt x="264" y="0"/>
                  </a:lnTo>
                  <a:lnTo>
                    <a:pt x="143" y="0"/>
                  </a:lnTo>
                  <a:close/>
                  <a:moveTo>
                    <a:pt x="143" y="109"/>
                  </a:moveTo>
                  <a:lnTo>
                    <a:pt x="264" y="109"/>
                  </a:lnTo>
                  <a:lnTo>
                    <a:pt x="264" y="83"/>
                  </a:lnTo>
                  <a:lnTo>
                    <a:pt x="143" y="83"/>
                  </a:lnTo>
                  <a:lnTo>
                    <a:pt x="143" y="109"/>
                  </a:lnTo>
                  <a:close/>
                  <a:moveTo>
                    <a:pt x="50" y="192"/>
                  </a:moveTo>
                  <a:lnTo>
                    <a:pt x="118" y="192"/>
                  </a:lnTo>
                  <a:lnTo>
                    <a:pt x="118" y="166"/>
                  </a:lnTo>
                  <a:lnTo>
                    <a:pt x="50" y="166"/>
                  </a:lnTo>
                  <a:lnTo>
                    <a:pt x="50" y="192"/>
                  </a:lnTo>
                  <a:close/>
                  <a:moveTo>
                    <a:pt x="0" y="26"/>
                  </a:moveTo>
                  <a:lnTo>
                    <a:pt x="24" y="26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204"/>
            <p:cNvSpPr>
              <a:spLocks noEditPoints="1"/>
            </p:cNvSpPr>
            <p:nvPr/>
          </p:nvSpPr>
          <p:spPr bwMode="auto">
            <a:xfrm>
              <a:off x="3056" y="1235"/>
              <a:ext cx="213" cy="200"/>
            </a:xfrm>
            <a:custGeom>
              <a:avLst/>
              <a:gdLst>
                <a:gd name="T0" fmla="*/ 393 w 426"/>
                <a:gd name="T1" fmla="*/ 0 h 398"/>
                <a:gd name="T2" fmla="*/ 332 w 426"/>
                <a:gd name="T3" fmla="*/ 0 h 398"/>
                <a:gd name="T4" fmla="*/ 0 w 426"/>
                <a:gd name="T5" fmla="*/ 0 h 398"/>
                <a:gd name="T6" fmla="*/ 0 w 426"/>
                <a:gd name="T7" fmla="*/ 278 h 398"/>
                <a:gd name="T8" fmla="*/ 0 w 426"/>
                <a:gd name="T9" fmla="*/ 365 h 398"/>
                <a:gd name="T10" fmla="*/ 0 w 426"/>
                <a:gd name="T11" fmla="*/ 365 h 398"/>
                <a:gd name="T12" fmla="*/ 1 w 426"/>
                <a:gd name="T13" fmla="*/ 373 h 398"/>
                <a:gd name="T14" fmla="*/ 3 w 426"/>
                <a:gd name="T15" fmla="*/ 378 h 398"/>
                <a:gd name="T16" fmla="*/ 6 w 426"/>
                <a:gd name="T17" fmla="*/ 384 h 398"/>
                <a:gd name="T18" fmla="*/ 9 w 426"/>
                <a:gd name="T19" fmla="*/ 389 h 398"/>
                <a:gd name="T20" fmla="*/ 15 w 426"/>
                <a:gd name="T21" fmla="*/ 393 h 398"/>
                <a:gd name="T22" fmla="*/ 20 w 426"/>
                <a:gd name="T23" fmla="*/ 396 h 398"/>
                <a:gd name="T24" fmla="*/ 26 w 426"/>
                <a:gd name="T25" fmla="*/ 398 h 398"/>
                <a:gd name="T26" fmla="*/ 33 w 426"/>
                <a:gd name="T27" fmla="*/ 398 h 398"/>
                <a:gd name="T28" fmla="*/ 94 w 426"/>
                <a:gd name="T29" fmla="*/ 398 h 398"/>
                <a:gd name="T30" fmla="*/ 426 w 426"/>
                <a:gd name="T31" fmla="*/ 398 h 398"/>
                <a:gd name="T32" fmla="*/ 426 w 426"/>
                <a:gd name="T33" fmla="*/ 119 h 398"/>
                <a:gd name="T34" fmla="*/ 426 w 426"/>
                <a:gd name="T35" fmla="*/ 33 h 398"/>
                <a:gd name="T36" fmla="*/ 426 w 426"/>
                <a:gd name="T37" fmla="*/ 33 h 398"/>
                <a:gd name="T38" fmla="*/ 425 w 426"/>
                <a:gd name="T39" fmla="*/ 25 h 398"/>
                <a:gd name="T40" fmla="*/ 423 w 426"/>
                <a:gd name="T41" fmla="*/ 20 h 398"/>
                <a:gd name="T42" fmla="*/ 420 w 426"/>
                <a:gd name="T43" fmla="*/ 14 h 398"/>
                <a:gd name="T44" fmla="*/ 417 w 426"/>
                <a:gd name="T45" fmla="*/ 9 h 398"/>
                <a:gd name="T46" fmla="*/ 411 w 426"/>
                <a:gd name="T47" fmla="*/ 5 h 398"/>
                <a:gd name="T48" fmla="*/ 406 w 426"/>
                <a:gd name="T49" fmla="*/ 2 h 398"/>
                <a:gd name="T50" fmla="*/ 400 w 426"/>
                <a:gd name="T51" fmla="*/ 0 h 398"/>
                <a:gd name="T52" fmla="*/ 393 w 426"/>
                <a:gd name="T53" fmla="*/ 0 h 398"/>
                <a:gd name="T54" fmla="*/ 393 w 426"/>
                <a:gd name="T55" fmla="*/ 0 h 398"/>
                <a:gd name="T56" fmla="*/ 393 w 426"/>
                <a:gd name="T57" fmla="*/ 119 h 398"/>
                <a:gd name="T58" fmla="*/ 393 w 426"/>
                <a:gd name="T59" fmla="*/ 365 h 398"/>
                <a:gd name="T60" fmla="*/ 94 w 426"/>
                <a:gd name="T61" fmla="*/ 365 h 398"/>
                <a:gd name="T62" fmla="*/ 94 w 426"/>
                <a:gd name="T63" fmla="*/ 365 h 398"/>
                <a:gd name="T64" fmla="*/ 33 w 426"/>
                <a:gd name="T65" fmla="*/ 365 h 398"/>
                <a:gd name="T66" fmla="*/ 33 w 426"/>
                <a:gd name="T67" fmla="*/ 278 h 398"/>
                <a:gd name="T68" fmla="*/ 33 w 426"/>
                <a:gd name="T69" fmla="*/ 278 h 398"/>
                <a:gd name="T70" fmla="*/ 33 w 426"/>
                <a:gd name="T71" fmla="*/ 33 h 398"/>
                <a:gd name="T72" fmla="*/ 332 w 426"/>
                <a:gd name="T73" fmla="*/ 33 h 398"/>
                <a:gd name="T74" fmla="*/ 332 w 426"/>
                <a:gd name="T75" fmla="*/ 33 h 398"/>
                <a:gd name="T76" fmla="*/ 393 w 426"/>
                <a:gd name="T77" fmla="*/ 33 h 398"/>
                <a:gd name="T78" fmla="*/ 393 w 426"/>
                <a:gd name="T79" fmla="*/ 119 h 398"/>
                <a:gd name="T80" fmla="*/ 393 w 426"/>
                <a:gd name="T81" fmla="*/ 119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6" h="398">
                  <a:moveTo>
                    <a:pt x="393" y="0"/>
                  </a:moveTo>
                  <a:lnTo>
                    <a:pt x="332" y="0"/>
                  </a:lnTo>
                  <a:lnTo>
                    <a:pt x="0" y="0"/>
                  </a:lnTo>
                  <a:lnTo>
                    <a:pt x="0" y="278"/>
                  </a:lnTo>
                  <a:lnTo>
                    <a:pt x="0" y="365"/>
                  </a:lnTo>
                  <a:lnTo>
                    <a:pt x="0" y="365"/>
                  </a:lnTo>
                  <a:lnTo>
                    <a:pt x="1" y="373"/>
                  </a:lnTo>
                  <a:lnTo>
                    <a:pt x="3" y="378"/>
                  </a:lnTo>
                  <a:lnTo>
                    <a:pt x="6" y="384"/>
                  </a:lnTo>
                  <a:lnTo>
                    <a:pt x="9" y="389"/>
                  </a:lnTo>
                  <a:lnTo>
                    <a:pt x="15" y="393"/>
                  </a:lnTo>
                  <a:lnTo>
                    <a:pt x="20" y="396"/>
                  </a:lnTo>
                  <a:lnTo>
                    <a:pt x="26" y="398"/>
                  </a:lnTo>
                  <a:lnTo>
                    <a:pt x="33" y="398"/>
                  </a:lnTo>
                  <a:lnTo>
                    <a:pt x="94" y="398"/>
                  </a:lnTo>
                  <a:lnTo>
                    <a:pt x="426" y="398"/>
                  </a:lnTo>
                  <a:lnTo>
                    <a:pt x="426" y="119"/>
                  </a:lnTo>
                  <a:lnTo>
                    <a:pt x="426" y="33"/>
                  </a:lnTo>
                  <a:lnTo>
                    <a:pt x="426" y="33"/>
                  </a:lnTo>
                  <a:lnTo>
                    <a:pt x="425" y="25"/>
                  </a:lnTo>
                  <a:lnTo>
                    <a:pt x="423" y="20"/>
                  </a:lnTo>
                  <a:lnTo>
                    <a:pt x="420" y="14"/>
                  </a:lnTo>
                  <a:lnTo>
                    <a:pt x="417" y="9"/>
                  </a:lnTo>
                  <a:lnTo>
                    <a:pt x="411" y="5"/>
                  </a:lnTo>
                  <a:lnTo>
                    <a:pt x="406" y="2"/>
                  </a:lnTo>
                  <a:lnTo>
                    <a:pt x="400" y="0"/>
                  </a:lnTo>
                  <a:lnTo>
                    <a:pt x="393" y="0"/>
                  </a:lnTo>
                  <a:lnTo>
                    <a:pt x="393" y="0"/>
                  </a:lnTo>
                  <a:close/>
                  <a:moveTo>
                    <a:pt x="393" y="119"/>
                  </a:moveTo>
                  <a:lnTo>
                    <a:pt x="393" y="365"/>
                  </a:lnTo>
                  <a:lnTo>
                    <a:pt x="94" y="365"/>
                  </a:lnTo>
                  <a:lnTo>
                    <a:pt x="94" y="365"/>
                  </a:lnTo>
                  <a:lnTo>
                    <a:pt x="33" y="365"/>
                  </a:lnTo>
                  <a:lnTo>
                    <a:pt x="33" y="278"/>
                  </a:lnTo>
                  <a:lnTo>
                    <a:pt x="33" y="278"/>
                  </a:lnTo>
                  <a:lnTo>
                    <a:pt x="33" y="33"/>
                  </a:lnTo>
                  <a:lnTo>
                    <a:pt x="332" y="33"/>
                  </a:lnTo>
                  <a:lnTo>
                    <a:pt x="332" y="33"/>
                  </a:lnTo>
                  <a:lnTo>
                    <a:pt x="393" y="33"/>
                  </a:lnTo>
                  <a:lnTo>
                    <a:pt x="393" y="119"/>
                  </a:lnTo>
                  <a:lnTo>
                    <a:pt x="393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20" name="Group 345"/>
          <p:cNvGrpSpPr>
            <a:grpSpLocks noChangeAspect="1"/>
          </p:cNvGrpSpPr>
          <p:nvPr/>
        </p:nvGrpSpPr>
        <p:grpSpPr bwMode="auto">
          <a:xfrm>
            <a:off x="6089306" y="4471443"/>
            <a:ext cx="338137" cy="219075"/>
            <a:chOff x="1897" y="1804"/>
            <a:chExt cx="213" cy="138"/>
          </a:xfrm>
          <a:solidFill>
            <a:schemeClr val="bg1"/>
          </a:solidFill>
        </p:grpSpPr>
        <p:sp>
          <p:nvSpPr>
            <p:cNvPr id="21" name="Freeform 346"/>
            <p:cNvSpPr>
              <a:spLocks noEditPoints="1"/>
            </p:cNvSpPr>
            <p:nvPr/>
          </p:nvSpPr>
          <p:spPr bwMode="auto">
            <a:xfrm>
              <a:off x="1897" y="1804"/>
              <a:ext cx="210" cy="138"/>
            </a:xfrm>
            <a:custGeom>
              <a:avLst/>
              <a:gdLst>
                <a:gd name="T0" fmla="*/ 183 w 419"/>
                <a:gd name="T1" fmla="*/ 1 h 274"/>
                <a:gd name="T2" fmla="*/ 125 w 419"/>
                <a:gd name="T3" fmla="*/ 15 h 274"/>
                <a:gd name="T4" fmla="*/ 74 w 419"/>
                <a:gd name="T5" fmla="*/ 45 h 274"/>
                <a:gd name="T6" fmla="*/ 35 w 419"/>
                <a:gd name="T7" fmla="*/ 89 h 274"/>
                <a:gd name="T8" fmla="*/ 9 w 419"/>
                <a:gd name="T9" fmla="*/ 145 h 274"/>
                <a:gd name="T10" fmla="*/ 0 w 419"/>
                <a:gd name="T11" fmla="*/ 212 h 274"/>
                <a:gd name="T12" fmla="*/ 2 w 419"/>
                <a:gd name="T13" fmla="*/ 240 h 274"/>
                <a:gd name="T14" fmla="*/ 7 w 419"/>
                <a:gd name="T15" fmla="*/ 267 h 274"/>
                <a:gd name="T16" fmla="*/ 10 w 419"/>
                <a:gd name="T17" fmla="*/ 271 h 274"/>
                <a:gd name="T18" fmla="*/ 16 w 419"/>
                <a:gd name="T19" fmla="*/ 271 h 274"/>
                <a:gd name="T20" fmla="*/ 30 w 419"/>
                <a:gd name="T21" fmla="*/ 265 h 274"/>
                <a:gd name="T22" fmla="*/ 33 w 419"/>
                <a:gd name="T23" fmla="*/ 258 h 274"/>
                <a:gd name="T24" fmla="*/ 31 w 419"/>
                <a:gd name="T25" fmla="*/ 232 h 274"/>
                <a:gd name="T26" fmla="*/ 37 w 419"/>
                <a:gd name="T27" fmla="*/ 186 h 274"/>
                <a:gd name="T28" fmla="*/ 57 w 419"/>
                <a:gd name="T29" fmla="*/ 147 h 274"/>
                <a:gd name="T30" fmla="*/ 86 w 419"/>
                <a:gd name="T31" fmla="*/ 114 h 274"/>
                <a:gd name="T32" fmla="*/ 124 w 419"/>
                <a:gd name="T33" fmla="*/ 93 h 274"/>
                <a:gd name="T34" fmla="*/ 167 w 419"/>
                <a:gd name="T35" fmla="*/ 82 h 274"/>
                <a:gd name="T36" fmla="*/ 200 w 419"/>
                <a:gd name="T37" fmla="*/ 82 h 274"/>
                <a:gd name="T38" fmla="*/ 251 w 419"/>
                <a:gd name="T39" fmla="*/ 98 h 274"/>
                <a:gd name="T40" fmla="*/ 291 w 419"/>
                <a:gd name="T41" fmla="*/ 131 h 274"/>
                <a:gd name="T42" fmla="*/ 392 w 419"/>
                <a:gd name="T43" fmla="*/ 107 h 274"/>
                <a:gd name="T44" fmla="*/ 369 w 419"/>
                <a:gd name="T45" fmla="*/ 73 h 274"/>
                <a:gd name="T46" fmla="*/ 340 w 419"/>
                <a:gd name="T47" fmla="*/ 45 h 274"/>
                <a:gd name="T48" fmla="*/ 306 w 419"/>
                <a:gd name="T49" fmla="*/ 22 h 274"/>
                <a:gd name="T50" fmla="*/ 265 w 419"/>
                <a:gd name="T51" fmla="*/ 7 h 274"/>
                <a:gd name="T52" fmla="*/ 220 w 419"/>
                <a:gd name="T53" fmla="*/ 0 h 274"/>
                <a:gd name="T54" fmla="*/ 409 w 419"/>
                <a:gd name="T55" fmla="*/ 146 h 274"/>
                <a:gd name="T56" fmla="*/ 378 w 419"/>
                <a:gd name="T57" fmla="*/ 178 h 274"/>
                <a:gd name="T58" fmla="*/ 381 w 419"/>
                <a:gd name="T59" fmla="*/ 219 h 274"/>
                <a:gd name="T60" fmla="*/ 380 w 419"/>
                <a:gd name="T61" fmla="*/ 242 h 274"/>
                <a:gd name="T62" fmla="*/ 376 w 419"/>
                <a:gd name="T63" fmla="*/ 265 h 274"/>
                <a:gd name="T64" fmla="*/ 407 w 419"/>
                <a:gd name="T65" fmla="*/ 274 h 274"/>
                <a:gd name="T66" fmla="*/ 410 w 419"/>
                <a:gd name="T67" fmla="*/ 272 h 274"/>
                <a:gd name="T68" fmla="*/ 415 w 419"/>
                <a:gd name="T69" fmla="*/ 257 h 274"/>
                <a:gd name="T70" fmla="*/ 419 w 419"/>
                <a:gd name="T71" fmla="*/ 212 h 274"/>
                <a:gd name="T72" fmla="*/ 417 w 419"/>
                <a:gd name="T73" fmla="*/ 178 h 274"/>
                <a:gd name="T74" fmla="*/ 409 w 419"/>
                <a:gd name="T75" fmla="*/ 146 h 274"/>
                <a:gd name="T76" fmla="*/ 326 w 419"/>
                <a:gd name="T77" fmla="*/ 212 h 274"/>
                <a:gd name="T78" fmla="*/ 327 w 419"/>
                <a:gd name="T79" fmla="*/ 242 h 274"/>
                <a:gd name="T80" fmla="*/ 331 w 419"/>
                <a:gd name="T81" fmla="*/ 248 h 274"/>
                <a:gd name="T82" fmla="*/ 364 w 419"/>
                <a:gd name="T83" fmla="*/ 259 h 274"/>
                <a:gd name="T84" fmla="*/ 368 w 419"/>
                <a:gd name="T85" fmla="*/ 219 h 274"/>
                <a:gd name="T86" fmla="*/ 366 w 419"/>
                <a:gd name="T87" fmla="*/ 194 h 274"/>
                <a:gd name="T88" fmla="*/ 324 w 419"/>
                <a:gd name="T89" fmla="*/ 19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19" h="274">
                  <a:moveTo>
                    <a:pt x="202" y="0"/>
                  </a:moveTo>
                  <a:lnTo>
                    <a:pt x="202" y="0"/>
                  </a:lnTo>
                  <a:lnTo>
                    <a:pt x="183" y="1"/>
                  </a:lnTo>
                  <a:lnTo>
                    <a:pt x="162" y="3"/>
                  </a:lnTo>
                  <a:lnTo>
                    <a:pt x="143" y="8"/>
                  </a:lnTo>
                  <a:lnTo>
                    <a:pt x="125" y="15"/>
                  </a:lnTo>
                  <a:lnTo>
                    <a:pt x="107" y="23"/>
                  </a:lnTo>
                  <a:lnTo>
                    <a:pt x="90" y="33"/>
                  </a:lnTo>
                  <a:lnTo>
                    <a:pt x="74" y="45"/>
                  </a:lnTo>
                  <a:lnTo>
                    <a:pt x="60" y="58"/>
                  </a:lnTo>
                  <a:lnTo>
                    <a:pt x="47" y="73"/>
                  </a:lnTo>
                  <a:lnTo>
                    <a:pt x="35" y="89"/>
                  </a:lnTo>
                  <a:lnTo>
                    <a:pt x="24" y="107"/>
                  </a:lnTo>
                  <a:lnTo>
                    <a:pt x="16" y="125"/>
                  </a:lnTo>
                  <a:lnTo>
                    <a:pt x="9" y="145"/>
                  </a:lnTo>
                  <a:lnTo>
                    <a:pt x="4" y="166"/>
                  </a:lnTo>
                  <a:lnTo>
                    <a:pt x="1" y="188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26"/>
                  </a:lnTo>
                  <a:lnTo>
                    <a:pt x="2" y="240"/>
                  </a:lnTo>
                  <a:lnTo>
                    <a:pt x="4" y="254"/>
                  </a:lnTo>
                  <a:lnTo>
                    <a:pt x="7" y="267"/>
                  </a:lnTo>
                  <a:lnTo>
                    <a:pt x="7" y="267"/>
                  </a:lnTo>
                  <a:lnTo>
                    <a:pt x="8" y="269"/>
                  </a:lnTo>
                  <a:lnTo>
                    <a:pt x="10" y="271"/>
                  </a:lnTo>
                  <a:lnTo>
                    <a:pt x="10" y="271"/>
                  </a:lnTo>
                  <a:lnTo>
                    <a:pt x="13" y="271"/>
                  </a:lnTo>
                  <a:lnTo>
                    <a:pt x="13" y="271"/>
                  </a:lnTo>
                  <a:lnTo>
                    <a:pt x="16" y="271"/>
                  </a:lnTo>
                  <a:lnTo>
                    <a:pt x="16" y="271"/>
                  </a:lnTo>
                  <a:lnTo>
                    <a:pt x="30" y="265"/>
                  </a:lnTo>
                  <a:lnTo>
                    <a:pt x="30" y="265"/>
                  </a:lnTo>
                  <a:lnTo>
                    <a:pt x="33" y="261"/>
                  </a:lnTo>
                  <a:lnTo>
                    <a:pt x="33" y="258"/>
                  </a:lnTo>
                  <a:lnTo>
                    <a:pt x="33" y="258"/>
                  </a:lnTo>
                  <a:lnTo>
                    <a:pt x="31" y="245"/>
                  </a:lnTo>
                  <a:lnTo>
                    <a:pt x="31" y="232"/>
                  </a:lnTo>
                  <a:lnTo>
                    <a:pt x="31" y="232"/>
                  </a:lnTo>
                  <a:lnTo>
                    <a:pt x="32" y="216"/>
                  </a:lnTo>
                  <a:lnTo>
                    <a:pt x="34" y="201"/>
                  </a:lnTo>
                  <a:lnTo>
                    <a:pt x="37" y="186"/>
                  </a:lnTo>
                  <a:lnTo>
                    <a:pt x="43" y="172"/>
                  </a:lnTo>
                  <a:lnTo>
                    <a:pt x="49" y="159"/>
                  </a:lnTo>
                  <a:lnTo>
                    <a:pt x="57" y="147"/>
                  </a:lnTo>
                  <a:lnTo>
                    <a:pt x="65" y="135"/>
                  </a:lnTo>
                  <a:lnTo>
                    <a:pt x="75" y="124"/>
                  </a:lnTo>
                  <a:lnTo>
                    <a:pt x="86" y="114"/>
                  </a:lnTo>
                  <a:lnTo>
                    <a:pt x="98" y="106"/>
                  </a:lnTo>
                  <a:lnTo>
                    <a:pt x="111" y="99"/>
                  </a:lnTo>
                  <a:lnTo>
                    <a:pt x="124" y="93"/>
                  </a:lnTo>
                  <a:lnTo>
                    <a:pt x="138" y="87"/>
                  </a:lnTo>
                  <a:lnTo>
                    <a:pt x="152" y="84"/>
                  </a:lnTo>
                  <a:lnTo>
                    <a:pt x="167" y="82"/>
                  </a:lnTo>
                  <a:lnTo>
                    <a:pt x="182" y="81"/>
                  </a:lnTo>
                  <a:lnTo>
                    <a:pt x="182" y="81"/>
                  </a:lnTo>
                  <a:lnTo>
                    <a:pt x="200" y="82"/>
                  </a:lnTo>
                  <a:lnTo>
                    <a:pt x="218" y="85"/>
                  </a:lnTo>
                  <a:lnTo>
                    <a:pt x="235" y="91"/>
                  </a:lnTo>
                  <a:lnTo>
                    <a:pt x="251" y="98"/>
                  </a:lnTo>
                  <a:lnTo>
                    <a:pt x="266" y="107"/>
                  </a:lnTo>
                  <a:lnTo>
                    <a:pt x="279" y="118"/>
                  </a:lnTo>
                  <a:lnTo>
                    <a:pt x="291" y="131"/>
                  </a:lnTo>
                  <a:lnTo>
                    <a:pt x="301" y="143"/>
                  </a:lnTo>
                  <a:lnTo>
                    <a:pt x="392" y="107"/>
                  </a:lnTo>
                  <a:lnTo>
                    <a:pt x="392" y="107"/>
                  </a:lnTo>
                  <a:lnTo>
                    <a:pt x="386" y="96"/>
                  </a:lnTo>
                  <a:lnTo>
                    <a:pt x="378" y="84"/>
                  </a:lnTo>
                  <a:lnTo>
                    <a:pt x="369" y="73"/>
                  </a:lnTo>
                  <a:lnTo>
                    <a:pt x="361" y="63"/>
                  </a:lnTo>
                  <a:lnTo>
                    <a:pt x="351" y="54"/>
                  </a:lnTo>
                  <a:lnTo>
                    <a:pt x="340" y="45"/>
                  </a:lnTo>
                  <a:lnTo>
                    <a:pt x="330" y="38"/>
                  </a:lnTo>
                  <a:lnTo>
                    <a:pt x="318" y="30"/>
                  </a:lnTo>
                  <a:lnTo>
                    <a:pt x="306" y="22"/>
                  </a:lnTo>
                  <a:lnTo>
                    <a:pt x="293" y="17"/>
                  </a:lnTo>
                  <a:lnTo>
                    <a:pt x="279" y="12"/>
                  </a:lnTo>
                  <a:lnTo>
                    <a:pt x="265" y="7"/>
                  </a:lnTo>
                  <a:lnTo>
                    <a:pt x="250" y="4"/>
                  </a:lnTo>
                  <a:lnTo>
                    <a:pt x="235" y="2"/>
                  </a:lnTo>
                  <a:lnTo>
                    <a:pt x="220" y="0"/>
                  </a:lnTo>
                  <a:lnTo>
                    <a:pt x="202" y="0"/>
                  </a:lnTo>
                  <a:lnTo>
                    <a:pt x="202" y="0"/>
                  </a:lnTo>
                  <a:close/>
                  <a:moveTo>
                    <a:pt x="409" y="146"/>
                  </a:moveTo>
                  <a:lnTo>
                    <a:pt x="375" y="165"/>
                  </a:lnTo>
                  <a:lnTo>
                    <a:pt x="375" y="165"/>
                  </a:lnTo>
                  <a:lnTo>
                    <a:pt x="378" y="178"/>
                  </a:lnTo>
                  <a:lnTo>
                    <a:pt x="380" y="191"/>
                  </a:lnTo>
                  <a:lnTo>
                    <a:pt x="381" y="205"/>
                  </a:lnTo>
                  <a:lnTo>
                    <a:pt x="381" y="219"/>
                  </a:lnTo>
                  <a:lnTo>
                    <a:pt x="381" y="219"/>
                  </a:lnTo>
                  <a:lnTo>
                    <a:pt x="381" y="231"/>
                  </a:lnTo>
                  <a:lnTo>
                    <a:pt x="380" y="242"/>
                  </a:lnTo>
                  <a:lnTo>
                    <a:pt x="379" y="254"/>
                  </a:lnTo>
                  <a:lnTo>
                    <a:pt x="376" y="265"/>
                  </a:lnTo>
                  <a:lnTo>
                    <a:pt x="376" y="265"/>
                  </a:lnTo>
                  <a:lnTo>
                    <a:pt x="405" y="274"/>
                  </a:lnTo>
                  <a:lnTo>
                    <a:pt x="405" y="274"/>
                  </a:lnTo>
                  <a:lnTo>
                    <a:pt x="407" y="274"/>
                  </a:lnTo>
                  <a:lnTo>
                    <a:pt x="409" y="274"/>
                  </a:lnTo>
                  <a:lnTo>
                    <a:pt x="409" y="274"/>
                  </a:lnTo>
                  <a:lnTo>
                    <a:pt x="410" y="272"/>
                  </a:lnTo>
                  <a:lnTo>
                    <a:pt x="411" y="271"/>
                  </a:lnTo>
                  <a:lnTo>
                    <a:pt x="411" y="271"/>
                  </a:lnTo>
                  <a:lnTo>
                    <a:pt x="415" y="257"/>
                  </a:lnTo>
                  <a:lnTo>
                    <a:pt x="417" y="241"/>
                  </a:lnTo>
                  <a:lnTo>
                    <a:pt x="419" y="226"/>
                  </a:lnTo>
                  <a:lnTo>
                    <a:pt x="419" y="212"/>
                  </a:lnTo>
                  <a:lnTo>
                    <a:pt x="419" y="212"/>
                  </a:lnTo>
                  <a:lnTo>
                    <a:pt x="418" y="194"/>
                  </a:lnTo>
                  <a:lnTo>
                    <a:pt x="417" y="178"/>
                  </a:lnTo>
                  <a:lnTo>
                    <a:pt x="414" y="162"/>
                  </a:lnTo>
                  <a:lnTo>
                    <a:pt x="409" y="146"/>
                  </a:lnTo>
                  <a:lnTo>
                    <a:pt x="409" y="146"/>
                  </a:lnTo>
                  <a:close/>
                  <a:moveTo>
                    <a:pt x="324" y="194"/>
                  </a:moveTo>
                  <a:lnTo>
                    <a:pt x="324" y="194"/>
                  </a:lnTo>
                  <a:lnTo>
                    <a:pt x="326" y="212"/>
                  </a:lnTo>
                  <a:lnTo>
                    <a:pt x="327" y="230"/>
                  </a:lnTo>
                  <a:lnTo>
                    <a:pt x="327" y="230"/>
                  </a:lnTo>
                  <a:lnTo>
                    <a:pt x="327" y="242"/>
                  </a:lnTo>
                  <a:lnTo>
                    <a:pt x="327" y="242"/>
                  </a:lnTo>
                  <a:lnTo>
                    <a:pt x="328" y="245"/>
                  </a:lnTo>
                  <a:lnTo>
                    <a:pt x="331" y="248"/>
                  </a:lnTo>
                  <a:lnTo>
                    <a:pt x="331" y="248"/>
                  </a:lnTo>
                  <a:lnTo>
                    <a:pt x="364" y="259"/>
                  </a:lnTo>
                  <a:lnTo>
                    <a:pt x="364" y="259"/>
                  </a:lnTo>
                  <a:lnTo>
                    <a:pt x="365" y="251"/>
                  </a:lnTo>
                  <a:lnTo>
                    <a:pt x="367" y="240"/>
                  </a:lnTo>
                  <a:lnTo>
                    <a:pt x="368" y="219"/>
                  </a:lnTo>
                  <a:lnTo>
                    <a:pt x="368" y="219"/>
                  </a:lnTo>
                  <a:lnTo>
                    <a:pt x="367" y="207"/>
                  </a:lnTo>
                  <a:lnTo>
                    <a:pt x="366" y="194"/>
                  </a:lnTo>
                  <a:lnTo>
                    <a:pt x="365" y="182"/>
                  </a:lnTo>
                  <a:lnTo>
                    <a:pt x="363" y="172"/>
                  </a:lnTo>
                  <a:lnTo>
                    <a:pt x="324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347"/>
            <p:cNvSpPr>
              <a:spLocks noEditPoints="1"/>
            </p:cNvSpPr>
            <p:nvPr/>
          </p:nvSpPr>
          <p:spPr bwMode="auto">
            <a:xfrm>
              <a:off x="1972" y="1859"/>
              <a:ext cx="138" cy="82"/>
            </a:xfrm>
            <a:custGeom>
              <a:avLst/>
              <a:gdLst>
                <a:gd name="T0" fmla="*/ 276 w 276"/>
                <a:gd name="T1" fmla="*/ 5 h 162"/>
                <a:gd name="T2" fmla="*/ 272 w 276"/>
                <a:gd name="T3" fmla="*/ 1 h 162"/>
                <a:gd name="T4" fmla="*/ 269 w 276"/>
                <a:gd name="T5" fmla="*/ 0 h 162"/>
                <a:gd name="T6" fmla="*/ 75 w 276"/>
                <a:gd name="T7" fmla="*/ 78 h 162"/>
                <a:gd name="T8" fmla="*/ 70 w 276"/>
                <a:gd name="T9" fmla="*/ 76 h 162"/>
                <a:gd name="T10" fmla="*/ 67 w 276"/>
                <a:gd name="T11" fmla="*/ 73 h 162"/>
                <a:gd name="T12" fmla="*/ 59 w 276"/>
                <a:gd name="T13" fmla="*/ 70 h 162"/>
                <a:gd name="T14" fmla="*/ 40 w 276"/>
                <a:gd name="T15" fmla="*/ 69 h 162"/>
                <a:gd name="T16" fmla="*/ 23 w 276"/>
                <a:gd name="T17" fmla="*/ 75 h 162"/>
                <a:gd name="T18" fmla="*/ 10 w 276"/>
                <a:gd name="T19" fmla="*/ 86 h 162"/>
                <a:gd name="T20" fmla="*/ 5 w 276"/>
                <a:gd name="T21" fmla="*/ 95 h 162"/>
                <a:gd name="T22" fmla="*/ 0 w 276"/>
                <a:gd name="T23" fmla="*/ 112 h 162"/>
                <a:gd name="T24" fmla="*/ 1 w 276"/>
                <a:gd name="T25" fmla="*/ 129 h 162"/>
                <a:gd name="T26" fmla="*/ 10 w 276"/>
                <a:gd name="T27" fmla="*/ 145 h 162"/>
                <a:gd name="T28" fmla="*/ 23 w 276"/>
                <a:gd name="T29" fmla="*/ 156 h 162"/>
                <a:gd name="T30" fmla="*/ 26 w 276"/>
                <a:gd name="T31" fmla="*/ 158 h 162"/>
                <a:gd name="T32" fmla="*/ 35 w 276"/>
                <a:gd name="T33" fmla="*/ 161 h 162"/>
                <a:gd name="T34" fmla="*/ 53 w 276"/>
                <a:gd name="T35" fmla="*/ 162 h 162"/>
                <a:gd name="T36" fmla="*/ 70 w 276"/>
                <a:gd name="T37" fmla="*/ 157 h 162"/>
                <a:gd name="T38" fmla="*/ 83 w 276"/>
                <a:gd name="T39" fmla="*/ 145 h 162"/>
                <a:gd name="T40" fmla="*/ 89 w 276"/>
                <a:gd name="T41" fmla="*/ 136 h 162"/>
                <a:gd name="T42" fmla="*/ 93 w 276"/>
                <a:gd name="T43" fmla="*/ 118 h 162"/>
                <a:gd name="T44" fmla="*/ 272 w 276"/>
                <a:gd name="T45" fmla="*/ 16 h 162"/>
                <a:gd name="T46" fmla="*/ 276 w 276"/>
                <a:gd name="T47" fmla="*/ 12 h 162"/>
                <a:gd name="T48" fmla="*/ 276 w 276"/>
                <a:gd name="T49" fmla="*/ 5 h 162"/>
                <a:gd name="T50" fmla="*/ 54 w 276"/>
                <a:gd name="T51" fmla="*/ 138 h 162"/>
                <a:gd name="T52" fmla="*/ 50 w 276"/>
                <a:gd name="T53" fmla="*/ 139 h 162"/>
                <a:gd name="T54" fmla="*/ 40 w 276"/>
                <a:gd name="T55" fmla="*/ 139 h 162"/>
                <a:gd name="T56" fmla="*/ 36 w 276"/>
                <a:gd name="T57" fmla="*/ 137 h 162"/>
                <a:gd name="T58" fmla="*/ 35 w 276"/>
                <a:gd name="T59" fmla="*/ 136 h 162"/>
                <a:gd name="T60" fmla="*/ 27 w 276"/>
                <a:gd name="T61" fmla="*/ 131 h 162"/>
                <a:gd name="T62" fmla="*/ 24 w 276"/>
                <a:gd name="T63" fmla="*/ 122 h 162"/>
                <a:gd name="T64" fmla="*/ 23 w 276"/>
                <a:gd name="T65" fmla="*/ 114 h 162"/>
                <a:gd name="T66" fmla="*/ 25 w 276"/>
                <a:gd name="T67" fmla="*/ 105 h 162"/>
                <a:gd name="T68" fmla="*/ 27 w 276"/>
                <a:gd name="T69" fmla="*/ 101 h 162"/>
                <a:gd name="T70" fmla="*/ 35 w 276"/>
                <a:gd name="T71" fmla="*/ 95 h 162"/>
                <a:gd name="T72" fmla="*/ 44 w 276"/>
                <a:gd name="T73" fmla="*/ 92 h 162"/>
                <a:gd name="T74" fmla="*/ 53 w 276"/>
                <a:gd name="T75" fmla="*/ 92 h 162"/>
                <a:gd name="T76" fmla="*/ 58 w 276"/>
                <a:gd name="T77" fmla="*/ 94 h 162"/>
                <a:gd name="T78" fmla="*/ 60 w 276"/>
                <a:gd name="T79" fmla="*/ 95 h 162"/>
                <a:gd name="T80" fmla="*/ 66 w 276"/>
                <a:gd name="T81" fmla="*/ 102 h 162"/>
                <a:gd name="T82" fmla="*/ 69 w 276"/>
                <a:gd name="T83" fmla="*/ 109 h 162"/>
                <a:gd name="T84" fmla="*/ 70 w 276"/>
                <a:gd name="T85" fmla="*/ 118 h 162"/>
                <a:gd name="T86" fmla="*/ 68 w 276"/>
                <a:gd name="T87" fmla="*/ 126 h 162"/>
                <a:gd name="T88" fmla="*/ 66 w 276"/>
                <a:gd name="T89" fmla="*/ 131 h 162"/>
                <a:gd name="T90" fmla="*/ 59 w 276"/>
                <a:gd name="T91" fmla="*/ 136 h 162"/>
                <a:gd name="T92" fmla="*/ 54 w 276"/>
                <a:gd name="T93" fmla="*/ 13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6" h="162">
                  <a:moveTo>
                    <a:pt x="276" y="5"/>
                  </a:moveTo>
                  <a:lnTo>
                    <a:pt x="276" y="5"/>
                  </a:lnTo>
                  <a:lnTo>
                    <a:pt x="274" y="3"/>
                  </a:lnTo>
                  <a:lnTo>
                    <a:pt x="272" y="1"/>
                  </a:lnTo>
                  <a:lnTo>
                    <a:pt x="272" y="1"/>
                  </a:lnTo>
                  <a:lnTo>
                    <a:pt x="269" y="0"/>
                  </a:lnTo>
                  <a:lnTo>
                    <a:pt x="266" y="1"/>
                  </a:lnTo>
                  <a:lnTo>
                    <a:pt x="75" y="78"/>
                  </a:lnTo>
                  <a:lnTo>
                    <a:pt x="75" y="78"/>
                  </a:lnTo>
                  <a:lnTo>
                    <a:pt x="70" y="76"/>
                  </a:lnTo>
                  <a:lnTo>
                    <a:pt x="70" y="76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59" y="70"/>
                  </a:lnTo>
                  <a:lnTo>
                    <a:pt x="50" y="69"/>
                  </a:lnTo>
                  <a:lnTo>
                    <a:pt x="40" y="69"/>
                  </a:lnTo>
                  <a:lnTo>
                    <a:pt x="32" y="71"/>
                  </a:lnTo>
                  <a:lnTo>
                    <a:pt x="23" y="75"/>
                  </a:lnTo>
                  <a:lnTo>
                    <a:pt x="17" y="80"/>
                  </a:lnTo>
                  <a:lnTo>
                    <a:pt x="10" y="86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1" y="104"/>
                  </a:lnTo>
                  <a:lnTo>
                    <a:pt x="0" y="112"/>
                  </a:lnTo>
                  <a:lnTo>
                    <a:pt x="0" y="121"/>
                  </a:lnTo>
                  <a:lnTo>
                    <a:pt x="1" y="129"/>
                  </a:lnTo>
                  <a:lnTo>
                    <a:pt x="5" y="137"/>
                  </a:lnTo>
                  <a:lnTo>
                    <a:pt x="10" y="145"/>
                  </a:lnTo>
                  <a:lnTo>
                    <a:pt x="15" y="150"/>
                  </a:lnTo>
                  <a:lnTo>
                    <a:pt x="23" y="156"/>
                  </a:lnTo>
                  <a:lnTo>
                    <a:pt x="23" y="156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35" y="161"/>
                  </a:lnTo>
                  <a:lnTo>
                    <a:pt x="45" y="162"/>
                  </a:lnTo>
                  <a:lnTo>
                    <a:pt x="53" y="162"/>
                  </a:lnTo>
                  <a:lnTo>
                    <a:pt x="62" y="160"/>
                  </a:lnTo>
                  <a:lnTo>
                    <a:pt x="70" y="157"/>
                  </a:lnTo>
                  <a:lnTo>
                    <a:pt x="77" y="151"/>
                  </a:lnTo>
                  <a:lnTo>
                    <a:pt x="83" y="145"/>
                  </a:lnTo>
                  <a:lnTo>
                    <a:pt x="89" y="136"/>
                  </a:lnTo>
                  <a:lnTo>
                    <a:pt x="89" y="136"/>
                  </a:lnTo>
                  <a:lnTo>
                    <a:pt x="92" y="128"/>
                  </a:lnTo>
                  <a:lnTo>
                    <a:pt x="93" y="118"/>
                  </a:lnTo>
                  <a:lnTo>
                    <a:pt x="272" y="16"/>
                  </a:lnTo>
                  <a:lnTo>
                    <a:pt x="272" y="16"/>
                  </a:lnTo>
                  <a:lnTo>
                    <a:pt x="274" y="14"/>
                  </a:lnTo>
                  <a:lnTo>
                    <a:pt x="276" y="12"/>
                  </a:lnTo>
                  <a:lnTo>
                    <a:pt x="276" y="9"/>
                  </a:lnTo>
                  <a:lnTo>
                    <a:pt x="276" y="5"/>
                  </a:lnTo>
                  <a:lnTo>
                    <a:pt x="276" y="5"/>
                  </a:lnTo>
                  <a:close/>
                  <a:moveTo>
                    <a:pt x="54" y="138"/>
                  </a:moveTo>
                  <a:lnTo>
                    <a:pt x="54" y="138"/>
                  </a:lnTo>
                  <a:lnTo>
                    <a:pt x="50" y="139"/>
                  </a:lnTo>
                  <a:lnTo>
                    <a:pt x="46" y="139"/>
                  </a:lnTo>
                  <a:lnTo>
                    <a:pt x="40" y="139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5" y="136"/>
                  </a:lnTo>
                  <a:lnTo>
                    <a:pt x="35" y="136"/>
                  </a:lnTo>
                  <a:lnTo>
                    <a:pt x="31" y="134"/>
                  </a:lnTo>
                  <a:lnTo>
                    <a:pt x="27" y="131"/>
                  </a:lnTo>
                  <a:lnTo>
                    <a:pt x="25" y="126"/>
                  </a:lnTo>
                  <a:lnTo>
                    <a:pt x="24" y="122"/>
                  </a:lnTo>
                  <a:lnTo>
                    <a:pt x="23" y="118"/>
                  </a:lnTo>
                  <a:lnTo>
                    <a:pt x="23" y="114"/>
                  </a:lnTo>
                  <a:lnTo>
                    <a:pt x="23" y="109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7" y="101"/>
                  </a:lnTo>
                  <a:lnTo>
                    <a:pt x="31" y="97"/>
                  </a:lnTo>
                  <a:lnTo>
                    <a:pt x="35" y="95"/>
                  </a:lnTo>
                  <a:lnTo>
                    <a:pt x="39" y="93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53" y="92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3" y="97"/>
                  </a:lnTo>
                  <a:lnTo>
                    <a:pt x="66" y="102"/>
                  </a:lnTo>
                  <a:lnTo>
                    <a:pt x="68" y="105"/>
                  </a:lnTo>
                  <a:lnTo>
                    <a:pt x="69" y="109"/>
                  </a:lnTo>
                  <a:lnTo>
                    <a:pt x="70" y="114"/>
                  </a:lnTo>
                  <a:lnTo>
                    <a:pt x="70" y="118"/>
                  </a:lnTo>
                  <a:lnTo>
                    <a:pt x="70" y="122"/>
                  </a:lnTo>
                  <a:lnTo>
                    <a:pt x="68" y="126"/>
                  </a:lnTo>
                  <a:lnTo>
                    <a:pt x="68" y="126"/>
                  </a:lnTo>
                  <a:lnTo>
                    <a:pt x="66" y="131"/>
                  </a:lnTo>
                  <a:lnTo>
                    <a:pt x="63" y="134"/>
                  </a:lnTo>
                  <a:lnTo>
                    <a:pt x="59" y="136"/>
                  </a:lnTo>
                  <a:lnTo>
                    <a:pt x="54" y="138"/>
                  </a:lnTo>
                  <a:lnTo>
                    <a:pt x="54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Line 348"/>
            <p:cNvSpPr>
              <a:spLocks noChangeShapeType="1"/>
            </p:cNvSpPr>
            <p:nvPr/>
          </p:nvSpPr>
          <p:spPr bwMode="auto">
            <a:xfrm>
              <a:off x="2051" y="1885"/>
              <a:ext cx="0" cy="0"/>
            </a:xfrm>
            <a:prstGeom prst="line">
              <a:avLst/>
            </a:prstGeom>
            <a:grpFill/>
            <a:ln w="9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Line 349"/>
            <p:cNvSpPr>
              <a:spLocks noChangeShapeType="1"/>
            </p:cNvSpPr>
            <p:nvPr/>
          </p:nvSpPr>
          <p:spPr bwMode="auto">
            <a:xfrm>
              <a:off x="2075" y="1871"/>
              <a:ext cx="0" cy="0"/>
            </a:xfrm>
            <a:prstGeom prst="line">
              <a:avLst/>
            </a:prstGeom>
            <a:grpFill/>
            <a:ln w="9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25" name="Group 4"/>
          <p:cNvGrpSpPr>
            <a:grpSpLocks noChangeAspect="1"/>
          </p:cNvGrpSpPr>
          <p:nvPr/>
        </p:nvGrpSpPr>
        <p:grpSpPr bwMode="auto">
          <a:xfrm>
            <a:off x="6090099" y="3128005"/>
            <a:ext cx="336550" cy="339725"/>
            <a:chOff x="1908" y="2354"/>
            <a:chExt cx="212" cy="214"/>
          </a:xfrm>
          <a:solidFill>
            <a:schemeClr val="bg1"/>
          </a:solidFill>
        </p:grpSpPr>
        <p:sp>
          <p:nvSpPr>
            <p:cNvPr id="26" name="Freeform 5"/>
            <p:cNvSpPr>
              <a:spLocks/>
            </p:cNvSpPr>
            <p:nvPr/>
          </p:nvSpPr>
          <p:spPr bwMode="auto">
            <a:xfrm>
              <a:off x="1908" y="2402"/>
              <a:ext cx="212" cy="166"/>
            </a:xfrm>
            <a:custGeom>
              <a:avLst/>
              <a:gdLst>
                <a:gd name="T0" fmla="*/ 424 w 424"/>
                <a:gd name="T1" fmla="*/ 284 h 331"/>
                <a:gd name="T2" fmla="*/ 424 w 424"/>
                <a:gd name="T3" fmla="*/ 28 h 331"/>
                <a:gd name="T4" fmla="*/ 424 w 424"/>
                <a:gd name="T5" fmla="*/ 28 h 331"/>
                <a:gd name="T6" fmla="*/ 424 w 424"/>
                <a:gd name="T7" fmla="*/ 23 h 331"/>
                <a:gd name="T8" fmla="*/ 422 w 424"/>
                <a:gd name="T9" fmla="*/ 17 h 331"/>
                <a:gd name="T10" fmla="*/ 420 w 424"/>
                <a:gd name="T11" fmla="*/ 12 h 331"/>
                <a:gd name="T12" fmla="*/ 417 w 424"/>
                <a:gd name="T13" fmla="*/ 7 h 331"/>
                <a:gd name="T14" fmla="*/ 412 w 424"/>
                <a:gd name="T15" fmla="*/ 4 h 331"/>
                <a:gd name="T16" fmla="*/ 407 w 424"/>
                <a:gd name="T17" fmla="*/ 2 h 331"/>
                <a:gd name="T18" fmla="*/ 402 w 424"/>
                <a:gd name="T19" fmla="*/ 0 h 331"/>
                <a:gd name="T20" fmla="*/ 396 w 424"/>
                <a:gd name="T21" fmla="*/ 0 h 331"/>
                <a:gd name="T22" fmla="*/ 257 w 424"/>
                <a:gd name="T23" fmla="*/ 0 h 331"/>
                <a:gd name="T24" fmla="*/ 257 w 424"/>
                <a:gd name="T25" fmla="*/ 0 h 331"/>
                <a:gd name="T26" fmla="*/ 257 w 424"/>
                <a:gd name="T27" fmla="*/ 0 h 331"/>
                <a:gd name="T28" fmla="*/ 268 w 424"/>
                <a:gd name="T29" fmla="*/ 28 h 331"/>
                <a:gd name="T30" fmla="*/ 396 w 424"/>
                <a:gd name="T31" fmla="*/ 28 h 331"/>
                <a:gd name="T32" fmla="*/ 396 w 424"/>
                <a:gd name="T33" fmla="*/ 256 h 331"/>
                <a:gd name="T34" fmla="*/ 28 w 424"/>
                <a:gd name="T35" fmla="*/ 256 h 331"/>
                <a:gd name="T36" fmla="*/ 28 w 424"/>
                <a:gd name="T37" fmla="*/ 28 h 331"/>
                <a:gd name="T38" fmla="*/ 161 w 424"/>
                <a:gd name="T39" fmla="*/ 28 h 331"/>
                <a:gd name="T40" fmla="*/ 172 w 424"/>
                <a:gd name="T41" fmla="*/ 0 h 331"/>
                <a:gd name="T42" fmla="*/ 172 w 424"/>
                <a:gd name="T43" fmla="*/ 0 h 331"/>
                <a:gd name="T44" fmla="*/ 172 w 424"/>
                <a:gd name="T45" fmla="*/ 0 h 331"/>
                <a:gd name="T46" fmla="*/ 0 w 424"/>
                <a:gd name="T47" fmla="*/ 0 h 331"/>
                <a:gd name="T48" fmla="*/ 0 w 424"/>
                <a:gd name="T49" fmla="*/ 256 h 331"/>
                <a:gd name="T50" fmla="*/ 0 w 424"/>
                <a:gd name="T51" fmla="*/ 256 h 331"/>
                <a:gd name="T52" fmla="*/ 0 w 424"/>
                <a:gd name="T53" fmla="*/ 261 h 331"/>
                <a:gd name="T54" fmla="*/ 2 w 424"/>
                <a:gd name="T55" fmla="*/ 267 h 331"/>
                <a:gd name="T56" fmla="*/ 4 w 424"/>
                <a:gd name="T57" fmla="*/ 271 h 331"/>
                <a:gd name="T58" fmla="*/ 7 w 424"/>
                <a:gd name="T59" fmla="*/ 275 h 331"/>
                <a:gd name="T60" fmla="*/ 11 w 424"/>
                <a:gd name="T61" fmla="*/ 278 h 331"/>
                <a:gd name="T62" fmla="*/ 17 w 424"/>
                <a:gd name="T63" fmla="*/ 282 h 331"/>
                <a:gd name="T64" fmla="*/ 22 w 424"/>
                <a:gd name="T65" fmla="*/ 283 h 331"/>
                <a:gd name="T66" fmla="*/ 28 w 424"/>
                <a:gd name="T67" fmla="*/ 284 h 331"/>
                <a:gd name="T68" fmla="*/ 170 w 424"/>
                <a:gd name="T69" fmla="*/ 284 h 331"/>
                <a:gd name="T70" fmla="*/ 170 w 424"/>
                <a:gd name="T71" fmla="*/ 312 h 331"/>
                <a:gd name="T72" fmla="*/ 117 w 424"/>
                <a:gd name="T73" fmla="*/ 312 h 331"/>
                <a:gd name="T74" fmla="*/ 117 w 424"/>
                <a:gd name="T75" fmla="*/ 331 h 331"/>
                <a:gd name="T76" fmla="*/ 307 w 424"/>
                <a:gd name="T77" fmla="*/ 331 h 331"/>
                <a:gd name="T78" fmla="*/ 307 w 424"/>
                <a:gd name="T79" fmla="*/ 312 h 331"/>
                <a:gd name="T80" fmla="*/ 254 w 424"/>
                <a:gd name="T81" fmla="*/ 312 h 331"/>
                <a:gd name="T82" fmla="*/ 254 w 424"/>
                <a:gd name="T83" fmla="*/ 284 h 331"/>
                <a:gd name="T84" fmla="*/ 424 w 424"/>
                <a:gd name="T85" fmla="*/ 28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4" h="331">
                  <a:moveTo>
                    <a:pt x="424" y="284"/>
                  </a:moveTo>
                  <a:lnTo>
                    <a:pt x="424" y="28"/>
                  </a:lnTo>
                  <a:lnTo>
                    <a:pt x="424" y="28"/>
                  </a:lnTo>
                  <a:lnTo>
                    <a:pt x="424" y="23"/>
                  </a:lnTo>
                  <a:lnTo>
                    <a:pt x="422" y="17"/>
                  </a:lnTo>
                  <a:lnTo>
                    <a:pt x="420" y="12"/>
                  </a:lnTo>
                  <a:lnTo>
                    <a:pt x="417" y="7"/>
                  </a:lnTo>
                  <a:lnTo>
                    <a:pt x="412" y="4"/>
                  </a:lnTo>
                  <a:lnTo>
                    <a:pt x="407" y="2"/>
                  </a:lnTo>
                  <a:lnTo>
                    <a:pt x="402" y="0"/>
                  </a:lnTo>
                  <a:lnTo>
                    <a:pt x="396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68" y="28"/>
                  </a:lnTo>
                  <a:lnTo>
                    <a:pt x="396" y="28"/>
                  </a:lnTo>
                  <a:lnTo>
                    <a:pt x="396" y="256"/>
                  </a:lnTo>
                  <a:lnTo>
                    <a:pt x="28" y="256"/>
                  </a:lnTo>
                  <a:lnTo>
                    <a:pt x="28" y="28"/>
                  </a:lnTo>
                  <a:lnTo>
                    <a:pt x="161" y="28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0" y="0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61"/>
                  </a:lnTo>
                  <a:lnTo>
                    <a:pt x="2" y="267"/>
                  </a:lnTo>
                  <a:lnTo>
                    <a:pt x="4" y="271"/>
                  </a:lnTo>
                  <a:lnTo>
                    <a:pt x="7" y="275"/>
                  </a:lnTo>
                  <a:lnTo>
                    <a:pt x="11" y="278"/>
                  </a:lnTo>
                  <a:lnTo>
                    <a:pt x="17" y="282"/>
                  </a:lnTo>
                  <a:lnTo>
                    <a:pt x="22" y="283"/>
                  </a:lnTo>
                  <a:lnTo>
                    <a:pt x="28" y="284"/>
                  </a:lnTo>
                  <a:lnTo>
                    <a:pt x="170" y="284"/>
                  </a:lnTo>
                  <a:lnTo>
                    <a:pt x="170" y="312"/>
                  </a:lnTo>
                  <a:lnTo>
                    <a:pt x="117" y="312"/>
                  </a:lnTo>
                  <a:lnTo>
                    <a:pt x="117" y="331"/>
                  </a:lnTo>
                  <a:lnTo>
                    <a:pt x="307" y="331"/>
                  </a:lnTo>
                  <a:lnTo>
                    <a:pt x="307" y="312"/>
                  </a:lnTo>
                  <a:lnTo>
                    <a:pt x="254" y="312"/>
                  </a:lnTo>
                  <a:lnTo>
                    <a:pt x="254" y="284"/>
                  </a:lnTo>
                  <a:lnTo>
                    <a:pt x="424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6"/>
            <p:cNvSpPr>
              <a:spLocks noEditPoints="1"/>
            </p:cNvSpPr>
            <p:nvPr/>
          </p:nvSpPr>
          <p:spPr bwMode="auto">
            <a:xfrm>
              <a:off x="1968" y="2354"/>
              <a:ext cx="96" cy="154"/>
            </a:xfrm>
            <a:custGeom>
              <a:avLst/>
              <a:gdLst>
                <a:gd name="T0" fmla="*/ 152 w 192"/>
                <a:gd name="T1" fmla="*/ 179 h 307"/>
                <a:gd name="T2" fmla="*/ 182 w 192"/>
                <a:gd name="T3" fmla="*/ 162 h 307"/>
                <a:gd name="T4" fmla="*/ 118 w 192"/>
                <a:gd name="T5" fmla="*/ 90 h 307"/>
                <a:gd name="T6" fmla="*/ 126 w 192"/>
                <a:gd name="T7" fmla="*/ 84 h 307"/>
                <a:gd name="T8" fmla="*/ 134 w 192"/>
                <a:gd name="T9" fmla="*/ 71 h 307"/>
                <a:gd name="T10" fmla="*/ 137 w 192"/>
                <a:gd name="T11" fmla="*/ 61 h 307"/>
                <a:gd name="T12" fmla="*/ 137 w 192"/>
                <a:gd name="T13" fmla="*/ 56 h 307"/>
                <a:gd name="T14" fmla="*/ 136 w 192"/>
                <a:gd name="T15" fmla="*/ 48 h 307"/>
                <a:gd name="T16" fmla="*/ 132 w 192"/>
                <a:gd name="T17" fmla="*/ 35 h 307"/>
                <a:gd name="T18" fmla="*/ 123 w 192"/>
                <a:gd name="T19" fmla="*/ 25 h 307"/>
                <a:gd name="T20" fmla="*/ 111 w 192"/>
                <a:gd name="T21" fmla="*/ 17 h 307"/>
                <a:gd name="T22" fmla="*/ 105 w 192"/>
                <a:gd name="T23" fmla="*/ 0 h 307"/>
                <a:gd name="T24" fmla="*/ 88 w 192"/>
                <a:gd name="T25" fmla="*/ 15 h 307"/>
                <a:gd name="T26" fmla="*/ 80 w 192"/>
                <a:gd name="T27" fmla="*/ 17 h 307"/>
                <a:gd name="T28" fmla="*/ 69 w 192"/>
                <a:gd name="T29" fmla="*/ 25 h 307"/>
                <a:gd name="T30" fmla="*/ 60 w 192"/>
                <a:gd name="T31" fmla="*/ 35 h 307"/>
                <a:gd name="T32" fmla="*/ 55 w 192"/>
                <a:gd name="T33" fmla="*/ 48 h 307"/>
                <a:gd name="T34" fmla="*/ 54 w 192"/>
                <a:gd name="T35" fmla="*/ 56 h 307"/>
                <a:gd name="T36" fmla="*/ 56 w 192"/>
                <a:gd name="T37" fmla="*/ 66 h 307"/>
                <a:gd name="T38" fmla="*/ 60 w 192"/>
                <a:gd name="T39" fmla="*/ 75 h 307"/>
                <a:gd name="T40" fmla="*/ 74 w 192"/>
                <a:gd name="T41" fmla="*/ 90 h 307"/>
                <a:gd name="T42" fmla="*/ 9 w 192"/>
                <a:gd name="T43" fmla="*/ 162 h 307"/>
                <a:gd name="T44" fmla="*/ 40 w 192"/>
                <a:gd name="T45" fmla="*/ 179 h 307"/>
                <a:gd name="T46" fmla="*/ 0 w 192"/>
                <a:gd name="T47" fmla="*/ 284 h 307"/>
                <a:gd name="T48" fmla="*/ 0 w 192"/>
                <a:gd name="T49" fmla="*/ 290 h 307"/>
                <a:gd name="T50" fmla="*/ 2 w 192"/>
                <a:gd name="T51" fmla="*/ 298 h 307"/>
                <a:gd name="T52" fmla="*/ 8 w 192"/>
                <a:gd name="T53" fmla="*/ 303 h 307"/>
                <a:gd name="T54" fmla="*/ 14 w 192"/>
                <a:gd name="T55" fmla="*/ 306 h 307"/>
                <a:gd name="T56" fmla="*/ 64 w 192"/>
                <a:gd name="T57" fmla="*/ 179 h 307"/>
                <a:gd name="T58" fmla="*/ 88 w 192"/>
                <a:gd name="T59" fmla="*/ 200 h 307"/>
                <a:gd name="T60" fmla="*/ 105 w 192"/>
                <a:gd name="T61" fmla="*/ 179 h 307"/>
                <a:gd name="T62" fmla="*/ 175 w 192"/>
                <a:gd name="T63" fmla="*/ 307 h 307"/>
                <a:gd name="T64" fmla="*/ 178 w 192"/>
                <a:gd name="T65" fmla="*/ 306 h 307"/>
                <a:gd name="T66" fmla="*/ 185 w 192"/>
                <a:gd name="T67" fmla="*/ 303 h 307"/>
                <a:gd name="T68" fmla="*/ 189 w 192"/>
                <a:gd name="T69" fmla="*/ 298 h 307"/>
                <a:gd name="T70" fmla="*/ 192 w 192"/>
                <a:gd name="T71" fmla="*/ 290 h 307"/>
                <a:gd name="T72" fmla="*/ 191 w 192"/>
                <a:gd name="T73" fmla="*/ 284 h 307"/>
                <a:gd name="T74" fmla="*/ 96 w 192"/>
                <a:gd name="T75" fmla="*/ 31 h 307"/>
                <a:gd name="T76" fmla="*/ 100 w 192"/>
                <a:gd name="T77" fmla="*/ 32 h 307"/>
                <a:gd name="T78" fmla="*/ 109 w 192"/>
                <a:gd name="T79" fmla="*/ 35 h 307"/>
                <a:gd name="T80" fmla="*/ 116 w 192"/>
                <a:gd name="T81" fmla="*/ 42 h 307"/>
                <a:gd name="T82" fmla="*/ 120 w 192"/>
                <a:gd name="T83" fmla="*/ 51 h 307"/>
                <a:gd name="T84" fmla="*/ 120 w 192"/>
                <a:gd name="T85" fmla="*/ 56 h 307"/>
                <a:gd name="T86" fmla="*/ 118 w 192"/>
                <a:gd name="T87" fmla="*/ 65 h 307"/>
                <a:gd name="T88" fmla="*/ 113 w 192"/>
                <a:gd name="T89" fmla="*/ 72 h 307"/>
                <a:gd name="T90" fmla="*/ 105 w 192"/>
                <a:gd name="T91" fmla="*/ 78 h 307"/>
                <a:gd name="T92" fmla="*/ 96 w 192"/>
                <a:gd name="T93" fmla="*/ 80 h 307"/>
                <a:gd name="T94" fmla="*/ 91 w 192"/>
                <a:gd name="T95" fmla="*/ 79 h 307"/>
                <a:gd name="T96" fmla="*/ 82 w 192"/>
                <a:gd name="T97" fmla="*/ 75 h 307"/>
                <a:gd name="T98" fmla="*/ 76 w 192"/>
                <a:gd name="T99" fmla="*/ 69 h 307"/>
                <a:gd name="T100" fmla="*/ 72 w 192"/>
                <a:gd name="T101" fmla="*/ 60 h 307"/>
                <a:gd name="T102" fmla="*/ 71 w 192"/>
                <a:gd name="T103" fmla="*/ 56 h 307"/>
                <a:gd name="T104" fmla="*/ 74 w 192"/>
                <a:gd name="T105" fmla="*/ 46 h 307"/>
                <a:gd name="T106" fmla="*/ 79 w 192"/>
                <a:gd name="T107" fmla="*/ 39 h 307"/>
                <a:gd name="T108" fmla="*/ 86 w 192"/>
                <a:gd name="T109" fmla="*/ 33 h 307"/>
                <a:gd name="T110" fmla="*/ 96 w 192"/>
                <a:gd name="T111" fmla="*/ 31 h 307"/>
                <a:gd name="T112" fmla="*/ 105 w 192"/>
                <a:gd name="T113" fmla="*/ 162 h 307"/>
                <a:gd name="T114" fmla="*/ 88 w 192"/>
                <a:gd name="T115" fmla="*/ 142 h 307"/>
                <a:gd name="T116" fmla="*/ 70 w 192"/>
                <a:gd name="T117" fmla="*/ 162 h 307"/>
                <a:gd name="T118" fmla="*/ 94 w 192"/>
                <a:gd name="T119" fmla="*/ 97 h 307"/>
                <a:gd name="T120" fmla="*/ 96 w 192"/>
                <a:gd name="T121" fmla="*/ 97 h 307"/>
                <a:gd name="T122" fmla="*/ 121 w 192"/>
                <a:gd name="T123" fmla="*/ 162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307">
                  <a:moveTo>
                    <a:pt x="191" y="284"/>
                  </a:moveTo>
                  <a:lnTo>
                    <a:pt x="152" y="179"/>
                  </a:lnTo>
                  <a:lnTo>
                    <a:pt x="182" y="179"/>
                  </a:lnTo>
                  <a:lnTo>
                    <a:pt x="182" y="162"/>
                  </a:lnTo>
                  <a:lnTo>
                    <a:pt x="146" y="162"/>
                  </a:lnTo>
                  <a:lnTo>
                    <a:pt x="118" y="90"/>
                  </a:lnTo>
                  <a:lnTo>
                    <a:pt x="118" y="90"/>
                  </a:lnTo>
                  <a:lnTo>
                    <a:pt x="126" y="84"/>
                  </a:lnTo>
                  <a:lnTo>
                    <a:pt x="132" y="75"/>
                  </a:lnTo>
                  <a:lnTo>
                    <a:pt x="134" y="71"/>
                  </a:lnTo>
                  <a:lnTo>
                    <a:pt x="136" y="66"/>
                  </a:lnTo>
                  <a:lnTo>
                    <a:pt x="137" y="61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6" y="48"/>
                  </a:lnTo>
                  <a:lnTo>
                    <a:pt x="135" y="41"/>
                  </a:lnTo>
                  <a:lnTo>
                    <a:pt x="132" y="35"/>
                  </a:lnTo>
                  <a:lnTo>
                    <a:pt x="127" y="29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7"/>
                  </a:lnTo>
                  <a:lnTo>
                    <a:pt x="105" y="15"/>
                  </a:lnTo>
                  <a:lnTo>
                    <a:pt x="105" y="0"/>
                  </a:lnTo>
                  <a:lnTo>
                    <a:pt x="88" y="0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0" y="17"/>
                  </a:lnTo>
                  <a:lnTo>
                    <a:pt x="75" y="20"/>
                  </a:lnTo>
                  <a:lnTo>
                    <a:pt x="69" y="25"/>
                  </a:lnTo>
                  <a:lnTo>
                    <a:pt x="64" y="29"/>
                  </a:lnTo>
                  <a:lnTo>
                    <a:pt x="60" y="35"/>
                  </a:lnTo>
                  <a:lnTo>
                    <a:pt x="57" y="41"/>
                  </a:lnTo>
                  <a:lnTo>
                    <a:pt x="55" y="48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5" y="61"/>
                  </a:lnTo>
                  <a:lnTo>
                    <a:pt x="56" y="66"/>
                  </a:lnTo>
                  <a:lnTo>
                    <a:pt x="57" y="71"/>
                  </a:lnTo>
                  <a:lnTo>
                    <a:pt x="60" y="75"/>
                  </a:lnTo>
                  <a:lnTo>
                    <a:pt x="66" y="84"/>
                  </a:lnTo>
                  <a:lnTo>
                    <a:pt x="74" y="90"/>
                  </a:lnTo>
                  <a:lnTo>
                    <a:pt x="47" y="162"/>
                  </a:lnTo>
                  <a:lnTo>
                    <a:pt x="9" y="162"/>
                  </a:lnTo>
                  <a:lnTo>
                    <a:pt x="9" y="179"/>
                  </a:lnTo>
                  <a:lnTo>
                    <a:pt x="40" y="179"/>
                  </a:lnTo>
                  <a:lnTo>
                    <a:pt x="0" y="284"/>
                  </a:lnTo>
                  <a:lnTo>
                    <a:pt x="0" y="284"/>
                  </a:lnTo>
                  <a:lnTo>
                    <a:pt x="0" y="287"/>
                  </a:lnTo>
                  <a:lnTo>
                    <a:pt x="0" y="290"/>
                  </a:lnTo>
                  <a:lnTo>
                    <a:pt x="1" y="295"/>
                  </a:lnTo>
                  <a:lnTo>
                    <a:pt x="2" y="298"/>
                  </a:lnTo>
                  <a:lnTo>
                    <a:pt x="5" y="300"/>
                  </a:lnTo>
                  <a:lnTo>
                    <a:pt x="8" y="303"/>
                  </a:lnTo>
                  <a:lnTo>
                    <a:pt x="10" y="305"/>
                  </a:lnTo>
                  <a:lnTo>
                    <a:pt x="14" y="306"/>
                  </a:lnTo>
                  <a:lnTo>
                    <a:pt x="16" y="307"/>
                  </a:lnTo>
                  <a:lnTo>
                    <a:pt x="64" y="179"/>
                  </a:lnTo>
                  <a:lnTo>
                    <a:pt x="88" y="179"/>
                  </a:lnTo>
                  <a:lnTo>
                    <a:pt x="88" y="200"/>
                  </a:lnTo>
                  <a:lnTo>
                    <a:pt x="105" y="200"/>
                  </a:lnTo>
                  <a:lnTo>
                    <a:pt x="105" y="179"/>
                  </a:lnTo>
                  <a:lnTo>
                    <a:pt x="127" y="179"/>
                  </a:lnTo>
                  <a:lnTo>
                    <a:pt x="175" y="307"/>
                  </a:lnTo>
                  <a:lnTo>
                    <a:pt x="178" y="306"/>
                  </a:lnTo>
                  <a:lnTo>
                    <a:pt x="178" y="306"/>
                  </a:lnTo>
                  <a:lnTo>
                    <a:pt x="181" y="305"/>
                  </a:lnTo>
                  <a:lnTo>
                    <a:pt x="185" y="303"/>
                  </a:lnTo>
                  <a:lnTo>
                    <a:pt x="187" y="300"/>
                  </a:lnTo>
                  <a:lnTo>
                    <a:pt x="189" y="298"/>
                  </a:lnTo>
                  <a:lnTo>
                    <a:pt x="191" y="295"/>
                  </a:lnTo>
                  <a:lnTo>
                    <a:pt x="192" y="290"/>
                  </a:lnTo>
                  <a:lnTo>
                    <a:pt x="192" y="287"/>
                  </a:lnTo>
                  <a:lnTo>
                    <a:pt x="191" y="284"/>
                  </a:lnTo>
                  <a:lnTo>
                    <a:pt x="191" y="284"/>
                  </a:lnTo>
                  <a:close/>
                  <a:moveTo>
                    <a:pt x="96" y="31"/>
                  </a:moveTo>
                  <a:lnTo>
                    <a:pt x="96" y="31"/>
                  </a:lnTo>
                  <a:lnTo>
                    <a:pt x="100" y="32"/>
                  </a:lnTo>
                  <a:lnTo>
                    <a:pt x="105" y="33"/>
                  </a:lnTo>
                  <a:lnTo>
                    <a:pt x="109" y="35"/>
                  </a:lnTo>
                  <a:lnTo>
                    <a:pt x="113" y="39"/>
                  </a:lnTo>
                  <a:lnTo>
                    <a:pt x="116" y="42"/>
                  </a:lnTo>
                  <a:lnTo>
                    <a:pt x="118" y="46"/>
                  </a:lnTo>
                  <a:lnTo>
                    <a:pt x="120" y="51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18" y="65"/>
                  </a:lnTo>
                  <a:lnTo>
                    <a:pt x="116" y="69"/>
                  </a:lnTo>
                  <a:lnTo>
                    <a:pt x="113" y="72"/>
                  </a:lnTo>
                  <a:lnTo>
                    <a:pt x="109" y="75"/>
                  </a:lnTo>
                  <a:lnTo>
                    <a:pt x="105" y="78"/>
                  </a:lnTo>
                  <a:lnTo>
                    <a:pt x="100" y="79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1" y="79"/>
                  </a:lnTo>
                  <a:lnTo>
                    <a:pt x="86" y="78"/>
                  </a:lnTo>
                  <a:lnTo>
                    <a:pt x="82" y="75"/>
                  </a:lnTo>
                  <a:lnTo>
                    <a:pt x="79" y="72"/>
                  </a:lnTo>
                  <a:lnTo>
                    <a:pt x="76" y="69"/>
                  </a:lnTo>
                  <a:lnTo>
                    <a:pt x="74" y="65"/>
                  </a:lnTo>
                  <a:lnTo>
                    <a:pt x="72" y="60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2" y="51"/>
                  </a:lnTo>
                  <a:lnTo>
                    <a:pt x="74" y="46"/>
                  </a:lnTo>
                  <a:lnTo>
                    <a:pt x="76" y="42"/>
                  </a:lnTo>
                  <a:lnTo>
                    <a:pt x="79" y="39"/>
                  </a:lnTo>
                  <a:lnTo>
                    <a:pt x="82" y="35"/>
                  </a:lnTo>
                  <a:lnTo>
                    <a:pt x="86" y="33"/>
                  </a:lnTo>
                  <a:lnTo>
                    <a:pt x="91" y="32"/>
                  </a:lnTo>
                  <a:lnTo>
                    <a:pt x="96" y="31"/>
                  </a:lnTo>
                  <a:lnTo>
                    <a:pt x="96" y="31"/>
                  </a:lnTo>
                  <a:close/>
                  <a:moveTo>
                    <a:pt x="105" y="162"/>
                  </a:moveTo>
                  <a:lnTo>
                    <a:pt x="105" y="142"/>
                  </a:lnTo>
                  <a:lnTo>
                    <a:pt x="88" y="142"/>
                  </a:lnTo>
                  <a:lnTo>
                    <a:pt x="88" y="162"/>
                  </a:lnTo>
                  <a:lnTo>
                    <a:pt x="70" y="162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7" y="97"/>
                  </a:lnTo>
                  <a:lnTo>
                    <a:pt x="121" y="162"/>
                  </a:lnTo>
                  <a:lnTo>
                    <a:pt x="105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28" name="Group 310"/>
          <p:cNvGrpSpPr>
            <a:grpSpLocks noChangeAspect="1"/>
          </p:cNvGrpSpPr>
          <p:nvPr/>
        </p:nvGrpSpPr>
        <p:grpSpPr bwMode="auto">
          <a:xfrm>
            <a:off x="6089305" y="5113376"/>
            <a:ext cx="338138" cy="212725"/>
            <a:chOff x="4778" y="1238"/>
            <a:chExt cx="213" cy="134"/>
          </a:xfrm>
          <a:solidFill>
            <a:schemeClr val="bg1"/>
          </a:solidFill>
        </p:grpSpPr>
        <p:sp>
          <p:nvSpPr>
            <p:cNvPr id="29" name="Freeform 311"/>
            <p:cNvSpPr>
              <a:spLocks noEditPoints="1"/>
            </p:cNvSpPr>
            <p:nvPr/>
          </p:nvSpPr>
          <p:spPr bwMode="auto">
            <a:xfrm>
              <a:off x="4852" y="1238"/>
              <a:ext cx="139" cy="85"/>
            </a:xfrm>
            <a:custGeom>
              <a:avLst/>
              <a:gdLst>
                <a:gd name="T0" fmla="*/ 222 w 278"/>
                <a:gd name="T1" fmla="*/ 129 h 171"/>
                <a:gd name="T2" fmla="*/ 213 w 278"/>
                <a:gd name="T3" fmla="*/ 129 h 171"/>
                <a:gd name="T4" fmla="*/ 213 w 278"/>
                <a:gd name="T5" fmla="*/ 171 h 171"/>
                <a:gd name="T6" fmla="*/ 269 w 278"/>
                <a:gd name="T7" fmla="*/ 171 h 171"/>
                <a:gd name="T8" fmla="*/ 269 w 278"/>
                <a:gd name="T9" fmla="*/ 77 h 171"/>
                <a:gd name="T10" fmla="*/ 222 w 278"/>
                <a:gd name="T11" fmla="*/ 77 h 171"/>
                <a:gd name="T12" fmla="*/ 222 w 278"/>
                <a:gd name="T13" fmla="*/ 129 h 171"/>
                <a:gd name="T14" fmla="*/ 259 w 278"/>
                <a:gd name="T15" fmla="*/ 0 h 171"/>
                <a:gd name="T16" fmla="*/ 0 w 278"/>
                <a:gd name="T17" fmla="*/ 0 h 171"/>
                <a:gd name="T18" fmla="*/ 0 w 278"/>
                <a:gd name="T19" fmla="*/ 35 h 171"/>
                <a:gd name="T20" fmla="*/ 186 w 278"/>
                <a:gd name="T21" fmla="*/ 35 h 171"/>
                <a:gd name="T22" fmla="*/ 186 w 278"/>
                <a:gd name="T23" fmla="*/ 35 h 171"/>
                <a:gd name="T24" fmla="*/ 192 w 278"/>
                <a:gd name="T25" fmla="*/ 35 h 171"/>
                <a:gd name="T26" fmla="*/ 198 w 278"/>
                <a:gd name="T27" fmla="*/ 37 h 171"/>
                <a:gd name="T28" fmla="*/ 203 w 278"/>
                <a:gd name="T29" fmla="*/ 39 h 171"/>
                <a:gd name="T30" fmla="*/ 207 w 278"/>
                <a:gd name="T31" fmla="*/ 42 h 171"/>
                <a:gd name="T32" fmla="*/ 212 w 278"/>
                <a:gd name="T33" fmla="*/ 46 h 171"/>
                <a:gd name="T34" fmla="*/ 216 w 278"/>
                <a:gd name="T35" fmla="*/ 50 h 171"/>
                <a:gd name="T36" fmla="*/ 219 w 278"/>
                <a:gd name="T37" fmla="*/ 55 h 171"/>
                <a:gd name="T38" fmla="*/ 221 w 278"/>
                <a:gd name="T39" fmla="*/ 61 h 171"/>
                <a:gd name="T40" fmla="*/ 278 w 278"/>
                <a:gd name="T41" fmla="*/ 61 h 171"/>
                <a:gd name="T42" fmla="*/ 278 w 278"/>
                <a:gd name="T43" fmla="*/ 21 h 171"/>
                <a:gd name="T44" fmla="*/ 278 w 278"/>
                <a:gd name="T45" fmla="*/ 21 h 171"/>
                <a:gd name="T46" fmla="*/ 278 w 278"/>
                <a:gd name="T47" fmla="*/ 16 h 171"/>
                <a:gd name="T48" fmla="*/ 277 w 278"/>
                <a:gd name="T49" fmla="*/ 13 h 171"/>
                <a:gd name="T50" fmla="*/ 275 w 278"/>
                <a:gd name="T51" fmla="*/ 10 h 171"/>
                <a:gd name="T52" fmla="*/ 273 w 278"/>
                <a:gd name="T53" fmla="*/ 7 h 171"/>
                <a:gd name="T54" fmla="*/ 270 w 278"/>
                <a:gd name="T55" fmla="*/ 5 h 171"/>
                <a:gd name="T56" fmla="*/ 267 w 278"/>
                <a:gd name="T57" fmla="*/ 2 h 171"/>
                <a:gd name="T58" fmla="*/ 263 w 278"/>
                <a:gd name="T59" fmla="*/ 1 h 171"/>
                <a:gd name="T60" fmla="*/ 259 w 278"/>
                <a:gd name="T61" fmla="*/ 0 h 171"/>
                <a:gd name="T62" fmla="*/ 259 w 278"/>
                <a:gd name="T6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8" h="171">
                  <a:moveTo>
                    <a:pt x="222" y="129"/>
                  </a:moveTo>
                  <a:lnTo>
                    <a:pt x="213" y="129"/>
                  </a:lnTo>
                  <a:lnTo>
                    <a:pt x="213" y="171"/>
                  </a:lnTo>
                  <a:lnTo>
                    <a:pt x="269" y="171"/>
                  </a:lnTo>
                  <a:lnTo>
                    <a:pt x="269" y="77"/>
                  </a:lnTo>
                  <a:lnTo>
                    <a:pt x="222" y="77"/>
                  </a:lnTo>
                  <a:lnTo>
                    <a:pt x="222" y="129"/>
                  </a:lnTo>
                  <a:close/>
                  <a:moveTo>
                    <a:pt x="259" y="0"/>
                  </a:moveTo>
                  <a:lnTo>
                    <a:pt x="0" y="0"/>
                  </a:lnTo>
                  <a:lnTo>
                    <a:pt x="0" y="35"/>
                  </a:lnTo>
                  <a:lnTo>
                    <a:pt x="186" y="35"/>
                  </a:lnTo>
                  <a:lnTo>
                    <a:pt x="186" y="35"/>
                  </a:lnTo>
                  <a:lnTo>
                    <a:pt x="192" y="35"/>
                  </a:lnTo>
                  <a:lnTo>
                    <a:pt x="198" y="37"/>
                  </a:lnTo>
                  <a:lnTo>
                    <a:pt x="203" y="39"/>
                  </a:lnTo>
                  <a:lnTo>
                    <a:pt x="207" y="42"/>
                  </a:lnTo>
                  <a:lnTo>
                    <a:pt x="212" y="46"/>
                  </a:lnTo>
                  <a:lnTo>
                    <a:pt x="216" y="50"/>
                  </a:lnTo>
                  <a:lnTo>
                    <a:pt x="219" y="55"/>
                  </a:lnTo>
                  <a:lnTo>
                    <a:pt x="221" y="61"/>
                  </a:lnTo>
                  <a:lnTo>
                    <a:pt x="278" y="61"/>
                  </a:lnTo>
                  <a:lnTo>
                    <a:pt x="278" y="21"/>
                  </a:lnTo>
                  <a:lnTo>
                    <a:pt x="278" y="21"/>
                  </a:lnTo>
                  <a:lnTo>
                    <a:pt x="278" y="16"/>
                  </a:lnTo>
                  <a:lnTo>
                    <a:pt x="277" y="13"/>
                  </a:lnTo>
                  <a:lnTo>
                    <a:pt x="275" y="10"/>
                  </a:lnTo>
                  <a:lnTo>
                    <a:pt x="273" y="7"/>
                  </a:lnTo>
                  <a:lnTo>
                    <a:pt x="270" y="5"/>
                  </a:lnTo>
                  <a:lnTo>
                    <a:pt x="267" y="2"/>
                  </a:lnTo>
                  <a:lnTo>
                    <a:pt x="263" y="1"/>
                  </a:lnTo>
                  <a:lnTo>
                    <a:pt x="259" y="0"/>
                  </a:lnTo>
                  <a:lnTo>
                    <a:pt x="2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312"/>
            <p:cNvSpPr>
              <a:spLocks noEditPoints="1"/>
            </p:cNvSpPr>
            <p:nvPr/>
          </p:nvSpPr>
          <p:spPr bwMode="auto">
            <a:xfrm>
              <a:off x="4815" y="1264"/>
              <a:ext cx="139" cy="84"/>
            </a:xfrm>
            <a:custGeom>
              <a:avLst/>
              <a:gdLst>
                <a:gd name="T0" fmla="*/ 222 w 278"/>
                <a:gd name="T1" fmla="*/ 125 h 169"/>
                <a:gd name="T2" fmla="*/ 212 w 278"/>
                <a:gd name="T3" fmla="*/ 125 h 169"/>
                <a:gd name="T4" fmla="*/ 212 w 278"/>
                <a:gd name="T5" fmla="*/ 169 h 169"/>
                <a:gd name="T6" fmla="*/ 268 w 278"/>
                <a:gd name="T7" fmla="*/ 169 h 169"/>
                <a:gd name="T8" fmla="*/ 268 w 278"/>
                <a:gd name="T9" fmla="*/ 78 h 169"/>
                <a:gd name="T10" fmla="*/ 222 w 278"/>
                <a:gd name="T11" fmla="*/ 78 h 169"/>
                <a:gd name="T12" fmla="*/ 222 w 278"/>
                <a:gd name="T13" fmla="*/ 125 h 169"/>
                <a:gd name="T14" fmla="*/ 259 w 278"/>
                <a:gd name="T15" fmla="*/ 0 h 169"/>
                <a:gd name="T16" fmla="*/ 0 w 278"/>
                <a:gd name="T17" fmla="*/ 0 h 169"/>
                <a:gd name="T18" fmla="*/ 0 w 278"/>
                <a:gd name="T19" fmla="*/ 30 h 169"/>
                <a:gd name="T20" fmla="*/ 185 w 278"/>
                <a:gd name="T21" fmla="*/ 30 h 169"/>
                <a:gd name="T22" fmla="*/ 185 w 278"/>
                <a:gd name="T23" fmla="*/ 30 h 169"/>
                <a:gd name="T24" fmla="*/ 192 w 278"/>
                <a:gd name="T25" fmla="*/ 31 h 169"/>
                <a:gd name="T26" fmla="*/ 198 w 278"/>
                <a:gd name="T27" fmla="*/ 33 h 169"/>
                <a:gd name="T28" fmla="*/ 204 w 278"/>
                <a:gd name="T29" fmla="*/ 36 h 169"/>
                <a:gd name="T30" fmla="*/ 209 w 278"/>
                <a:gd name="T31" fmla="*/ 39 h 169"/>
                <a:gd name="T32" fmla="*/ 213 w 278"/>
                <a:gd name="T33" fmla="*/ 43 h 169"/>
                <a:gd name="T34" fmla="*/ 217 w 278"/>
                <a:gd name="T35" fmla="*/ 49 h 169"/>
                <a:gd name="T36" fmla="*/ 220 w 278"/>
                <a:gd name="T37" fmla="*/ 54 h 169"/>
                <a:gd name="T38" fmla="*/ 221 w 278"/>
                <a:gd name="T39" fmla="*/ 59 h 169"/>
                <a:gd name="T40" fmla="*/ 278 w 278"/>
                <a:gd name="T41" fmla="*/ 59 h 169"/>
                <a:gd name="T42" fmla="*/ 278 w 278"/>
                <a:gd name="T43" fmla="*/ 19 h 169"/>
                <a:gd name="T44" fmla="*/ 278 w 278"/>
                <a:gd name="T45" fmla="*/ 19 h 169"/>
                <a:gd name="T46" fmla="*/ 278 w 278"/>
                <a:gd name="T47" fmla="*/ 16 h 169"/>
                <a:gd name="T48" fmla="*/ 277 w 278"/>
                <a:gd name="T49" fmla="*/ 12 h 169"/>
                <a:gd name="T50" fmla="*/ 275 w 278"/>
                <a:gd name="T51" fmla="*/ 9 h 169"/>
                <a:gd name="T52" fmla="*/ 273 w 278"/>
                <a:gd name="T53" fmla="*/ 5 h 169"/>
                <a:gd name="T54" fmla="*/ 269 w 278"/>
                <a:gd name="T55" fmla="*/ 3 h 169"/>
                <a:gd name="T56" fmla="*/ 266 w 278"/>
                <a:gd name="T57" fmla="*/ 1 h 169"/>
                <a:gd name="T58" fmla="*/ 263 w 278"/>
                <a:gd name="T59" fmla="*/ 0 h 169"/>
                <a:gd name="T60" fmla="*/ 259 w 278"/>
                <a:gd name="T61" fmla="*/ 0 h 169"/>
                <a:gd name="T62" fmla="*/ 259 w 278"/>
                <a:gd name="T63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8" h="169">
                  <a:moveTo>
                    <a:pt x="222" y="125"/>
                  </a:moveTo>
                  <a:lnTo>
                    <a:pt x="212" y="125"/>
                  </a:lnTo>
                  <a:lnTo>
                    <a:pt x="212" y="169"/>
                  </a:lnTo>
                  <a:lnTo>
                    <a:pt x="268" y="169"/>
                  </a:lnTo>
                  <a:lnTo>
                    <a:pt x="268" y="78"/>
                  </a:lnTo>
                  <a:lnTo>
                    <a:pt x="222" y="78"/>
                  </a:lnTo>
                  <a:lnTo>
                    <a:pt x="222" y="125"/>
                  </a:lnTo>
                  <a:close/>
                  <a:moveTo>
                    <a:pt x="259" y="0"/>
                  </a:moveTo>
                  <a:lnTo>
                    <a:pt x="0" y="0"/>
                  </a:lnTo>
                  <a:lnTo>
                    <a:pt x="0" y="30"/>
                  </a:lnTo>
                  <a:lnTo>
                    <a:pt x="185" y="30"/>
                  </a:lnTo>
                  <a:lnTo>
                    <a:pt x="185" y="30"/>
                  </a:lnTo>
                  <a:lnTo>
                    <a:pt x="192" y="31"/>
                  </a:lnTo>
                  <a:lnTo>
                    <a:pt x="198" y="33"/>
                  </a:lnTo>
                  <a:lnTo>
                    <a:pt x="204" y="36"/>
                  </a:lnTo>
                  <a:lnTo>
                    <a:pt x="209" y="39"/>
                  </a:lnTo>
                  <a:lnTo>
                    <a:pt x="213" y="43"/>
                  </a:lnTo>
                  <a:lnTo>
                    <a:pt x="217" y="49"/>
                  </a:lnTo>
                  <a:lnTo>
                    <a:pt x="220" y="54"/>
                  </a:lnTo>
                  <a:lnTo>
                    <a:pt x="221" y="59"/>
                  </a:lnTo>
                  <a:lnTo>
                    <a:pt x="278" y="59"/>
                  </a:lnTo>
                  <a:lnTo>
                    <a:pt x="278" y="19"/>
                  </a:lnTo>
                  <a:lnTo>
                    <a:pt x="278" y="19"/>
                  </a:lnTo>
                  <a:lnTo>
                    <a:pt x="278" y="16"/>
                  </a:lnTo>
                  <a:lnTo>
                    <a:pt x="277" y="12"/>
                  </a:lnTo>
                  <a:lnTo>
                    <a:pt x="275" y="9"/>
                  </a:lnTo>
                  <a:lnTo>
                    <a:pt x="273" y="5"/>
                  </a:lnTo>
                  <a:lnTo>
                    <a:pt x="269" y="3"/>
                  </a:lnTo>
                  <a:lnTo>
                    <a:pt x="266" y="1"/>
                  </a:lnTo>
                  <a:lnTo>
                    <a:pt x="263" y="0"/>
                  </a:lnTo>
                  <a:lnTo>
                    <a:pt x="259" y="0"/>
                  </a:lnTo>
                  <a:lnTo>
                    <a:pt x="2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313"/>
            <p:cNvSpPr>
              <a:spLocks/>
            </p:cNvSpPr>
            <p:nvPr/>
          </p:nvSpPr>
          <p:spPr bwMode="auto">
            <a:xfrm>
              <a:off x="4783" y="1326"/>
              <a:ext cx="130" cy="46"/>
            </a:xfrm>
            <a:custGeom>
              <a:avLst/>
              <a:gdLst>
                <a:gd name="T0" fmla="*/ 20 w 259"/>
                <a:gd name="T1" fmla="*/ 93 h 93"/>
                <a:gd name="T2" fmla="*/ 20 w 259"/>
                <a:gd name="T3" fmla="*/ 93 h 93"/>
                <a:gd name="T4" fmla="*/ 16 w 259"/>
                <a:gd name="T5" fmla="*/ 92 h 93"/>
                <a:gd name="T6" fmla="*/ 12 w 259"/>
                <a:gd name="T7" fmla="*/ 91 h 93"/>
                <a:gd name="T8" fmla="*/ 9 w 259"/>
                <a:gd name="T9" fmla="*/ 88 h 93"/>
                <a:gd name="T10" fmla="*/ 6 w 259"/>
                <a:gd name="T11" fmla="*/ 86 h 93"/>
                <a:gd name="T12" fmla="*/ 4 w 259"/>
                <a:gd name="T13" fmla="*/ 83 h 93"/>
                <a:gd name="T14" fmla="*/ 1 w 259"/>
                <a:gd name="T15" fmla="*/ 80 h 93"/>
                <a:gd name="T16" fmla="*/ 0 w 259"/>
                <a:gd name="T17" fmla="*/ 77 h 93"/>
                <a:gd name="T18" fmla="*/ 0 w 259"/>
                <a:gd name="T19" fmla="*/ 72 h 93"/>
                <a:gd name="T20" fmla="*/ 0 w 259"/>
                <a:gd name="T21" fmla="*/ 0 h 93"/>
                <a:gd name="T22" fmla="*/ 259 w 259"/>
                <a:gd name="T23" fmla="*/ 0 h 93"/>
                <a:gd name="T24" fmla="*/ 259 w 259"/>
                <a:gd name="T25" fmla="*/ 93 h 93"/>
                <a:gd name="T26" fmla="*/ 20 w 259"/>
                <a:gd name="T2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9" h="93">
                  <a:moveTo>
                    <a:pt x="20" y="93"/>
                  </a:moveTo>
                  <a:lnTo>
                    <a:pt x="20" y="93"/>
                  </a:lnTo>
                  <a:lnTo>
                    <a:pt x="16" y="92"/>
                  </a:lnTo>
                  <a:lnTo>
                    <a:pt x="12" y="91"/>
                  </a:lnTo>
                  <a:lnTo>
                    <a:pt x="9" y="88"/>
                  </a:lnTo>
                  <a:lnTo>
                    <a:pt x="6" y="86"/>
                  </a:lnTo>
                  <a:lnTo>
                    <a:pt x="4" y="83"/>
                  </a:lnTo>
                  <a:lnTo>
                    <a:pt x="1" y="80"/>
                  </a:lnTo>
                  <a:lnTo>
                    <a:pt x="0" y="77"/>
                  </a:lnTo>
                  <a:lnTo>
                    <a:pt x="0" y="72"/>
                  </a:lnTo>
                  <a:lnTo>
                    <a:pt x="0" y="0"/>
                  </a:lnTo>
                  <a:lnTo>
                    <a:pt x="259" y="0"/>
                  </a:lnTo>
                  <a:lnTo>
                    <a:pt x="259" y="93"/>
                  </a:lnTo>
                  <a:lnTo>
                    <a:pt x="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314"/>
            <p:cNvSpPr>
              <a:spLocks/>
            </p:cNvSpPr>
            <p:nvPr/>
          </p:nvSpPr>
          <p:spPr bwMode="auto">
            <a:xfrm>
              <a:off x="4778" y="1287"/>
              <a:ext cx="139" cy="30"/>
            </a:xfrm>
            <a:custGeom>
              <a:avLst/>
              <a:gdLst>
                <a:gd name="T0" fmla="*/ 258 w 278"/>
                <a:gd name="T1" fmla="*/ 0 h 61"/>
                <a:gd name="T2" fmla="*/ 258 w 278"/>
                <a:gd name="T3" fmla="*/ 0 h 61"/>
                <a:gd name="T4" fmla="*/ 263 w 278"/>
                <a:gd name="T5" fmla="*/ 2 h 61"/>
                <a:gd name="T6" fmla="*/ 266 w 278"/>
                <a:gd name="T7" fmla="*/ 3 h 61"/>
                <a:gd name="T8" fmla="*/ 269 w 278"/>
                <a:gd name="T9" fmla="*/ 5 h 61"/>
                <a:gd name="T10" fmla="*/ 272 w 278"/>
                <a:gd name="T11" fmla="*/ 7 h 61"/>
                <a:gd name="T12" fmla="*/ 275 w 278"/>
                <a:gd name="T13" fmla="*/ 10 h 61"/>
                <a:gd name="T14" fmla="*/ 277 w 278"/>
                <a:gd name="T15" fmla="*/ 13 h 61"/>
                <a:gd name="T16" fmla="*/ 278 w 278"/>
                <a:gd name="T17" fmla="*/ 17 h 61"/>
                <a:gd name="T18" fmla="*/ 278 w 278"/>
                <a:gd name="T19" fmla="*/ 21 h 61"/>
                <a:gd name="T20" fmla="*/ 278 w 278"/>
                <a:gd name="T21" fmla="*/ 61 h 61"/>
                <a:gd name="T22" fmla="*/ 0 w 278"/>
                <a:gd name="T23" fmla="*/ 61 h 61"/>
                <a:gd name="T24" fmla="*/ 0 w 278"/>
                <a:gd name="T25" fmla="*/ 0 h 61"/>
                <a:gd name="T26" fmla="*/ 258 w 278"/>
                <a:gd name="T2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8" h="61">
                  <a:moveTo>
                    <a:pt x="258" y="0"/>
                  </a:moveTo>
                  <a:lnTo>
                    <a:pt x="258" y="0"/>
                  </a:lnTo>
                  <a:lnTo>
                    <a:pt x="263" y="2"/>
                  </a:lnTo>
                  <a:lnTo>
                    <a:pt x="266" y="3"/>
                  </a:lnTo>
                  <a:lnTo>
                    <a:pt x="269" y="5"/>
                  </a:lnTo>
                  <a:lnTo>
                    <a:pt x="272" y="7"/>
                  </a:lnTo>
                  <a:lnTo>
                    <a:pt x="275" y="10"/>
                  </a:lnTo>
                  <a:lnTo>
                    <a:pt x="277" y="13"/>
                  </a:lnTo>
                  <a:lnTo>
                    <a:pt x="278" y="17"/>
                  </a:lnTo>
                  <a:lnTo>
                    <a:pt x="278" y="21"/>
                  </a:lnTo>
                  <a:lnTo>
                    <a:pt x="278" y="61"/>
                  </a:lnTo>
                  <a:lnTo>
                    <a:pt x="0" y="61"/>
                  </a:lnTo>
                  <a:lnTo>
                    <a:pt x="0" y="0"/>
                  </a:lnTo>
                  <a:lnTo>
                    <a:pt x="2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631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Security framework</a:t>
            </a:r>
            <a:endParaRPr lang="hi-IN" dirty="0"/>
          </a:p>
        </p:txBody>
      </p:sp>
      <p:grpSp>
        <p:nvGrpSpPr>
          <p:cNvPr id="85" name="Group 84"/>
          <p:cNvGrpSpPr/>
          <p:nvPr/>
        </p:nvGrpSpPr>
        <p:grpSpPr>
          <a:xfrm rot="5400000" flipH="1">
            <a:off x="1359432" y="3036815"/>
            <a:ext cx="4195106" cy="1639480"/>
            <a:chOff x="1013273" y="1065562"/>
            <a:chExt cx="10150996" cy="3487508"/>
          </a:xfrm>
        </p:grpSpPr>
        <p:grpSp>
          <p:nvGrpSpPr>
            <p:cNvPr id="93" name="Group 92"/>
            <p:cNvGrpSpPr/>
            <p:nvPr/>
          </p:nvGrpSpPr>
          <p:grpSpPr>
            <a:xfrm>
              <a:off x="7386242" y="1065562"/>
              <a:ext cx="3778027" cy="3487508"/>
              <a:chOff x="823262" y="2395110"/>
              <a:chExt cx="1914328" cy="2002986"/>
            </a:xfrm>
          </p:grpSpPr>
          <p:sp>
            <p:nvSpPr>
              <p:cNvPr id="122" name="Round Diagonal Corner Rectangle 121"/>
              <p:cNvSpPr/>
              <p:nvPr/>
            </p:nvSpPr>
            <p:spPr>
              <a:xfrm>
                <a:off x="823262" y="2395110"/>
                <a:ext cx="1914328" cy="2002986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grpSp>
            <p:nvGrpSpPr>
              <p:cNvPr id="123" name="Group 122"/>
              <p:cNvGrpSpPr/>
              <p:nvPr/>
            </p:nvGrpSpPr>
            <p:grpSpPr>
              <a:xfrm>
                <a:off x="904258" y="2491861"/>
                <a:ext cx="1752336" cy="1809484"/>
                <a:chOff x="884969" y="2458561"/>
                <a:chExt cx="1752336" cy="1809484"/>
              </a:xfrm>
            </p:grpSpPr>
            <p:grpSp>
              <p:nvGrpSpPr>
                <p:cNvPr id="124" name="Group 123"/>
                <p:cNvGrpSpPr/>
                <p:nvPr/>
              </p:nvGrpSpPr>
              <p:grpSpPr>
                <a:xfrm>
                  <a:off x="884969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7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7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5" name="Group 124"/>
                <p:cNvGrpSpPr/>
                <p:nvPr/>
              </p:nvGrpSpPr>
              <p:grpSpPr>
                <a:xfrm>
                  <a:off x="1333755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6" name="Group 125"/>
                <p:cNvGrpSpPr/>
                <p:nvPr/>
              </p:nvGrpSpPr>
              <p:grpSpPr>
                <a:xfrm>
                  <a:off x="1782540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7" name="Group 126"/>
                <p:cNvGrpSpPr/>
                <p:nvPr/>
              </p:nvGrpSpPr>
              <p:grpSpPr>
                <a:xfrm>
                  <a:off x="2231325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8" name="Group 127"/>
                <p:cNvGrpSpPr/>
                <p:nvPr/>
              </p:nvGrpSpPr>
              <p:grpSpPr>
                <a:xfrm>
                  <a:off x="884969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9" name="Group 128"/>
                <p:cNvGrpSpPr/>
                <p:nvPr/>
              </p:nvGrpSpPr>
              <p:grpSpPr>
                <a:xfrm>
                  <a:off x="1333755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0" name="Group 129"/>
                <p:cNvGrpSpPr/>
                <p:nvPr/>
              </p:nvGrpSpPr>
              <p:grpSpPr>
                <a:xfrm>
                  <a:off x="1782540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1" name="Group 130"/>
                <p:cNvGrpSpPr/>
                <p:nvPr/>
              </p:nvGrpSpPr>
              <p:grpSpPr>
                <a:xfrm>
                  <a:off x="2231325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2" name="Group 131"/>
                <p:cNvGrpSpPr/>
                <p:nvPr/>
              </p:nvGrpSpPr>
              <p:grpSpPr>
                <a:xfrm>
                  <a:off x="884969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3" name="Group 132"/>
                <p:cNvGrpSpPr/>
                <p:nvPr/>
              </p:nvGrpSpPr>
              <p:grpSpPr>
                <a:xfrm>
                  <a:off x="1333755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4" name="Group 133"/>
                <p:cNvGrpSpPr/>
                <p:nvPr/>
              </p:nvGrpSpPr>
              <p:grpSpPr>
                <a:xfrm>
                  <a:off x="1782540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5" name="Group 134"/>
                <p:cNvGrpSpPr/>
                <p:nvPr/>
              </p:nvGrpSpPr>
              <p:grpSpPr>
                <a:xfrm>
                  <a:off x="2231325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6" name="Group 135"/>
                <p:cNvGrpSpPr/>
                <p:nvPr/>
              </p:nvGrpSpPr>
              <p:grpSpPr>
                <a:xfrm>
                  <a:off x="884969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7" name="Group 136"/>
                <p:cNvGrpSpPr/>
                <p:nvPr/>
              </p:nvGrpSpPr>
              <p:grpSpPr>
                <a:xfrm>
                  <a:off x="1333755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8" name="Group 137"/>
                <p:cNvGrpSpPr/>
                <p:nvPr/>
              </p:nvGrpSpPr>
              <p:grpSpPr>
                <a:xfrm>
                  <a:off x="1782540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9" name="Group 138"/>
                <p:cNvGrpSpPr/>
                <p:nvPr/>
              </p:nvGrpSpPr>
              <p:grpSpPr>
                <a:xfrm>
                  <a:off x="2231325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</p:grpSp>
        </p:grpSp>
        <p:grpSp>
          <p:nvGrpSpPr>
            <p:cNvPr id="94" name="Group 93"/>
            <p:cNvGrpSpPr/>
            <p:nvPr/>
          </p:nvGrpSpPr>
          <p:grpSpPr>
            <a:xfrm>
              <a:off x="1013273" y="1065562"/>
              <a:ext cx="3778027" cy="3487508"/>
              <a:chOff x="1495490" y="1832272"/>
              <a:chExt cx="1914328" cy="2002986"/>
            </a:xfrm>
          </p:grpSpPr>
          <p:sp>
            <p:nvSpPr>
              <p:cNvPr id="100" name="Round Diagonal Corner Rectangle 99"/>
              <p:cNvSpPr/>
              <p:nvPr/>
            </p:nvSpPr>
            <p:spPr>
              <a:xfrm>
                <a:off x="1495490" y="1832272"/>
                <a:ext cx="1914328" cy="2002986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grpSp>
            <p:nvGrpSpPr>
              <p:cNvPr id="101" name="Group 100"/>
              <p:cNvGrpSpPr/>
              <p:nvPr/>
            </p:nvGrpSpPr>
            <p:grpSpPr>
              <a:xfrm>
                <a:off x="1571547" y="1947128"/>
                <a:ext cx="1762214" cy="1773274"/>
                <a:chOff x="1576486" y="1934992"/>
                <a:chExt cx="1762214" cy="1773274"/>
              </a:xfrm>
            </p:grpSpPr>
            <p:grpSp>
              <p:nvGrpSpPr>
                <p:cNvPr id="102" name="Group 101"/>
                <p:cNvGrpSpPr/>
                <p:nvPr/>
              </p:nvGrpSpPr>
              <p:grpSpPr>
                <a:xfrm>
                  <a:off x="1576486" y="1934992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118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9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20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21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03" name="Group 102"/>
                <p:cNvGrpSpPr/>
                <p:nvPr/>
              </p:nvGrpSpPr>
              <p:grpSpPr>
                <a:xfrm>
                  <a:off x="1576486" y="2390757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114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5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6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7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04" name="Group 103"/>
                <p:cNvGrpSpPr/>
                <p:nvPr/>
              </p:nvGrpSpPr>
              <p:grpSpPr>
                <a:xfrm>
                  <a:off x="1576486" y="2846522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110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1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2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3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05" name="Group 104"/>
                <p:cNvGrpSpPr/>
                <p:nvPr/>
              </p:nvGrpSpPr>
              <p:grpSpPr>
                <a:xfrm>
                  <a:off x="1576486" y="3302286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106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7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8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9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</p:grpSp>
        </p:grpSp>
        <p:cxnSp>
          <p:nvCxnSpPr>
            <p:cNvPr id="95" name="Straight Connector 94"/>
            <p:cNvCxnSpPr/>
            <p:nvPr/>
          </p:nvCxnSpPr>
          <p:spPr>
            <a:xfrm>
              <a:off x="4791301" y="2809316"/>
              <a:ext cx="520167" cy="0"/>
            </a:xfrm>
            <a:prstGeom prst="line">
              <a:avLst/>
            </a:prstGeom>
            <a:ln w="5715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/>
          </p:nvCxnSpPr>
          <p:spPr>
            <a:xfrm>
              <a:off x="6823935" y="2809316"/>
              <a:ext cx="562308" cy="0"/>
            </a:xfrm>
            <a:prstGeom prst="line">
              <a:avLst/>
            </a:prstGeom>
            <a:ln w="5715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7" name="Group 96"/>
            <p:cNvGrpSpPr/>
            <p:nvPr/>
          </p:nvGrpSpPr>
          <p:grpSpPr>
            <a:xfrm>
              <a:off x="5311467" y="2111233"/>
              <a:ext cx="1512467" cy="1396163"/>
              <a:chOff x="3984638" y="1583425"/>
              <a:chExt cx="1134646" cy="1047122"/>
            </a:xfrm>
          </p:grpSpPr>
          <p:sp>
            <p:nvSpPr>
              <p:cNvPr id="98" name="Round Diagonal Corner Rectangle 97"/>
              <p:cNvSpPr/>
              <p:nvPr/>
            </p:nvSpPr>
            <p:spPr>
              <a:xfrm>
                <a:off x="3984638" y="1583425"/>
                <a:ext cx="1134646" cy="1047122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sp>
            <p:nvSpPr>
              <p:cNvPr id="99" name="Freeform 98"/>
              <p:cNvSpPr/>
              <p:nvPr/>
            </p:nvSpPr>
            <p:spPr>
              <a:xfrm>
                <a:off x="4108954" y="1693740"/>
                <a:ext cx="875235" cy="826492"/>
              </a:xfrm>
              <a:custGeom>
                <a:avLst/>
                <a:gdLst>
                  <a:gd name="connsiteX0" fmla="*/ 437712 w 875235"/>
                  <a:gd name="connsiteY0" fmla="*/ 753602 h 826492"/>
                  <a:gd name="connsiteX1" fmla="*/ 414852 w 875235"/>
                  <a:gd name="connsiteY1" fmla="*/ 776462 h 826492"/>
                  <a:gd name="connsiteX2" fmla="*/ 437712 w 875235"/>
                  <a:gd name="connsiteY2" fmla="*/ 799322 h 826492"/>
                  <a:gd name="connsiteX3" fmla="*/ 460572 w 875235"/>
                  <a:gd name="connsiteY3" fmla="*/ 776462 h 826492"/>
                  <a:gd name="connsiteX4" fmla="*/ 437712 w 875235"/>
                  <a:gd name="connsiteY4" fmla="*/ 753602 h 826492"/>
                  <a:gd name="connsiteX5" fmla="*/ 488486 w 875235"/>
                  <a:gd name="connsiteY5" fmla="*/ 726187 h 826492"/>
                  <a:gd name="connsiteX6" fmla="*/ 465626 w 875235"/>
                  <a:gd name="connsiteY6" fmla="*/ 749047 h 826492"/>
                  <a:gd name="connsiteX7" fmla="*/ 488486 w 875235"/>
                  <a:gd name="connsiteY7" fmla="*/ 771907 h 826492"/>
                  <a:gd name="connsiteX8" fmla="*/ 511346 w 875235"/>
                  <a:gd name="connsiteY8" fmla="*/ 749047 h 826492"/>
                  <a:gd name="connsiteX9" fmla="*/ 488486 w 875235"/>
                  <a:gd name="connsiteY9" fmla="*/ 726187 h 826492"/>
                  <a:gd name="connsiteX10" fmla="*/ 386938 w 875235"/>
                  <a:gd name="connsiteY10" fmla="*/ 726187 h 826492"/>
                  <a:gd name="connsiteX11" fmla="*/ 364078 w 875235"/>
                  <a:gd name="connsiteY11" fmla="*/ 749047 h 826492"/>
                  <a:gd name="connsiteX12" fmla="*/ 386938 w 875235"/>
                  <a:gd name="connsiteY12" fmla="*/ 771907 h 826492"/>
                  <a:gd name="connsiteX13" fmla="*/ 409798 w 875235"/>
                  <a:gd name="connsiteY13" fmla="*/ 749047 h 826492"/>
                  <a:gd name="connsiteX14" fmla="*/ 386938 w 875235"/>
                  <a:gd name="connsiteY14" fmla="*/ 726187 h 826492"/>
                  <a:gd name="connsiteX15" fmla="*/ 437712 w 875235"/>
                  <a:gd name="connsiteY15" fmla="*/ 696400 h 826492"/>
                  <a:gd name="connsiteX16" fmla="*/ 414852 w 875235"/>
                  <a:gd name="connsiteY16" fmla="*/ 719260 h 826492"/>
                  <a:gd name="connsiteX17" fmla="*/ 437712 w 875235"/>
                  <a:gd name="connsiteY17" fmla="*/ 742120 h 826492"/>
                  <a:gd name="connsiteX18" fmla="*/ 460572 w 875235"/>
                  <a:gd name="connsiteY18" fmla="*/ 719260 h 826492"/>
                  <a:gd name="connsiteX19" fmla="*/ 437712 w 875235"/>
                  <a:gd name="connsiteY19" fmla="*/ 696400 h 826492"/>
                  <a:gd name="connsiteX20" fmla="*/ 488486 w 875235"/>
                  <a:gd name="connsiteY20" fmla="*/ 665784 h 826492"/>
                  <a:gd name="connsiteX21" fmla="*/ 465626 w 875235"/>
                  <a:gd name="connsiteY21" fmla="*/ 688644 h 826492"/>
                  <a:gd name="connsiteX22" fmla="*/ 488486 w 875235"/>
                  <a:gd name="connsiteY22" fmla="*/ 711504 h 826492"/>
                  <a:gd name="connsiteX23" fmla="*/ 511346 w 875235"/>
                  <a:gd name="connsiteY23" fmla="*/ 688644 h 826492"/>
                  <a:gd name="connsiteX24" fmla="*/ 488486 w 875235"/>
                  <a:gd name="connsiteY24" fmla="*/ 665784 h 826492"/>
                  <a:gd name="connsiteX25" fmla="*/ 386938 w 875235"/>
                  <a:gd name="connsiteY25" fmla="*/ 665784 h 826492"/>
                  <a:gd name="connsiteX26" fmla="*/ 364078 w 875235"/>
                  <a:gd name="connsiteY26" fmla="*/ 688644 h 826492"/>
                  <a:gd name="connsiteX27" fmla="*/ 386938 w 875235"/>
                  <a:gd name="connsiteY27" fmla="*/ 711504 h 826492"/>
                  <a:gd name="connsiteX28" fmla="*/ 409798 w 875235"/>
                  <a:gd name="connsiteY28" fmla="*/ 688644 h 826492"/>
                  <a:gd name="connsiteX29" fmla="*/ 386938 w 875235"/>
                  <a:gd name="connsiteY29" fmla="*/ 665784 h 826492"/>
                  <a:gd name="connsiteX30" fmla="*/ 437712 w 875235"/>
                  <a:gd name="connsiteY30" fmla="*/ 639199 h 826492"/>
                  <a:gd name="connsiteX31" fmla="*/ 414852 w 875235"/>
                  <a:gd name="connsiteY31" fmla="*/ 662059 h 826492"/>
                  <a:gd name="connsiteX32" fmla="*/ 437712 w 875235"/>
                  <a:gd name="connsiteY32" fmla="*/ 684919 h 826492"/>
                  <a:gd name="connsiteX33" fmla="*/ 460572 w 875235"/>
                  <a:gd name="connsiteY33" fmla="*/ 662059 h 826492"/>
                  <a:gd name="connsiteX34" fmla="*/ 437712 w 875235"/>
                  <a:gd name="connsiteY34" fmla="*/ 639199 h 826492"/>
                  <a:gd name="connsiteX35" fmla="*/ 765165 w 875235"/>
                  <a:gd name="connsiteY35" fmla="*/ 449417 h 826492"/>
                  <a:gd name="connsiteX36" fmla="*/ 742305 w 875235"/>
                  <a:gd name="connsiteY36" fmla="*/ 472277 h 826492"/>
                  <a:gd name="connsiteX37" fmla="*/ 765165 w 875235"/>
                  <a:gd name="connsiteY37" fmla="*/ 495137 h 826492"/>
                  <a:gd name="connsiteX38" fmla="*/ 788025 w 875235"/>
                  <a:gd name="connsiteY38" fmla="*/ 472277 h 826492"/>
                  <a:gd name="connsiteX39" fmla="*/ 765165 w 875235"/>
                  <a:gd name="connsiteY39" fmla="*/ 449417 h 826492"/>
                  <a:gd name="connsiteX40" fmla="*/ 437712 w 875235"/>
                  <a:gd name="connsiteY40" fmla="*/ 449417 h 826492"/>
                  <a:gd name="connsiteX41" fmla="*/ 414852 w 875235"/>
                  <a:gd name="connsiteY41" fmla="*/ 472277 h 826492"/>
                  <a:gd name="connsiteX42" fmla="*/ 437712 w 875235"/>
                  <a:gd name="connsiteY42" fmla="*/ 495137 h 826492"/>
                  <a:gd name="connsiteX43" fmla="*/ 460572 w 875235"/>
                  <a:gd name="connsiteY43" fmla="*/ 472277 h 826492"/>
                  <a:gd name="connsiteX44" fmla="*/ 437712 w 875235"/>
                  <a:gd name="connsiteY44" fmla="*/ 449417 h 826492"/>
                  <a:gd name="connsiteX45" fmla="*/ 104693 w 875235"/>
                  <a:gd name="connsiteY45" fmla="*/ 449417 h 826492"/>
                  <a:gd name="connsiteX46" fmla="*/ 81833 w 875235"/>
                  <a:gd name="connsiteY46" fmla="*/ 472277 h 826492"/>
                  <a:gd name="connsiteX47" fmla="*/ 104693 w 875235"/>
                  <a:gd name="connsiteY47" fmla="*/ 495137 h 826492"/>
                  <a:gd name="connsiteX48" fmla="*/ 127553 w 875235"/>
                  <a:gd name="connsiteY48" fmla="*/ 472277 h 826492"/>
                  <a:gd name="connsiteX49" fmla="*/ 104693 w 875235"/>
                  <a:gd name="connsiteY49" fmla="*/ 449417 h 826492"/>
                  <a:gd name="connsiteX50" fmla="*/ 815266 w 875235"/>
                  <a:gd name="connsiteY50" fmla="*/ 425491 h 826492"/>
                  <a:gd name="connsiteX51" fmla="*/ 792406 w 875235"/>
                  <a:gd name="connsiteY51" fmla="*/ 448351 h 826492"/>
                  <a:gd name="connsiteX52" fmla="*/ 815266 w 875235"/>
                  <a:gd name="connsiteY52" fmla="*/ 471211 h 826492"/>
                  <a:gd name="connsiteX53" fmla="*/ 838126 w 875235"/>
                  <a:gd name="connsiteY53" fmla="*/ 448351 h 826492"/>
                  <a:gd name="connsiteX54" fmla="*/ 815266 w 875235"/>
                  <a:gd name="connsiteY54" fmla="*/ 425491 h 826492"/>
                  <a:gd name="connsiteX55" fmla="*/ 713718 w 875235"/>
                  <a:gd name="connsiteY55" fmla="*/ 425491 h 826492"/>
                  <a:gd name="connsiteX56" fmla="*/ 690858 w 875235"/>
                  <a:gd name="connsiteY56" fmla="*/ 448351 h 826492"/>
                  <a:gd name="connsiteX57" fmla="*/ 713718 w 875235"/>
                  <a:gd name="connsiteY57" fmla="*/ 471211 h 826492"/>
                  <a:gd name="connsiteX58" fmla="*/ 736578 w 875235"/>
                  <a:gd name="connsiteY58" fmla="*/ 448351 h 826492"/>
                  <a:gd name="connsiteX59" fmla="*/ 713718 w 875235"/>
                  <a:gd name="connsiteY59" fmla="*/ 425491 h 826492"/>
                  <a:gd name="connsiteX60" fmla="*/ 488486 w 875235"/>
                  <a:gd name="connsiteY60" fmla="*/ 425491 h 826492"/>
                  <a:gd name="connsiteX61" fmla="*/ 465626 w 875235"/>
                  <a:gd name="connsiteY61" fmla="*/ 448351 h 826492"/>
                  <a:gd name="connsiteX62" fmla="*/ 488486 w 875235"/>
                  <a:gd name="connsiteY62" fmla="*/ 471211 h 826492"/>
                  <a:gd name="connsiteX63" fmla="*/ 511346 w 875235"/>
                  <a:gd name="connsiteY63" fmla="*/ 448351 h 826492"/>
                  <a:gd name="connsiteX64" fmla="*/ 488486 w 875235"/>
                  <a:gd name="connsiteY64" fmla="*/ 425491 h 826492"/>
                  <a:gd name="connsiteX65" fmla="*/ 386938 w 875235"/>
                  <a:gd name="connsiteY65" fmla="*/ 425491 h 826492"/>
                  <a:gd name="connsiteX66" fmla="*/ 364078 w 875235"/>
                  <a:gd name="connsiteY66" fmla="*/ 448351 h 826492"/>
                  <a:gd name="connsiteX67" fmla="*/ 386938 w 875235"/>
                  <a:gd name="connsiteY67" fmla="*/ 471211 h 826492"/>
                  <a:gd name="connsiteX68" fmla="*/ 409798 w 875235"/>
                  <a:gd name="connsiteY68" fmla="*/ 448351 h 826492"/>
                  <a:gd name="connsiteX69" fmla="*/ 386938 w 875235"/>
                  <a:gd name="connsiteY69" fmla="*/ 425491 h 826492"/>
                  <a:gd name="connsiteX70" fmla="*/ 160771 w 875235"/>
                  <a:gd name="connsiteY70" fmla="*/ 425491 h 826492"/>
                  <a:gd name="connsiteX71" fmla="*/ 137911 w 875235"/>
                  <a:gd name="connsiteY71" fmla="*/ 448351 h 826492"/>
                  <a:gd name="connsiteX72" fmla="*/ 160771 w 875235"/>
                  <a:gd name="connsiteY72" fmla="*/ 471211 h 826492"/>
                  <a:gd name="connsiteX73" fmla="*/ 183631 w 875235"/>
                  <a:gd name="connsiteY73" fmla="*/ 448351 h 826492"/>
                  <a:gd name="connsiteX74" fmla="*/ 160771 w 875235"/>
                  <a:gd name="connsiteY74" fmla="*/ 425491 h 826492"/>
                  <a:gd name="connsiteX75" fmla="*/ 59223 w 875235"/>
                  <a:gd name="connsiteY75" fmla="*/ 425491 h 826492"/>
                  <a:gd name="connsiteX76" fmla="*/ 36363 w 875235"/>
                  <a:gd name="connsiteY76" fmla="*/ 448351 h 826492"/>
                  <a:gd name="connsiteX77" fmla="*/ 59223 w 875235"/>
                  <a:gd name="connsiteY77" fmla="*/ 471211 h 826492"/>
                  <a:gd name="connsiteX78" fmla="*/ 82083 w 875235"/>
                  <a:gd name="connsiteY78" fmla="*/ 448351 h 826492"/>
                  <a:gd name="connsiteX79" fmla="*/ 59223 w 875235"/>
                  <a:gd name="connsiteY79" fmla="*/ 425491 h 826492"/>
                  <a:gd name="connsiteX80" fmla="*/ 763819 w 875235"/>
                  <a:gd name="connsiteY80" fmla="*/ 393660 h 826492"/>
                  <a:gd name="connsiteX81" fmla="*/ 740959 w 875235"/>
                  <a:gd name="connsiteY81" fmla="*/ 416520 h 826492"/>
                  <a:gd name="connsiteX82" fmla="*/ 763819 w 875235"/>
                  <a:gd name="connsiteY82" fmla="*/ 439380 h 826492"/>
                  <a:gd name="connsiteX83" fmla="*/ 786679 w 875235"/>
                  <a:gd name="connsiteY83" fmla="*/ 416520 h 826492"/>
                  <a:gd name="connsiteX84" fmla="*/ 763819 w 875235"/>
                  <a:gd name="connsiteY84" fmla="*/ 393660 h 826492"/>
                  <a:gd name="connsiteX85" fmla="*/ 437712 w 875235"/>
                  <a:gd name="connsiteY85" fmla="*/ 393660 h 826492"/>
                  <a:gd name="connsiteX86" fmla="*/ 414852 w 875235"/>
                  <a:gd name="connsiteY86" fmla="*/ 416520 h 826492"/>
                  <a:gd name="connsiteX87" fmla="*/ 437712 w 875235"/>
                  <a:gd name="connsiteY87" fmla="*/ 439380 h 826492"/>
                  <a:gd name="connsiteX88" fmla="*/ 460572 w 875235"/>
                  <a:gd name="connsiteY88" fmla="*/ 416520 h 826492"/>
                  <a:gd name="connsiteX89" fmla="*/ 437712 w 875235"/>
                  <a:gd name="connsiteY89" fmla="*/ 393660 h 826492"/>
                  <a:gd name="connsiteX90" fmla="*/ 104266 w 875235"/>
                  <a:gd name="connsiteY90" fmla="*/ 393660 h 826492"/>
                  <a:gd name="connsiteX91" fmla="*/ 81406 w 875235"/>
                  <a:gd name="connsiteY91" fmla="*/ 416520 h 826492"/>
                  <a:gd name="connsiteX92" fmla="*/ 104266 w 875235"/>
                  <a:gd name="connsiteY92" fmla="*/ 439380 h 826492"/>
                  <a:gd name="connsiteX93" fmla="*/ 127126 w 875235"/>
                  <a:gd name="connsiteY93" fmla="*/ 416520 h 826492"/>
                  <a:gd name="connsiteX94" fmla="*/ 104266 w 875235"/>
                  <a:gd name="connsiteY94" fmla="*/ 393660 h 826492"/>
                  <a:gd name="connsiteX95" fmla="*/ 815266 w 875235"/>
                  <a:gd name="connsiteY95" fmla="*/ 365088 h 826492"/>
                  <a:gd name="connsiteX96" fmla="*/ 792406 w 875235"/>
                  <a:gd name="connsiteY96" fmla="*/ 387948 h 826492"/>
                  <a:gd name="connsiteX97" fmla="*/ 815266 w 875235"/>
                  <a:gd name="connsiteY97" fmla="*/ 410808 h 826492"/>
                  <a:gd name="connsiteX98" fmla="*/ 838126 w 875235"/>
                  <a:gd name="connsiteY98" fmla="*/ 387948 h 826492"/>
                  <a:gd name="connsiteX99" fmla="*/ 815266 w 875235"/>
                  <a:gd name="connsiteY99" fmla="*/ 365088 h 826492"/>
                  <a:gd name="connsiteX100" fmla="*/ 713718 w 875235"/>
                  <a:gd name="connsiteY100" fmla="*/ 365088 h 826492"/>
                  <a:gd name="connsiteX101" fmla="*/ 690858 w 875235"/>
                  <a:gd name="connsiteY101" fmla="*/ 387948 h 826492"/>
                  <a:gd name="connsiteX102" fmla="*/ 713718 w 875235"/>
                  <a:gd name="connsiteY102" fmla="*/ 410808 h 826492"/>
                  <a:gd name="connsiteX103" fmla="*/ 736578 w 875235"/>
                  <a:gd name="connsiteY103" fmla="*/ 387948 h 826492"/>
                  <a:gd name="connsiteX104" fmla="*/ 713718 w 875235"/>
                  <a:gd name="connsiteY104" fmla="*/ 365088 h 826492"/>
                  <a:gd name="connsiteX105" fmla="*/ 488486 w 875235"/>
                  <a:gd name="connsiteY105" fmla="*/ 365088 h 826492"/>
                  <a:gd name="connsiteX106" fmla="*/ 465626 w 875235"/>
                  <a:gd name="connsiteY106" fmla="*/ 387948 h 826492"/>
                  <a:gd name="connsiteX107" fmla="*/ 488486 w 875235"/>
                  <a:gd name="connsiteY107" fmla="*/ 410808 h 826492"/>
                  <a:gd name="connsiteX108" fmla="*/ 511346 w 875235"/>
                  <a:gd name="connsiteY108" fmla="*/ 387948 h 826492"/>
                  <a:gd name="connsiteX109" fmla="*/ 488486 w 875235"/>
                  <a:gd name="connsiteY109" fmla="*/ 365088 h 826492"/>
                  <a:gd name="connsiteX110" fmla="*/ 386938 w 875235"/>
                  <a:gd name="connsiteY110" fmla="*/ 365088 h 826492"/>
                  <a:gd name="connsiteX111" fmla="*/ 364078 w 875235"/>
                  <a:gd name="connsiteY111" fmla="*/ 387948 h 826492"/>
                  <a:gd name="connsiteX112" fmla="*/ 386938 w 875235"/>
                  <a:gd name="connsiteY112" fmla="*/ 410808 h 826492"/>
                  <a:gd name="connsiteX113" fmla="*/ 409798 w 875235"/>
                  <a:gd name="connsiteY113" fmla="*/ 387948 h 826492"/>
                  <a:gd name="connsiteX114" fmla="*/ 386938 w 875235"/>
                  <a:gd name="connsiteY114" fmla="*/ 365088 h 826492"/>
                  <a:gd name="connsiteX115" fmla="*/ 160771 w 875235"/>
                  <a:gd name="connsiteY115" fmla="*/ 365088 h 826492"/>
                  <a:gd name="connsiteX116" fmla="*/ 137911 w 875235"/>
                  <a:gd name="connsiteY116" fmla="*/ 387948 h 826492"/>
                  <a:gd name="connsiteX117" fmla="*/ 160771 w 875235"/>
                  <a:gd name="connsiteY117" fmla="*/ 410808 h 826492"/>
                  <a:gd name="connsiteX118" fmla="*/ 183631 w 875235"/>
                  <a:gd name="connsiteY118" fmla="*/ 387948 h 826492"/>
                  <a:gd name="connsiteX119" fmla="*/ 160771 w 875235"/>
                  <a:gd name="connsiteY119" fmla="*/ 365088 h 826492"/>
                  <a:gd name="connsiteX120" fmla="*/ 59223 w 875235"/>
                  <a:gd name="connsiteY120" fmla="*/ 365088 h 826492"/>
                  <a:gd name="connsiteX121" fmla="*/ 36363 w 875235"/>
                  <a:gd name="connsiteY121" fmla="*/ 387948 h 826492"/>
                  <a:gd name="connsiteX122" fmla="*/ 59223 w 875235"/>
                  <a:gd name="connsiteY122" fmla="*/ 410808 h 826492"/>
                  <a:gd name="connsiteX123" fmla="*/ 82083 w 875235"/>
                  <a:gd name="connsiteY123" fmla="*/ 387948 h 826492"/>
                  <a:gd name="connsiteX124" fmla="*/ 59223 w 875235"/>
                  <a:gd name="connsiteY124" fmla="*/ 365088 h 826492"/>
                  <a:gd name="connsiteX125" fmla="*/ 765165 w 875235"/>
                  <a:gd name="connsiteY125" fmla="*/ 335014 h 826492"/>
                  <a:gd name="connsiteX126" fmla="*/ 742305 w 875235"/>
                  <a:gd name="connsiteY126" fmla="*/ 357874 h 826492"/>
                  <a:gd name="connsiteX127" fmla="*/ 765165 w 875235"/>
                  <a:gd name="connsiteY127" fmla="*/ 380734 h 826492"/>
                  <a:gd name="connsiteX128" fmla="*/ 788025 w 875235"/>
                  <a:gd name="connsiteY128" fmla="*/ 357874 h 826492"/>
                  <a:gd name="connsiteX129" fmla="*/ 765165 w 875235"/>
                  <a:gd name="connsiteY129" fmla="*/ 335014 h 826492"/>
                  <a:gd name="connsiteX130" fmla="*/ 437712 w 875235"/>
                  <a:gd name="connsiteY130" fmla="*/ 335014 h 826492"/>
                  <a:gd name="connsiteX131" fmla="*/ 414852 w 875235"/>
                  <a:gd name="connsiteY131" fmla="*/ 357874 h 826492"/>
                  <a:gd name="connsiteX132" fmla="*/ 437712 w 875235"/>
                  <a:gd name="connsiteY132" fmla="*/ 380734 h 826492"/>
                  <a:gd name="connsiteX133" fmla="*/ 460572 w 875235"/>
                  <a:gd name="connsiteY133" fmla="*/ 357874 h 826492"/>
                  <a:gd name="connsiteX134" fmla="*/ 437712 w 875235"/>
                  <a:gd name="connsiteY134" fmla="*/ 335014 h 826492"/>
                  <a:gd name="connsiteX135" fmla="*/ 104693 w 875235"/>
                  <a:gd name="connsiteY135" fmla="*/ 335014 h 826492"/>
                  <a:gd name="connsiteX136" fmla="*/ 81833 w 875235"/>
                  <a:gd name="connsiteY136" fmla="*/ 357874 h 826492"/>
                  <a:gd name="connsiteX137" fmla="*/ 104693 w 875235"/>
                  <a:gd name="connsiteY137" fmla="*/ 380734 h 826492"/>
                  <a:gd name="connsiteX138" fmla="*/ 127553 w 875235"/>
                  <a:gd name="connsiteY138" fmla="*/ 357874 h 826492"/>
                  <a:gd name="connsiteX139" fmla="*/ 104693 w 875235"/>
                  <a:gd name="connsiteY139" fmla="*/ 335014 h 826492"/>
                  <a:gd name="connsiteX140" fmla="*/ 437712 w 875235"/>
                  <a:gd name="connsiteY140" fmla="*/ 138633 h 826492"/>
                  <a:gd name="connsiteX141" fmla="*/ 414852 w 875235"/>
                  <a:gd name="connsiteY141" fmla="*/ 161493 h 826492"/>
                  <a:gd name="connsiteX142" fmla="*/ 437712 w 875235"/>
                  <a:gd name="connsiteY142" fmla="*/ 184353 h 826492"/>
                  <a:gd name="connsiteX143" fmla="*/ 460572 w 875235"/>
                  <a:gd name="connsiteY143" fmla="*/ 161493 h 826492"/>
                  <a:gd name="connsiteX144" fmla="*/ 437712 w 875235"/>
                  <a:gd name="connsiteY144" fmla="*/ 138633 h 826492"/>
                  <a:gd name="connsiteX145" fmla="*/ 488486 w 875235"/>
                  <a:gd name="connsiteY145" fmla="*/ 113932 h 826492"/>
                  <a:gd name="connsiteX146" fmla="*/ 465626 w 875235"/>
                  <a:gd name="connsiteY146" fmla="*/ 136792 h 826492"/>
                  <a:gd name="connsiteX147" fmla="*/ 488486 w 875235"/>
                  <a:gd name="connsiteY147" fmla="*/ 159652 h 826492"/>
                  <a:gd name="connsiteX148" fmla="*/ 511346 w 875235"/>
                  <a:gd name="connsiteY148" fmla="*/ 136792 h 826492"/>
                  <a:gd name="connsiteX149" fmla="*/ 488486 w 875235"/>
                  <a:gd name="connsiteY149" fmla="*/ 113932 h 826492"/>
                  <a:gd name="connsiteX150" fmla="*/ 386938 w 875235"/>
                  <a:gd name="connsiteY150" fmla="*/ 113932 h 826492"/>
                  <a:gd name="connsiteX151" fmla="*/ 364078 w 875235"/>
                  <a:gd name="connsiteY151" fmla="*/ 136792 h 826492"/>
                  <a:gd name="connsiteX152" fmla="*/ 386938 w 875235"/>
                  <a:gd name="connsiteY152" fmla="*/ 159652 h 826492"/>
                  <a:gd name="connsiteX153" fmla="*/ 409798 w 875235"/>
                  <a:gd name="connsiteY153" fmla="*/ 136792 h 826492"/>
                  <a:gd name="connsiteX154" fmla="*/ 386938 w 875235"/>
                  <a:gd name="connsiteY154" fmla="*/ 113932 h 826492"/>
                  <a:gd name="connsiteX155" fmla="*/ 437712 w 875235"/>
                  <a:gd name="connsiteY155" fmla="*/ 81407 h 826492"/>
                  <a:gd name="connsiteX156" fmla="*/ 414852 w 875235"/>
                  <a:gd name="connsiteY156" fmla="*/ 104267 h 826492"/>
                  <a:gd name="connsiteX157" fmla="*/ 437712 w 875235"/>
                  <a:gd name="connsiteY157" fmla="*/ 127127 h 826492"/>
                  <a:gd name="connsiteX158" fmla="*/ 460572 w 875235"/>
                  <a:gd name="connsiteY158" fmla="*/ 104267 h 826492"/>
                  <a:gd name="connsiteX159" fmla="*/ 437712 w 875235"/>
                  <a:gd name="connsiteY159" fmla="*/ 81407 h 826492"/>
                  <a:gd name="connsiteX160" fmla="*/ 488486 w 875235"/>
                  <a:gd name="connsiteY160" fmla="*/ 53529 h 826492"/>
                  <a:gd name="connsiteX161" fmla="*/ 465626 w 875235"/>
                  <a:gd name="connsiteY161" fmla="*/ 76389 h 826492"/>
                  <a:gd name="connsiteX162" fmla="*/ 488486 w 875235"/>
                  <a:gd name="connsiteY162" fmla="*/ 99249 h 826492"/>
                  <a:gd name="connsiteX163" fmla="*/ 511346 w 875235"/>
                  <a:gd name="connsiteY163" fmla="*/ 76389 h 826492"/>
                  <a:gd name="connsiteX164" fmla="*/ 488486 w 875235"/>
                  <a:gd name="connsiteY164" fmla="*/ 53529 h 826492"/>
                  <a:gd name="connsiteX165" fmla="*/ 386938 w 875235"/>
                  <a:gd name="connsiteY165" fmla="*/ 53529 h 826492"/>
                  <a:gd name="connsiteX166" fmla="*/ 364078 w 875235"/>
                  <a:gd name="connsiteY166" fmla="*/ 76389 h 826492"/>
                  <a:gd name="connsiteX167" fmla="*/ 386938 w 875235"/>
                  <a:gd name="connsiteY167" fmla="*/ 99249 h 826492"/>
                  <a:gd name="connsiteX168" fmla="*/ 409798 w 875235"/>
                  <a:gd name="connsiteY168" fmla="*/ 76389 h 826492"/>
                  <a:gd name="connsiteX169" fmla="*/ 386938 w 875235"/>
                  <a:gd name="connsiteY169" fmla="*/ 53529 h 826492"/>
                  <a:gd name="connsiteX170" fmla="*/ 437712 w 875235"/>
                  <a:gd name="connsiteY170" fmla="*/ 24230 h 826492"/>
                  <a:gd name="connsiteX171" fmla="*/ 414852 w 875235"/>
                  <a:gd name="connsiteY171" fmla="*/ 47090 h 826492"/>
                  <a:gd name="connsiteX172" fmla="*/ 437712 w 875235"/>
                  <a:gd name="connsiteY172" fmla="*/ 69950 h 826492"/>
                  <a:gd name="connsiteX173" fmla="*/ 460572 w 875235"/>
                  <a:gd name="connsiteY173" fmla="*/ 47090 h 826492"/>
                  <a:gd name="connsiteX174" fmla="*/ 437712 w 875235"/>
                  <a:gd name="connsiteY174" fmla="*/ 24230 h 826492"/>
                  <a:gd name="connsiteX175" fmla="*/ 437617 w 875235"/>
                  <a:gd name="connsiteY175" fmla="*/ 0 h 826492"/>
                  <a:gd name="connsiteX176" fmla="*/ 545922 w 875235"/>
                  <a:gd name="connsiteY176" fmla="*/ 108305 h 826492"/>
                  <a:gd name="connsiteX177" fmla="*/ 479774 w 875235"/>
                  <a:gd name="connsiteY177" fmla="*/ 208099 h 826492"/>
                  <a:gd name="connsiteX178" fmla="*/ 477170 w 875235"/>
                  <a:gd name="connsiteY178" fmla="*/ 208624 h 826492"/>
                  <a:gd name="connsiteX179" fmla="*/ 477170 w 875235"/>
                  <a:gd name="connsiteY179" fmla="*/ 312925 h 826492"/>
                  <a:gd name="connsiteX180" fmla="*/ 479774 w 875235"/>
                  <a:gd name="connsiteY180" fmla="*/ 313451 h 826492"/>
                  <a:gd name="connsiteX181" fmla="*/ 537411 w 875235"/>
                  <a:gd name="connsiteY181" fmla="*/ 371087 h 826492"/>
                  <a:gd name="connsiteX182" fmla="*/ 537655 w 875235"/>
                  <a:gd name="connsiteY182" fmla="*/ 372297 h 826492"/>
                  <a:gd name="connsiteX183" fmla="*/ 666891 w 875235"/>
                  <a:gd name="connsiteY183" fmla="*/ 372297 h 826492"/>
                  <a:gd name="connsiteX184" fmla="*/ 667135 w 875235"/>
                  <a:gd name="connsiteY184" fmla="*/ 371088 h 826492"/>
                  <a:gd name="connsiteX185" fmla="*/ 766930 w 875235"/>
                  <a:gd name="connsiteY185" fmla="*/ 304940 h 826492"/>
                  <a:gd name="connsiteX186" fmla="*/ 875235 w 875235"/>
                  <a:gd name="connsiteY186" fmla="*/ 413246 h 826492"/>
                  <a:gd name="connsiteX187" fmla="*/ 766930 w 875235"/>
                  <a:gd name="connsiteY187" fmla="*/ 521551 h 826492"/>
                  <a:gd name="connsiteX188" fmla="*/ 667135 w 875235"/>
                  <a:gd name="connsiteY188" fmla="*/ 455403 h 826492"/>
                  <a:gd name="connsiteX189" fmla="*/ 666328 w 875235"/>
                  <a:gd name="connsiteY189" fmla="*/ 451404 h 826492"/>
                  <a:gd name="connsiteX190" fmla="*/ 538218 w 875235"/>
                  <a:gd name="connsiteY190" fmla="*/ 451404 h 826492"/>
                  <a:gd name="connsiteX191" fmla="*/ 537411 w 875235"/>
                  <a:gd name="connsiteY191" fmla="*/ 455402 h 826492"/>
                  <a:gd name="connsiteX192" fmla="*/ 479774 w 875235"/>
                  <a:gd name="connsiteY192" fmla="*/ 513039 h 826492"/>
                  <a:gd name="connsiteX193" fmla="*/ 477170 w 875235"/>
                  <a:gd name="connsiteY193" fmla="*/ 513565 h 826492"/>
                  <a:gd name="connsiteX194" fmla="*/ 477170 w 875235"/>
                  <a:gd name="connsiteY194" fmla="*/ 617868 h 826492"/>
                  <a:gd name="connsiteX195" fmla="*/ 479774 w 875235"/>
                  <a:gd name="connsiteY195" fmla="*/ 618393 h 826492"/>
                  <a:gd name="connsiteX196" fmla="*/ 545922 w 875235"/>
                  <a:gd name="connsiteY196" fmla="*/ 718187 h 826492"/>
                  <a:gd name="connsiteX197" fmla="*/ 437617 w 875235"/>
                  <a:gd name="connsiteY197" fmla="*/ 826492 h 826492"/>
                  <a:gd name="connsiteX198" fmla="*/ 329312 w 875235"/>
                  <a:gd name="connsiteY198" fmla="*/ 718187 h 826492"/>
                  <a:gd name="connsiteX199" fmla="*/ 395460 w 875235"/>
                  <a:gd name="connsiteY199" fmla="*/ 618393 h 826492"/>
                  <a:gd name="connsiteX200" fmla="*/ 398064 w 875235"/>
                  <a:gd name="connsiteY200" fmla="*/ 617868 h 826492"/>
                  <a:gd name="connsiteX201" fmla="*/ 398064 w 875235"/>
                  <a:gd name="connsiteY201" fmla="*/ 513565 h 826492"/>
                  <a:gd name="connsiteX202" fmla="*/ 395460 w 875235"/>
                  <a:gd name="connsiteY202" fmla="*/ 513039 h 826492"/>
                  <a:gd name="connsiteX203" fmla="*/ 337823 w 875235"/>
                  <a:gd name="connsiteY203" fmla="*/ 455402 h 826492"/>
                  <a:gd name="connsiteX204" fmla="*/ 337016 w 875235"/>
                  <a:gd name="connsiteY204" fmla="*/ 451404 h 826492"/>
                  <a:gd name="connsiteX205" fmla="*/ 208906 w 875235"/>
                  <a:gd name="connsiteY205" fmla="*/ 451404 h 826492"/>
                  <a:gd name="connsiteX206" fmla="*/ 208099 w 875235"/>
                  <a:gd name="connsiteY206" fmla="*/ 455403 h 826492"/>
                  <a:gd name="connsiteX207" fmla="*/ 108305 w 875235"/>
                  <a:gd name="connsiteY207" fmla="*/ 521551 h 826492"/>
                  <a:gd name="connsiteX208" fmla="*/ 0 w 875235"/>
                  <a:gd name="connsiteY208" fmla="*/ 413246 h 826492"/>
                  <a:gd name="connsiteX209" fmla="*/ 108305 w 875235"/>
                  <a:gd name="connsiteY209" fmla="*/ 304940 h 826492"/>
                  <a:gd name="connsiteX210" fmla="*/ 208099 w 875235"/>
                  <a:gd name="connsiteY210" fmla="*/ 371088 h 826492"/>
                  <a:gd name="connsiteX211" fmla="*/ 208343 w 875235"/>
                  <a:gd name="connsiteY211" fmla="*/ 372297 h 826492"/>
                  <a:gd name="connsiteX212" fmla="*/ 337579 w 875235"/>
                  <a:gd name="connsiteY212" fmla="*/ 372297 h 826492"/>
                  <a:gd name="connsiteX213" fmla="*/ 337823 w 875235"/>
                  <a:gd name="connsiteY213" fmla="*/ 371087 h 826492"/>
                  <a:gd name="connsiteX214" fmla="*/ 395460 w 875235"/>
                  <a:gd name="connsiteY214" fmla="*/ 313451 h 826492"/>
                  <a:gd name="connsiteX215" fmla="*/ 398064 w 875235"/>
                  <a:gd name="connsiteY215" fmla="*/ 312925 h 826492"/>
                  <a:gd name="connsiteX216" fmla="*/ 398064 w 875235"/>
                  <a:gd name="connsiteY216" fmla="*/ 208624 h 826492"/>
                  <a:gd name="connsiteX217" fmla="*/ 395460 w 875235"/>
                  <a:gd name="connsiteY217" fmla="*/ 208099 h 826492"/>
                  <a:gd name="connsiteX218" fmla="*/ 329312 w 875235"/>
                  <a:gd name="connsiteY218" fmla="*/ 108305 h 826492"/>
                  <a:gd name="connsiteX219" fmla="*/ 437617 w 875235"/>
                  <a:gd name="connsiteY219" fmla="*/ 0 h 826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875235" h="826492">
                    <a:moveTo>
                      <a:pt x="437712" y="753602"/>
                    </a:moveTo>
                    <a:cubicBezTo>
                      <a:pt x="425087" y="753602"/>
                      <a:pt x="414852" y="763837"/>
                      <a:pt x="414852" y="776462"/>
                    </a:cubicBezTo>
                    <a:cubicBezTo>
                      <a:pt x="414852" y="789087"/>
                      <a:pt x="425087" y="799322"/>
                      <a:pt x="437712" y="799322"/>
                    </a:cubicBezTo>
                    <a:cubicBezTo>
                      <a:pt x="450337" y="799322"/>
                      <a:pt x="460572" y="789087"/>
                      <a:pt x="460572" y="776462"/>
                    </a:cubicBezTo>
                    <a:cubicBezTo>
                      <a:pt x="460572" y="763837"/>
                      <a:pt x="450337" y="753602"/>
                      <a:pt x="437712" y="753602"/>
                    </a:cubicBezTo>
                    <a:close/>
                    <a:moveTo>
                      <a:pt x="488486" y="726187"/>
                    </a:moveTo>
                    <a:cubicBezTo>
                      <a:pt x="475861" y="726187"/>
                      <a:pt x="465626" y="736422"/>
                      <a:pt x="465626" y="749047"/>
                    </a:cubicBezTo>
                    <a:cubicBezTo>
                      <a:pt x="465626" y="761672"/>
                      <a:pt x="475861" y="771907"/>
                      <a:pt x="488486" y="771907"/>
                    </a:cubicBezTo>
                    <a:cubicBezTo>
                      <a:pt x="501111" y="771907"/>
                      <a:pt x="511346" y="761672"/>
                      <a:pt x="511346" y="749047"/>
                    </a:cubicBezTo>
                    <a:cubicBezTo>
                      <a:pt x="511346" y="736422"/>
                      <a:pt x="501111" y="726187"/>
                      <a:pt x="488486" y="726187"/>
                    </a:cubicBezTo>
                    <a:close/>
                    <a:moveTo>
                      <a:pt x="386938" y="726187"/>
                    </a:moveTo>
                    <a:cubicBezTo>
                      <a:pt x="374313" y="726187"/>
                      <a:pt x="364078" y="736422"/>
                      <a:pt x="364078" y="749047"/>
                    </a:cubicBezTo>
                    <a:cubicBezTo>
                      <a:pt x="364078" y="761672"/>
                      <a:pt x="374313" y="771907"/>
                      <a:pt x="386938" y="771907"/>
                    </a:cubicBezTo>
                    <a:cubicBezTo>
                      <a:pt x="399563" y="771907"/>
                      <a:pt x="409798" y="761672"/>
                      <a:pt x="409798" y="749047"/>
                    </a:cubicBezTo>
                    <a:cubicBezTo>
                      <a:pt x="409798" y="736422"/>
                      <a:pt x="399563" y="726187"/>
                      <a:pt x="386938" y="726187"/>
                    </a:cubicBezTo>
                    <a:close/>
                    <a:moveTo>
                      <a:pt x="437712" y="696400"/>
                    </a:moveTo>
                    <a:cubicBezTo>
                      <a:pt x="425087" y="696400"/>
                      <a:pt x="414852" y="706635"/>
                      <a:pt x="414852" y="719260"/>
                    </a:cubicBezTo>
                    <a:cubicBezTo>
                      <a:pt x="414852" y="731885"/>
                      <a:pt x="425087" y="742120"/>
                      <a:pt x="437712" y="742120"/>
                    </a:cubicBezTo>
                    <a:cubicBezTo>
                      <a:pt x="450337" y="742120"/>
                      <a:pt x="460572" y="731885"/>
                      <a:pt x="460572" y="719260"/>
                    </a:cubicBezTo>
                    <a:cubicBezTo>
                      <a:pt x="460572" y="706635"/>
                      <a:pt x="450337" y="696400"/>
                      <a:pt x="437712" y="696400"/>
                    </a:cubicBezTo>
                    <a:close/>
                    <a:moveTo>
                      <a:pt x="488486" y="665784"/>
                    </a:moveTo>
                    <a:cubicBezTo>
                      <a:pt x="475861" y="665784"/>
                      <a:pt x="465626" y="676019"/>
                      <a:pt x="465626" y="688644"/>
                    </a:cubicBezTo>
                    <a:cubicBezTo>
                      <a:pt x="465626" y="701269"/>
                      <a:pt x="475861" y="711504"/>
                      <a:pt x="488486" y="711504"/>
                    </a:cubicBezTo>
                    <a:cubicBezTo>
                      <a:pt x="501111" y="711504"/>
                      <a:pt x="511346" y="701269"/>
                      <a:pt x="511346" y="688644"/>
                    </a:cubicBezTo>
                    <a:cubicBezTo>
                      <a:pt x="511346" y="676019"/>
                      <a:pt x="501111" y="665784"/>
                      <a:pt x="488486" y="665784"/>
                    </a:cubicBezTo>
                    <a:close/>
                    <a:moveTo>
                      <a:pt x="386938" y="665784"/>
                    </a:moveTo>
                    <a:cubicBezTo>
                      <a:pt x="374313" y="665784"/>
                      <a:pt x="364078" y="676019"/>
                      <a:pt x="364078" y="688644"/>
                    </a:cubicBezTo>
                    <a:cubicBezTo>
                      <a:pt x="364078" y="701269"/>
                      <a:pt x="374313" y="711504"/>
                      <a:pt x="386938" y="711504"/>
                    </a:cubicBezTo>
                    <a:cubicBezTo>
                      <a:pt x="399563" y="711504"/>
                      <a:pt x="409798" y="701269"/>
                      <a:pt x="409798" y="688644"/>
                    </a:cubicBezTo>
                    <a:cubicBezTo>
                      <a:pt x="409798" y="676019"/>
                      <a:pt x="399563" y="665784"/>
                      <a:pt x="386938" y="665784"/>
                    </a:cubicBezTo>
                    <a:close/>
                    <a:moveTo>
                      <a:pt x="437712" y="639199"/>
                    </a:moveTo>
                    <a:cubicBezTo>
                      <a:pt x="425087" y="639199"/>
                      <a:pt x="414852" y="649434"/>
                      <a:pt x="414852" y="662059"/>
                    </a:cubicBezTo>
                    <a:cubicBezTo>
                      <a:pt x="414852" y="674684"/>
                      <a:pt x="425087" y="684919"/>
                      <a:pt x="437712" y="684919"/>
                    </a:cubicBezTo>
                    <a:cubicBezTo>
                      <a:pt x="450337" y="684919"/>
                      <a:pt x="460572" y="674684"/>
                      <a:pt x="460572" y="662059"/>
                    </a:cubicBezTo>
                    <a:cubicBezTo>
                      <a:pt x="460572" y="649434"/>
                      <a:pt x="450337" y="639199"/>
                      <a:pt x="437712" y="639199"/>
                    </a:cubicBezTo>
                    <a:close/>
                    <a:moveTo>
                      <a:pt x="765165" y="449417"/>
                    </a:moveTo>
                    <a:cubicBezTo>
                      <a:pt x="752540" y="449417"/>
                      <a:pt x="742305" y="459652"/>
                      <a:pt x="742305" y="472277"/>
                    </a:cubicBezTo>
                    <a:cubicBezTo>
                      <a:pt x="742305" y="484902"/>
                      <a:pt x="752540" y="495137"/>
                      <a:pt x="765165" y="495137"/>
                    </a:cubicBezTo>
                    <a:cubicBezTo>
                      <a:pt x="777790" y="495137"/>
                      <a:pt x="788025" y="484902"/>
                      <a:pt x="788025" y="472277"/>
                    </a:cubicBezTo>
                    <a:cubicBezTo>
                      <a:pt x="788025" y="459652"/>
                      <a:pt x="777790" y="449417"/>
                      <a:pt x="765165" y="449417"/>
                    </a:cubicBezTo>
                    <a:close/>
                    <a:moveTo>
                      <a:pt x="437712" y="449417"/>
                    </a:moveTo>
                    <a:cubicBezTo>
                      <a:pt x="425087" y="449417"/>
                      <a:pt x="414852" y="459652"/>
                      <a:pt x="414852" y="472277"/>
                    </a:cubicBezTo>
                    <a:cubicBezTo>
                      <a:pt x="414852" y="484902"/>
                      <a:pt x="425087" y="495137"/>
                      <a:pt x="437712" y="495137"/>
                    </a:cubicBezTo>
                    <a:cubicBezTo>
                      <a:pt x="450337" y="495137"/>
                      <a:pt x="460572" y="484902"/>
                      <a:pt x="460572" y="472277"/>
                    </a:cubicBezTo>
                    <a:cubicBezTo>
                      <a:pt x="460572" y="459652"/>
                      <a:pt x="450337" y="449417"/>
                      <a:pt x="437712" y="449417"/>
                    </a:cubicBezTo>
                    <a:close/>
                    <a:moveTo>
                      <a:pt x="104693" y="449417"/>
                    </a:moveTo>
                    <a:cubicBezTo>
                      <a:pt x="92068" y="449417"/>
                      <a:pt x="81833" y="459652"/>
                      <a:pt x="81833" y="472277"/>
                    </a:cubicBezTo>
                    <a:cubicBezTo>
                      <a:pt x="81833" y="484902"/>
                      <a:pt x="92068" y="495137"/>
                      <a:pt x="104693" y="495137"/>
                    </a:cubicBezTo>
                    <a:cubicBezTo>
                      <a:pt x="117318" y="495137"/>
                      <a:pt x="127553" y="484902"/>
                      <a:pt x="127553" y="472277"/>
                    </a:cubicBezTo>
                    <a:cubicBezTo>
                      <a:pt x="127553" y="459652"/>
                      <a:pt x="117318" y="449417"/>
                      <a:pt x="104693" y="449417"/>
                    </a:cubicBezTo>
                    <a:close/>
                    <a:moveTo>
                      <a:pt x="815266" y="425491"/>
                    </a:moveTo>
                    <a:cubicBezTo>
                      <a:pt x="802641" y="425491"/>
                      <a:pt x="792406" y="435726"/>
                      <a:pt x="792406" y="448351"/>
                    </a:cubicBezTo>
                    <a:cubicBezTo>
                      <a:pt x="792406" y="460976"/>
                      <a:pt x="802641" y="471211"/>
                      <a:pt x="815266" y="471211"/>
                    </a:cubicBezTo>
                    <a:cubicBezTo>
                      <a:pt x="827891" y="471211"/>
                      <a:pt x="838126" y="460976"/>
                      <a:pt x="838126" y="448351"/>
                    </a:cubicBezTo>
                    <a:cubicBezTo>
                      <a:pt x="838126" y="435726"/>
                      <a:pt x="827891" y="425491"/>
                      <a:pt x="815266" y="425491"/>
                    </a:cubicBezTo>
                    <a:close/>
                    <a:moveTo>
                      <a:pt x="713718" y="425491"/>
                    </a:moveTo>
                    <a:cubicBezTo>
                      <a:pt x="701093" y="425491"/>
                      <a:pt x="690858" y="435726"/>
                      <a:pt x="690858" y="448351"/>
                    </a:cubicBezTo>
                    <a:cubicBezTo>
                      <a:pt x="690858" y="460976"/>
                      <a:pt x="701093" y="471211"/>
                      <a:pt x="713718" y="471211"/>
                    </a:cubicBezTo>
                    <a:cubicBezTo>
                      <a:pt x="726343" y="471211"/>
                      <a:pt x="736578" y="460976"/>
                      <a:pt x="736578" y="448351"/>
                    </a:cubicBezTo>
                    <a:cubicBezTo>
                      <a:pt x="736578" y="435726"/>
                      <a:pt x="726343" y="425491"/>
                      <a:pt x="713718" y="425491"/>
                    </a:cubicBezTo>
                    <a:close/>
                    <a:moveTo>
                      <a:pt x="488486" y="425491"/>
                    </a:moveTo>
                    <a:cubicBezTo>
                      <a:pt x="475861" y="425491"/>
                      <a:pt x="465626" y="435726"/>
                      <a:pt x="465626" y="448351"/>
                    </a:cubicBezTo>
                    <a:cubicBezTo>
                      <a:pt x="465626" y="460976"/>
                      <a:pt x="475861" y="471211"/>
                      <a:pt x="488486" y="471211"/>
                    </a:cubicBezTo>
                    <a:cubicBezTo>
                      <a:pt x="501111" y="471211"/>
                      <a:pt x="511346" y="460976"/>
                      <a:pt x="511346" y="448351"/>
                    </a:cubicBezTo>
                    <a:cubicBezTo>
                      <a:pt x="511346" y="435726"/>
                      <a:pt x="501111" y="425491"/>
                      <a:pt x="488486" y="425491"/>
                    </a:cubicBezTo>
                    <a:close/>
                    <a:moveTo>
                      <a:pt x="386938" y="425491"/>
                    </a:moveTo>
                    <a:cubicBezTo>
                      <a:pt x="374313" y="425491"/>
                      <a:pt x="364078" y="435726"/>
                      <a:pt x="364078" y="448351"/>
                    </a:cubicBezTo>
                    <a:cubicBezTo>
                      <a:pt x="364078" y="460976"/>
                      <a:pt x="374313" y="471211"/>
                      <a:pt x="386938" y="471211"/>
                    </a:cubicBezTo>
                    <a:cubicBezTo>
                      <a:pt x="399563" y="471211"/>
                      <a:pt x="409798" y="460976"/>
                      <a:pt x="409798" y="448351"/>
                    </a:cubicBezTo>
                    <a:cubicBezTo>
                      <a:pt x="409798" y="435726"/>
                      <a:pt x="399563" y="425491"/>
                      <a:pt x="386938" y="425491"/>
                    </a:cubicBezTo>
                    <a:close/>
                    <a:moveTo>
                      <a:pt x="160771" y="425491"/>
                    </a:moveTo>
                    <a:cubicBezTo>
                      <a:pt x="148146" y="425491"/>
                      <a:pt x="137911" y="435726"/>
                      <a:pt x="137911" y="448351"/>
                    </a:cubicBezTo>
                    <a:cubicBezTo>
                      <a:pt x="137911" y="460976"/>
                      <a:pt x="148146" y="471211"/>
                      <a:pt x="160771" y="471211"/>
                    </a:cubicBezTo>
                    <a:cubicBezTo>
                      <a:pt x="173396" y="471211"/>
                      <a:pt x="183631" y="460976"/>
                      <a:pt x="183631" y="448351"/>
                    </a:cubicBezTo>
                    <a:cubicBezTo>
                      <a:pt x="183631" y="435726"/>
                      <a:pt x="173396" y="425491"/>
                      <a:pt x="160771" y="425491"/>
                    </a:cubicBezTo>
                    <a:close/>
                    <a:moveTo>
                      <a:pt x="59223" y="425491"/>
                    </a:moveTo>
                    <a:cubicBezTo>
                      <a:pt x="46598" y="425491"/>
                      <a:pt x="36363" y="435726"/>
                      <a:pt x="36363" y="448351"/>
                    </a:cubicBezTo>
                    <a:cubicBezTo>
                      <a:pt x="36363" y="460976"/>
                      <a:pt x="46598" y="471211"/>
                      <a:pt x="59223" y="471211"/>
                    </a:cubicBezTo>
                    <a:cubicBezTo>
                      <a:pt x="71848" y="471211"/>
                      <a:pt x="82083" y="460976"/>
                      <a:pt x="82083" y="448351"/>
                    </a:cubicBezTo>
                    <a:cubicBezTo>
                      <a:pt x="82083" y="435726"/>
                      <a:pt x="71848" y="425491"/>
                      <a:pt x="59223" y="425491"/>
                    </a:cubicBezTo>
                    <a:close/>
                    <a:moveTo>
                      <a:pt x="763819" y="393660"/>
                    </a:moveTo>
                    <a:cubicBezTo>
                      <a:pt x="751194" y="393660"/>
                      <a:pt x="740959" y="403895"/>
                      <a:pt x="740959" y="416520"/>
                    </a:cubicBezTo>
                    <a:cubicBezTo>
                      <a:pt x="740959" y="429145"/>
                      <a:pt x="751194" y="439380"/>
                      <a:pt x="763819" y="439380"/>
                    </a:cubicBezTo>
                    <a:cubicBezTo>
                      <a:pt x="776444" y="439380"/>
                      <a:pt x="786679" y="429145"/>
                      <a:pt x="786679" y="416520"/>
                    </a:cubicBezTo>
                    <a:cubicBezTo>
                      <a:pt x="786679" y="403895"/>
                      <a:pt x="776444" y="393660"/>
                      <a:pt x="763819" y="393660"/>
                    </a:cubicBezTo>
                    <a:close/>
                    <a:moveTo>
                      <a:pt x="437712" y="393660"/>
                    </a:moveTo>
                    <a:cubicBezTo>
                      <a:pt x="425087" y="393660"/>
                      <a:pt x="414852" y="403895"/>
                      <a:pt x="414852" y="416520"/>
                    </a:cubicBezTo>
                    <a:cubicBezTo>
                      <a:pt x="414852" y="429145"/>
                      <a:pt x="425087" y="439380"/>
                      <a:pt x="437712" y="439380"/>
                    </a:cubicBezTo>
                    <a:cubicBezTo>
                      <a:pt x="450337" y="439380"/>
                      <a:pt x="460572" y="429145"/>
                      <a:pt x="460572" y="416520"/>
                    </a:cubicBezTo>
                    <a:cubicBezTo>
                      <a:pt x="460572" y="403895"/>
                      <a:pt x="450337" y="393660"/>
                      <a:pt x="437712" y="393660"/>
                    </a:cubicBezTo>
                    <a:close/>
                    <a:moveTo>
                      <a:pt x="104266" y="393660"/>
                    </a:moveTo>
                    <a:cubicBezTo>
                      <a:pt x="91641" y="393660"/>
                      <a:pt x="81406" y="403895"/>
                      <a:pt x="81406" y="416520"/>
                    </a:cubicBezTo>
                    <a:cubicBezTo>
                      <a:pt x="81406" y="429145"/>
                      <a:pt x="91641" y="439380"/>
                      <a:pt x="104266" y="439380"/>
                    </a:cubicBezTo>
                    <a:cubicBezTo>
                      <a:pt x="116891" y="439380"/>
                      <a:pt x="127126" y="429145"/>
                      <a:pt x="127126" y="416520"/>
                    </a:cubicBezTo>
                    <a:cubicBezTo>
                      <a:pt x="127126" y="403895"/>
                      <a:pt x="116891" y="393660"/>
                      <a:pt x="104266" y="393660"/>
                    </a:cubicBezTo>
                    <a:close/>
                    <a:moveTo>
                      <a:pt x="815266" y="365088"/>
                    </a:moveTo>
                    <a:cubicBezTo>
                      <a:pt x="802641" y="365088"/>
                      <a:pt x="792406" y="375323"/>
                      <a:pt x="792406" y="387948"/>
                    </a:cubicBezTo>
                    <a:cubicBezTo>
                      <a:pt x="792406" y="400573"/>
                      <a:pt x="802641" y="410808"/>
                      <a:pt x="815266" y="410808"/>
                    </a:cubicBezTo>
                    <a:cubicBezTo>
                      <a:pt x="827891" y="410808"/>
                      <a:pt x="838126" y="400573"/>
                      <a:pt x="838126" y="387948"/>
                    </a:cubicBezTo>
                    <a:cubicBezTo>
                      <a:pt x="838126" y="375323"/>
                      <a:pt x="827891" y="365088"/>
                      <a:pt x="815266" y="365088"/>
                    </a:cubicBezTo>
                    <a:close/>
                    <a:moveTo>
                      <a:pt x="713718" y="365088"/>
                    </a:moveTo>
                    <a:cubicBezTo>
                      <a:pt x="701093" y="365088"/>
                      <a:pt x="690858" y="375323"/>
                      <a:pt x="690858" y="387948"/>
                    </a:cubicBezTo>
                    <a:cubicBezTo>
                      <a:pt x="690858" y="400573"/>
                      <a:pt x="701093" y="410808"/>
                      <a:pt x="713718" y="410808"/>
                    </a:cubicBezTo>
                    <a:cubicBezTo>
                      <a:pt x="726343" y="410808"/>
                      <a:pt x="736578" y="400573"/>
                      <a:pt x="736578" y="387948"/>
                    </a:cubicBezTo>
                    <a:cubicBezTo>
                      <a:pt x="736578" y="375323"/>
                      <a:pt x="726343" y="365088"/>
                      <a:pt x="713718" y="365088"/>
                    </a:cubicBezTo>
                    <a:close/>
                    <a:moveTo>
                      <a:pt x="488486" y="365088"/>
                    </a:moveTo>
                    <a:cubicBezTo>
                      <a:pt x="475861" y="365088"/>
                      <a:pt x="465626" y="375323"/>
                      <a:pt x="465626" y="387948"/>
                    </a:cubicBezTo>
                    <a:cubicBezTo>
                      <a:pt x="465626" y="400573"/>
                      <a:pt x="475861" y="410808"/>
                      <a:pt x="488486" y="410808"/>
                    </a:cubicBezTo>
                    <a:cubicBezTo>
                      <a:pt x="501111" y="410808"/>
                      <a:pt x="511346" y="400573"/>
                      <a:pt x="511346" y="387948"/>
                    </a:cubicBezTo>
                    <a:cubicBezTo>
                      <a:pt x="511346" y="375323"/>
                      <a:pt x="501111" y="365088"/>
                      <a:pt x="488486" y="365088"/>
                    </a:cubicBezTo>
                    <a:close/>
                    <a:moveTo>
                      <a:pt x="386938" y="365088"/>
                    </a:moveTo>
                    <a:cubicBezTo>
                      <a:pt x="374313" y="365088"/>
                      <a:pt x="364078" y="375323"/>
                      <a:pt x="364078" y="387948"/>
                    </a:cubicBezTo>
                    <a:cubicBezTo>
                      <a:pt x="364078" y="400573"/>
                      <a:pt x="374313" y="410808"/>
                      <a:pt x="386938" y="410808"/>
                    </a:cubicBezTo>
                    <a:cubicBezTo>
                      <a:pt x="399563" y="410808"/>
                      <a:pt x="409798" y="400573"/>
                      <a:pt x="409798" y="387948"/>
                    </a:cubicBezTo>
                    <a:cubicBezTo>
                      <a:pt x="409798" y="375323"/>
                      <a:pt x="399563" y="365088"/>
                      <a:pt x="386938" y="365088"/>
                    </a:cubicBezTo>
                    <a:close/>
                    <a:moveTo>
                      <a:pt x="160771" y="365088"/>
                    </a:moveTo>
                    <a:cubicBezTo>
                      <a:pt x="148146" y="365088"/>
                      <a:pt x="137911" y="375323"/>
                      <a:pt x="137911" y="387948"/>
                    </a:cubicBezTo>
                    <a:cubicBezTo>
                      <a:pt x="137911" y="400573"/>
                      <a:pt x="148146" y="410808"/>
                      <a:pt x="160771" y="410808"/>
                    </a:cubicBezTo>
                    <a:cubicBezTo>
                      <a:pt x="173396" y="410808"/>
                      <a:pt x="183631" y="400573"/>
                      <a:pt x="183631" y="387948"/>
                    </a:cubicBezTo>
                    <a:cubicBezTo>
                      <a:pt x="183631" y="375323"/>
                      <a:pt x="173396" y="365088"/>
                      <a:pt x="160771" y="365088"/>
                    </a:cubicBezTo>
                    <a:close/>
                    <a:moveTo>
                      <a:pt x="59223" y="365088"/>
                    </a:moveTo>
                    <a:cubicBezTo>
                      <a:pt x="46598" y="365088"/>
                      <a:pt x="36363" y="375323"/>
                      <a:pt x="36363" y="387948"/>
                    </a:cubicBezTo>
                    <a:cubicBezTo>
                      <a:pt x="36363" y="400573"/>
                      <a:pt x="46598" y="410808"/>
                      <a:pt x="59223" y="410808"/>
                    </a:cubicBezTo>
                    <a:cubicBezTo>
                      <a:pt x="71848" y="410808"/>
                      <a:pt x="82083" y="400573"/>
                      <a:pt x="82083" y="387948"/>
                    </a:cubicBezTo>
                    <a:cubicBezTo>
                      <a:pt x="82083" y="375323"/>
                      <a:pt x="71848" y="365088"/>
                      <a:pt x="59223" y="365088"/>
                    </a:cubicBezTo>
                    <a:close/>
                    <a:moveTo>
                      <a:pt x="765165" y="335014"/>
                    </a:moveTo>
                    <a:cubicBezTo>
                      <a:pt x="752540" y="335014"/>
                      <a:pt x="742305" y="345249"/>
                      <a:pt x="742305" y="357874"/>
                    </a:cubicBezTo>
                    <a:cubicBezTo>
                      <a:pt x="742305" y="370499"/>
                      <a:pt x="752540" y="380734"/>
                      <a:pt x="765165" y="380734"/>
                    </a:cubicBezTo>
                    <a:cubicBezTo>
                      <a:pt x="777790" y="380734"/>
                      <a:pt x="788025" y="370499"/>
                      <a:pt x="788025" y="357874"/>
                    </a:cubicBezTo>
                    <a:cubicBezTo>
                      <a:pt x="788025" y="345249"/>
                      <a:pt x="777790" y="335014"/>
                      <a:pt x="765165" y="335014"/>
                    </a:cubicBezTo>
                    <a:close/>
                    <a:moveTo>
                      <a:pt x="437712" y="335014"/>
                    </a:moveTo>
                    <a:cubicBezTo>
                      <a:pt x="425087" y="335014"/>
                      <a:pt x="414852" y="345249"/>
                      <a:pt x="414852" y="357874"/>
                    </a:cubicBezTo>
                    <a:cubicBezTo>
                      <a:pt x="414852" y="370499"/>
                      <a:pt x="425087" y="380734"/>
                      <a:pt x="437712" y="380734"/>
                    </a:cubicBezTo>
                    <a:cubicBezTo>
                      <a:pt x="450337" y="380734"/>
                      <a:pt x="460572" y="370499"/>
                      <a:pt x="460572" y="357874"/>
                    </a:cubicBezTo>
                    <a:cubicBezTo>
                      <a:pt x="460572" y="345249"/>
                      <a:pt x="450337" y="335014"/>
                      <a:pt x="437712" y="335014"/>
                    </a:cubicBezTo>
                    <a:close/>
                    <a:moveTo>
                      <a:pt x="104693" y="335014"/>
                    </a:moveTo>
                    <a:cubicBezTo>
                      <a:pt x="92068" y="335014"/>
                      <a:pt x="81833" y="345249"/>
                      <a:pt x="81833" y="357874"/>
                    </a:cubicBezTo>
                    <a:cubicBezTo>
                      <a:pt x="81833" y="370499"/>
                      <a:pt x="92068" y="380734"/>
                      <a:pt x="104693" y="380734"/>
                    </a:cubicBezTo>
                    <a:cubicBezTo>
                      <a:pt x="117318" y="380734"/>
                      <a:pt x="127553" y="370499"/>
                      <a:pt x="127553" y="357874"/>
                    </a:cubicBezTo>
                    <a:cubicBezTo>
                      <a:pt x="127553" y="345249"/>
                      <a:pt x="117318" y="335014"/>
                      <a:pt x="104693" y="335014"/>
                    </a:cubicBezTo>
                    <a:close/>
                    <a:moveTo>
                      <a:pt x="437712" y="138633"/>
                    </a:moveTo>
                    <a:cubicBezTo>
                      <a:pt x="425087" y="138633"/>
                      <a:pt x="414852" y="148868"/>
                      <a:pt x="414852" y="161493"/>
                    </a:cubicBezTo>
                    <a:cubicBezTo>
                      <a:pt x="414852" y="174118"/>
                      <a:pt x="425087" y="184353"/>
                      <a:pt x="437712" y="184353"/>
                    </a:cubicBezTo>
                    <a:cubicBezTo>
                      <a:pt x="450337" y="184353"/>
                      <a:pt x="460572" y="174118"/>
                      <a:pt x="460572" y="161493"/>
                    </a:cubicBezTo>
                    <a:cubicBezTo>
                      <a:pt x="460572" y="148868"/>
                      <a:pt x="450337" y="138633"/>
                      <a:pt x="437712" y="138633"/>
                    </a:cubicBezTo>
                    <a:close/>
                    <a:moveTo>
                      <a:pt x="488486" y="113932"/>
                    </a:moveTo>
                    <a:cubicBezTo>
                      <a:pt x="475861" y="113932"/>
                      <a:pt x="465626" y="124167"/>
                      <a:pt x="465626" y="136792"/>
                    </a:cubicBezTo>
                    <a:cubicBezTo>
                      <a:pt x="465626" y="149417"/>
                      <a:pt x="475861" y="159652"/>
                      <a:pt x="488486" y="159652"/>
                    </a:cubicBezTo>
                    <a:cubicBezTo>
                      <a:pt x="501111" y="159652"/>
                      <a:pt x="511346" y="149417"/>
                      <a:pt x="511346" y="136792"/>
                    </a:cubicBezTo>
                    <a:cubicBezTo>
                      <a:pt x="511346" y="124167"/>
                      <a:pt x="501111" y="113932"/>
                      <a:pt x="488486" y="113932"/>
                    </a:cubicBezTo>
                    <a:close/>
                    <a:moveTo>
                      <a:pt x="386938" y="113932"/>
                    </a:moveTo>
                    <a:cubicBezTo>
                      <a:pt x="374313" y="113932"/>
                      <a:pt x="364078" y="124167"/>
                      <a:pt x="364078" y="136792"/>
                    </a:cubicBezTo>
                    <a:cubicBezTo>
                      <a:pt x="364078" y="149417"/>
                      <a:pt x="374313" y="159652"/>
                      <a:pt x="386938" y="159652"/>
                    </a:cubicBezTo>
                    <a:cubicBezTo>
                      <a:pt x="399563" y="159652"/>
                      <a:pt x="409798" y="149417"/>
                      <a:pt x="409798" y="136792"/>
                    </a:cubicBezTo>
                    <a:cubicBezTo>
                      <a:pt x="409798" y="124167"/>
                      <a:pt x="399563" y="113932"/>
                      <a:pt x="386938" y="113932"/>
                    </a:cubicBezTo>
                    <a:close/>
                    <a:moveTo>
                      <a:pt x="437712" y="81407"/>
                    </a:moveTo>
                    <a:cubicBezTo>
                      <a:pt x="425087" y="81407"/>
                      <a:pt x="414852" y="91642"/>
                      <a:pt x="414852" y="104267"/>
                    </a:cubicBezTo>
                    <a:cubicBezTo>
                      <a:pt x="414852" y="116892"/>
                      <a:pt x="425087" y="127127"/>
                      <a:pt x="437712" y="127127"/>
                    </a:cubicBezTo>
                    <a:cubicBezTo>
                      <a:pt x="450337" y="127127"/>
                      <a:pt x="460572" y="116892"/>
                      <a:pt x="460572" y="104267"/>
                    </a:cubicBezTo>
                    <a:cubicBezTo>
                      <a:pt x="460572" y="91642"/>
                      <a:pt x="450337" y="81407"/>
                      <a:pt x="437712" y="81407"/>
                    </a:cubicBezTo>
                    <a:close/>
                    <a:moveTo>
                      <a:pt x="488486" y="53529"/>
                    </a:moveTo>
                    <a:cubicBezTo>
                      <a:pt x="475861" y="53529"/>
                      <a:pt x="465626" y="63764"/>
                      <a:pt x="465626" y="76389"/>
                    </a:cubicBezTo>
                    <a:cubicBezTo>
                      <a:pt x="465626" y="89014"/>
                      <a:pt x="475861" y="99249"/>
                      <a:pt x="488486" y="99249"/>
                    </a:cubicBezTo>
                    <a:cubicBezTo>
                      <a:pt x="501111" y="99249"/>
                      <a:pt x="511346" y="89014"/>
                      <a:pt x="511346" y="76389"/>
                    </a:cubicBezTo>
                    <a:cubicBezTo>
                      <a:pt x="511346" y="63764"/>
                      <a:pt x="501111" y="53529"/>
                      <a:pt x="488486" y="53529"/>
                    </a:cubicBezTo>
                    <a:close/>
                    <a:moveTo>
                      <a:pt x="386938" y="53529"/>
                    </a:moveTo>
                    <a:cubicBezTo>
                      <a:pt x="374313" y="53529"/>
                      <a:pt x="364078" y="63764"/>
                      <a:pt x="364078" y="76389"/>
                    </a:cubicBezTo>
                    <a:cubicBezTo>
                      <a:pt x="364078" y="89014"/>
                      <a:pt x="374313" y="99249"/>
                      <a:pt x="386938" y="99249"/>
                    </a:cubicBezTo>
                    <a:cubicBezTo>
                      <a:pt x="399563" y="99249"/>
                      <a:pt x="409798" y="89014"/>
                      <a:pt x="409798" y="76389"/>
                    </a:cubicBezTo>
                    <a:cubicBezTo>
                      <a:pt x="409798" y="63764"/>
                      <a:pt x="399563" y="53529"/>
                      <a:pt x="386938" y="53529"/>
                    </a:cubicBezTo>
                    <a:close/>
                    <a:moveTo>
                      <a:pt x="437712" y="24230"/>
                    </a:moveTo>
                    <a:cubicBezTo>
                      <a:pt x="425087" y="24230"/>
                      <a:pt x="414852" y="34465"/>
                      <a:pt x="414852" y="47090"/>
                    </a:cubicBezTo>
                    <a:cubicBezTo>
                      <a:pt x="414852" y="59715"/>
                      <a:pt x="425087" y="69950"/>
                      <a:pt x="437712" y="69950"/>
                    </a:cubicBezTo>
                    <a:cubicBezTo>
                      <a:pt x="450337" y="69950"/>
                      <a:pt x="460572" y="59715"/>
                      <a:pt x="460572" y="47090"/>
                    </a:cubicBezTo>
                    <a:cubicBezTo>
                      <a:pt x="460572" y="34465"/>
                      <a:pt x="450337" y="24230"/>
                      <a:pt x="437712" y="24230"/>
                    </a:cubicBezTo>
                    <a:close/>
                    <a:moveTo>
                      <a:pt x="437617" y="0"/>
                    </a:moveTo>
                    <a:cubicBezTo>
                      <a:pt x="497432" y="0"/>
                      <a:pt x="545922" y="48490"/>
                      <a:pt x="545922" y="108305"/>
                    </a:cubicBezTo>
                    <a:cubicBezTo>
                      <a:pt x="545922" y="153166"/>
                      <a:pt x="518647" y="191657"/>
                      <a:pt x="479774" y="208099"/>
                    </a:cubicBezTo>
                    <a:lnTo>
                      <a:pt x="477170" y="208624"/>
                    </a:lnTo>
                    <a:lnTo>
                      <a:pt x="477170" y="312925"/>
                    </a:lnTo>
                    <a:lnTo>
                      <a:pt x="479774" y="313451"/>
                    </a:lnTo>
                    <a:cubicBezTo>
                      <a:pt x="505689" y="324412"/>
                      <a:pt x="526449" y="345172"/>
                      <a:pt x="537411" y="371087"/>
                    </a:cubicBezTo>
                    <a:lnTo>
                      <a:pt x="537655" y="372297"/>
                    </a:lnTo>
                    <a:lnTo>
                      <a:pt x="666891" y="372297"/>
                    </a:lnTo>
                    <a:lnTo>
                      <a:pt x="667135" y="371088"/>
                    </a:lnTo>
                    <a:cubicBezTo>
                      <a:pt x="683577" y="332216"/>
                      <a:pt x="722068" y="304940"/>
                      <a:pt x="766930" y="304940"/>
                    </a:cubicBezTo>
                    <a:cubicBezTo>
                      <a:pt x="826745" y="304940"/>
                      <a:pt x="875235" y="353430"/>
                      <a:pt x="875235" y="413246"/>
                    </a:cubicBezTo>
                    <a:cubicBezTo>
                      <a:pt x="875235" y="473061"/>
                      <a:pt x="826745" y="521551"/>
                      <a:pt x="766930" y="521551"/>
                    </a:cubicBezTo>
                    <a:cubicBezTo>
                      <a:pt x="722068" y="521551"/>
                      <a:pt x="683577" y="494276"/>
                      <a:pt x="667135" y="455403"/>
                    </a:cubicBezTo>
                    <a:lnTo>
                      <a:pt x="666328" y="451404"/>
                    </a:lnTo>
                    <a:lnTo>
                      <a:pt x="538218" y="451404"/>
                    </a:lnTo>
                    <a:lnTo>
                      <a:pt x="537411" y="455402"/>
                    </a:lnTo>
                    <a:cubicBezTo>
                      <a:pt x="526449" y="481317"/>
                      <a:pt x="505689" y="502078"/>
                      <a:pt x="479774" y="513039"/>
                    </a:cubicBezTo>
                    <a:lnTo>
                      <a:pt x="477170" y="513565"/>
                    </a:lnTo>
                    <a:lnTo>
                      <a:pt x="477170" y="617868"/>
                    </a:lnTo>
                    <a:lnTo>
                      <a:pt x="479774" y="618393"/>
                    </a:lnTo>
                    <a:cubicBezTo>
                      <a:pt x="518647" y="634835"/>
                      <a:pt x="545922" y="673326"/>
                      <a:pt x="545922" y="718187"/>
                    </a:cubicBezTo>
                    <a:cubicBezTo>
                      <a:pt x="545922" y="778002"/>
                      <a:pt x="497432" y="826492"/>
                      <a:pt x="437617" y="826492"/>
                    </a:cubicBezTo>
                    <a:cubicBezTo>
                      <a:pt x="377802" y="826492"/>
                      <a:pt x="329312" y="778002"/>
                      <a:pt x="329312" y="718187"/>
                    </a:cubicBezTo>
                    <a:cubicBezTo>
                      <a:pt x="329312" y="673326"/>
                      <a:pt x="356588" y="634835"/>
                      <a:pt x="395460" y="618393"/>
                    </a:cubicBezTo>
                    <a:lnTo>
                      <a:pt x="398064" y="617868"/>
                    </a:lnTo>
                    <a:lnTo>
                      <a:pt x="398064" y="513565"/>
                    </a:lnTo>
                    <a:lnTo>
                      <a:pt x="395460" y="513039"/>
                    </a:lnTo>
                    <a:cubicBezTo>
                      <a:pt x="369545" y="502078"/>
                      <a:pt x="348784" y="481317"/>
                      <a:pt x="337823" y="455402"/>
                    </a:cubicBezTo>
                    <a:lnTo>
                      <a:pt x="337016" y="451404"/>
                    </a:lnTo>
                    <a:lnTo>
                      <a:pt x="208906" y="451404"/>
                    </a:lnTo>
                    <a:lnTo>
                      <a:pt x="208099" y="455403"/>
                    </a:lnTo>
                    <a:cubicBezTo>
                      <a:pt x="191657" y="494276"/>
                      <a:pt x="153167" y="521551"/>
                      <a:pt x="108305" y="521551"/>
                    </a:cubicBezTo>
                    <a:cubicBezTo>
                      <a:pt x="48490" y="521551"/>
                      <a:pt x="0" y="473061"/>
                      <a:pt x="0" y="413246"/>
                    </a:cubicBezTo>
                    <a:cubicBezTo>
                      <a:pt x="0" y="353430"/>
                      <a:pt x="48490" y="304940"/>
                      <a:pt x="108305" y="304940"/>
                    </a:cubicBezTo>
                    <a:cubicBezTo>
                      <a:pt x="153167" y="304940"/>
                      <a:pt x="191657" y="332216"/>
                      <a:pt x="208099" y="371088"/>
                    </a:cubicBezTo>
                    <a:lnTo>
                      <a:pt x="208343" y="372297"/>
                    </a:lnTo>
                    <a:lnTo>
                      <a:pt x="337579" y="372297"/>
                    </a:lnTo>
                    <a:lnTo>
                      <a:pt x="337823" y="371087"/>
                    </a:lnTo>
                    <a:cubicBezTo>
                      <a:pt x="348784" y="345172"/>
                      <a:pt x="369545" y="324412"/>
                      <a:pt x="395460" y="313451"/>
                    </a:cubicBezTo>
                    <a:lnTo>
                      <a:pt x="398064" y="312925"/>
                    </a:lnTo>
                    <a:lnTo>
                      <a:pt x="398064" y="208624"/>
                    </a:lnTo>
                    <a:lnTo>
                      <a:pt x="395460" y="208099"/>
                    </a:lnTo>
                    <a:cubicBezTo>
                      <a:pt x="356588" y="191657"/>
                      <a:pt x="329312" y="153166"/>
                      <a:pt x="329312" y="108305"/>
                    </a:cubicBezTo>
                    <a:cubicBezTo>
                      <a:pt x="329312" y="48490"/>
                      <a:pt x="377802" y="0"/>
                      <a:pt x="43761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90" name="Round Diagonal Corner Rectangle 89"/>
          <p:cNvSpPr/>
          <p:nvPr/>
        </p:nvSpPr>
        <p:spPr>
          <a:xfrm flipH="1">
            <a:off x="4636661" y="1759001"/>
            <a:ext cx="4572000" cy="1255594"/>
          </a:xfrm>
          <a:prstGeom prst="round2DiagRect">
            <a:avLst/>
          </a:prstGeom>
          <a:solidFill>
            <a:schemeClr val="bg2"/>
          </a:solidFill>
        </p:spPr>
        <p:txBody>
          <a:bodyPr wrap="square" lIns="18288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GB" sz="4400" b="1" dirty="0" smtClean="0">
                <a:solidFill>
                  <a:srgbClr val="E5E8E8">
                    <a:lumMod val="50000"/>
                  </a:srgbClr>
                </a:solidFill>
              </a:rPr>
              <a:t>Protect</a:t>
            </a:r>
            <a:endParaRPr lang="en-US" sz="4400" b="1" dirty="0" err="1">
              <a:solidFill>
                <a:srgbClr val="E5E8E8">
                  <a:lumMod val="50000"/>
                </a:srgbClr>
              </a:solidFill>
            </a:endParaRPr>
          </a:p>
        </p:txBody>
      </p:sp>
      <p:sp>
        <p:nvSpPr>
          <p:cNvPr id="91" name="Round Diagonal Corner Rectangle 90"/>
          <p:cNvSpPr/>
          <p:nvPr/>
        </p:nvSpPr>
        <p:spPr>
          <a:xfrm flipH="1">
            <a:off x="4636661" y="3251482"/>
            <a:ext cx="4572000" cy="1255594"/>
          </a:xfrm>
          <a:prstGeom prst="round2DiagRect">
            <a:avLst/>
          </a:prstGeom>
          <a:solidFill>
            <a:schemeClr val="bg2"/>
          </a:solidFill>
        </p:spPr>
        <p:txBody>
          <a:bodyPr wrap="square" lIns="18288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GB" sz="4400" b="1" dirty="0" smtClean="0">
                <a:solidFill>
                  <a:srgbClr val="E5E8E8">
                    <a:lumMod val="50000"/>
                  </a:srgbClr>
                </a:solidFill>
              </a:rPr>
              <a:t>Detect</a:t>
            </a:r>
            <a:endParaRPr lang="en-US" sz="4400" b="1" dirty="0" err="1">
              <a:solidFill>
                <a:srgbClr val="E5E8E8">
                  <a:lumMod val="50000"/>
                </a:srgbClr>
              </a:solidFill>
            </a:endParaRPr>
          </a:p>
        </p:txBody>
      </p:sp>
      <p:sp>
        <p:nvSpPr>
          <p:cNvPr id="92" name="Round Diagonal Corner Rectangle 91"/>
          <p:cNvSpPr/>
          <p:nvPr/>
        </p:nvSpPr>
        <p:spPr>
          <a:xfrm flipH="1">
            <a:off x="4636661" y="4743964"/>
            <a:ext cx="4572000" cy="1255594"/>
          </a:xfrm>
          <a:prstGeom prst="round2DiagRect">
            <a:avLst/>
          </a:prstGeom>
          <a:solidFill>
            <a:schemeClr val="bg2"/>
          </a:solidFill>
        </p:spPr>
        <p:txBody>
          <a:bodyPr wrap="square" lIns="18288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GB" sz="4400" b="1" dirty="0" smtClean="0">
                <a:solidFill>
                  <a:srgbClr val="E5E8E8">
                    <a:lumMod val="50000"/>
                  </a:srgbClr>
                </a:solidFill>
              </a:rPr>
              <a:t>Recover</a:t>
            </a:r>
            <a:endParaRPr lang="en-US" sz="4400" b="1" dirty="0" err="1">
              <a:solidFill>
                <a:srgbClr val="E5E8E8">
                  <a:lumMod val="50000"/>
                </a:srgbClr>
              </a:solidFill>
            </a:endParaRPr>
          </a:p>
        </p:txBody>
      </p:sp>
      <p:pic>
        <p:nvPicPr>
          <p:cNvPr id="87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257" y="3671395"/>
            <a:ext cx="1746468" cy="3877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3" name="Freeform 34"/>
          <p:cNvSpPr>
            <a:spLocks noEditPoints="1"/>
          </p:cNvSpPr>
          <p:nvPr/>
        </p:nvSpPr>
        <p:spPr bwMode="auto">
          <a:xfrm>
            <a:off x="7621349" y="1933575"/>
            <a:ext cx="708284" cy="838756"/>
          </a:xfrm>
          <a:custGeom>
            <a:avLst/>
            <a:gdLst>
              <a:gd name="T0" fmla="*/ 257 w 303"/>
              <a:gd name="T1" fmla="*/ 165 h 359"/>
              <a:gd name="T2" fmla="*/ 257 w 303"/>
              <a:gd name="T3" fmla="*/ 108 h 359"/>
              <a:gd name="T4" fmla="*/ 255 w 303"/>
              <a:gd name="T5" fmla="*/ 86 h 359"/>
              <a:gd name="T6" fmla="*/ 248 w 303"/>
              <a:gd name="T7" fmla="*/ 66 h 359"/>
              <a:gd name="T8" fmla="*/ 238 w 303"/>
              <a:gd name="T9" fmla="*/ 48 h 359"/>
              <a:gd name="T10" fmla="*/ 225 w 303"/>
              <a:gd name="T11" fmla="*/ 33 h 359"/>
              <a:gd name="T12" fmla="*/ 209 w 303"/>
              <a:gd name="T13" fmla="*/ 19 h 359"/>
              <a:gd name="T14" fmla="*/ 191 w 303"/>
              <a:gd name="T15" fmla="*/ 9 h 359"/>
              <a:gd name="T16" fmla="*/ 171 w 303"/>
              <a:gd name="T17" fmla="*/ 3 h 359"/>
              <a:gd name="T18" fmla="*/ 150 w 303"/>
              <a:gd name="T19" fmla="*/ 0 h 359"/>
              <a:gd name="T20" fmla="*/ 139 w 303"/>
              <a:gd name="T21" fmla="*/ 2 h 359"/>
              <a:gd name="T22" fmla="*/ 118 w 303"/>
              <a:gd name="T23" fmla="*/ 6 h 359"/>
              <a:gd name="T24" fmla="*/ 98 w 303"/>
              <a:gd name="T25" fmla="*/ 13 h 359"/>
              <a:gd name="T26" fmla="*/ 82 w 303"/>
              <a:gd name="T27" fmla="*/ 25 h 359"/>
              <a:gd name="T28" fmla="*/ 67 w 303"/>
              <a:gd name="T29" fmla="*/ 40 h 359"/>
              <a:gd name="T30" fmla="*/ 55 w 303"/>
              <a:gd name="T31" fmla="*/ 56 h 359"/>
              <a:gd name="T32" fmla="*/ 48 w 303"/>
              <a:gd name="T33" fmla="*/ 76 h 359"/>
              <a:gd name="T34" fmla="*/ 43 w 303"/>
              <a:gd name="T35" fmla="*/ 97 h 359"/>
              <a:gd name="T36" fmla="*/ 42 w 303"/>
              <a:gd name="T37" fmla="*/ 165 h 359"/>
              <a:gd name="T38" fmla="*/ 0 w 303"/>
              <a:gd name="T39" fmla="*/ 337 h 359"/>
              <a:gd name="T40" fmla="*/ 1 w 303"/>
              <a:gd name="T41" fmla="*/ 341 h 359"/>
              <a:gd name="T42" fmla="*/ 4 w 303"/>
              <a:gd name="T43" fmla="*/ 350 h 359"/>
              <a:gd name="T44" fmla="*/ 11 w 303"/>
              <a:gd name="T45" fmla="*/ 355 h 359"/>
              <a:gd name="T46" fmla="*/ 18 w 303"/>
              <a:gd name="T47" fmla="*/ 359 h 359"/>
              <a:gd name="T48" fmla="*/ 303 w 303"/>
              <a:gd name="T49" fmla="*/ 359 h 359"/>
              <a:gd name="T50" fmla="*/ 303 w 303"/>
              <a:gd name="T51" fmla="*/ 187 h 359"/>
              <a:gd name="T52" fmla="*/ 301 w 303"/>
              <a:gd name="T53" fmla="*/ 179 h 359"/>
              <a:gd name="T54" fmla="*/ 297 w 303"/>
              <a:gd name="T55" fmla="*/ 171 h 359"/>
              <a:gd name="T56" fmla="*/ 289 w 303"/>
              <a:gd name="T57" fmla="*/ 167 h 359"/>
              <a:gd name="T58" fmla="*/ 280 w 303"/>
              <a:gd name="T59" fmla="*/ 165 h 359"/>
              <a:gd name="T60" fmla="*/ 88 w 303"/>
              <a:gd name="T61" fmla="*/ 108 h 359"/>
              <a:gd name="T62" fmla="*/ 90 w 303"/>
              <a:gd name="T63" fmla="*/ 95 h 359"/>
              <a:gd name="T64" fmla="*/ 99 w 303"/>
              <a:gd name="T65" fmla="*/ 74 h 359"/>
              <a:gd name="T66" fmla="*/ 115 w 303"/>
              <a:gd name="T67" fmla="*/ 57 h 359"/>
              <a:gd name="T68" fmla="*/ 137 w 303"/>
              <a:gd name="T69" fmla="*/ 48 h 359"/>
              <a:gd name="T70" fmla="*/ 150 w 303"/>
              <a:gd name="T71" fmla="*/ 47 h 359"/>
              <a:gd name="T72" fmla="*/ 174 w 303"/>
              <a:gd name="T73" fmla="*/ 51 h 359"/>
              <a:gd name="T74" fmla="*/ 193 w 303"/>
              <a:gd name="T75" fmla="*/ 65 h 359"/>
              <a:gd name="T76" fmla="*/ 206 w 303"/>
              <a:gd name="T77" fmla="*/ 84 h 359"/>
              <a:gd name="T78" fmla="*/ 211 w 303"/>
              <a:gd name="T79" fmla="*/ 108 h 359"/>
              <a:gd name="T80" fmla="*/ 88 w 303"/>
              <a:gd name="T81" fmla="*/ 165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03" h="359">
                <a:moveTo>
                  <a:pt x="280" y="165"/>
                </a:moveTo>
                <a:lnTo>
                  <a:pt x="257" y="165"/>
                </a:lnTo>
                <a:lnTo>
                  <a:pt x="257" y="108"/>
                </a:lnTo>
                <a:lnTo>
                  <a:pt x="257" y="108"/>
                </a:lnTo>
                <a:lnTo>
                  <a:pt x="257" y="97"/>
                </a:lnTo>
                <a:lnTo>
                  <a:pt x="255" y="86"/>
                </a:lnTo>
                <a:lnTo>
                  <a:pt x="252" y="76"/>
                </a:lnTo>
                <a:lnTo>
                  <a:pt x="248" y="66"/>
                </a:lnTo>
                <a:lnTo>
                  <a:pt x="244" y="56"/>
                </a:lnTo>
                <a:lnTo>
                  <a:pt x="238" y="48"/>
                </a:lnTo>
                <a:lnTo>
                  <a:pt x="233" y="40"/>
                </a:lnTo>
                <a:lnTo>
                  <a:pt x="225" y="33"/>
                </a:lnTo>
                <a:lnTo>
                  <a:pt x="218" y="25"/>
                </a:lnTo>
                <a:lnTo>
                  <a:pt x="209" y="19"/>
                </a:lnTo>
                <a:lnTo>
                  <a:pt x="201" y="13"/>
                </a:lnTo>
                <a:lnTo>
                  <a:pt x="191" y="9"/>
                </a:lnTo>
                <a:lnTo>
                  <a:pt x="181" y="6"/>
                </a:lnTo>
                <a:lnTo>
                  <a:pt x="171" y="3"/>
                </a:lnTo>
                <a:lnTo>
                  <a:pt x="161" y="2"/>
                </a:lnTo>
                <a:lnTo>
                  <a:pt x="150" y="0"/>
                </a:lnTo>
                <a:lnTo>
                  <a:pt x="150" y="0"/>
                </a:lnTo>
                <a:lnTo>
                  <a:pt x="139" y="2"/>
                </a:lnTo>
                <a:lnTo>
                  <a:pt x="128" y="3"/>
                </a:lnTo>
                <a:lnTo>
                  <a:pt x="118" y="6"/>
                </a:lnTo>
                <a:lnTo>
                  <a:pt x="108" y="9"/>
                </a:lnTo>
                <a:lnTo>
                  <a:pt x="98" y="13"/>
                </a:lnTo>
                <a:lnTo>
                  <a:pt x="90" y="19"/>
                </a:lnTo>
                <a:lnTo>
                  <a:pt x="82" y="25"/>
                </a:lnTo>
                <a:lnTo>
                  <a:pt x="74" y="33"/>
                </a:lnTo>
                <a:lnTo>
                  <a:pt x="67" y="40"/>
                </a:lnTo>
                <a:lnTo>
                  <a:pt x="60" y="48"/>
                </a:lnTo>
                <a:lnTo>
                  <a:pt x="55" y="56"/>
                </a:lnTo>
                <a:lnTo>
                  <a:pt x="51" y="66"/>
                </a:lnTo>
                <a:lnTo>
                  <a:pt x="48" y="76"/>
                </a:lnTo>
                <a:lnTo>
                  <a:pt x="44" y="86"/>
                </a:lnTo>
                <a:lnTo>
                  <a:pt x="43" y="97"/>
                </a:lnTo>
                <a:lnTo>
                  <a:pt x="42" y="108"/>
                </a:lnTo>
                <a:lnTo>
                  <a:pt x="42" y="165"/>
                </a:lnTo>
                <a:lnTo>
                  <a:pt x="0" y="165"/>
                </a:lnTo>
                <a:lnTo>
                  <a:pt x="0" y="337"/>
                </a:lnTo>
                <a:lnTo>
                  <a:pt x="0" y="337"/>
                </a:lnTo>
                <a:lnTo>
                  <a:pt x="1" y="341"/>
                </a:lnTo>
                <a:lnTo>
                  <a:pt x="2" y="345"/>
                </a:lnTo>
                <a:lnTo>
                  <a:pt x="4" y="350"/>
                </a:lnTo>
                <a:lnTo>
                  <a:pt x="8" y="353"/>
                </a:lnTo>
                <a:lnTo>
                  <a:pt x="11" y="355"/>
                </a:lnTo>
                <a:lnTo>
                  <a:pt x="14" y="357"/>
                </a:lnTo>
                <a:lnTo>
                  <a:pt x="18" y="359"/>
                </a:lnTo>
                <a:lnTo>
                  <a:pt x="24" y="359"/>
                </a:lnTo>
                <a:lnTo>
                  <a:pt x="303" y="359"/>
                </a:lnTo>
                <a:lnTo>
                  <a:pt x="303" y="187"/>
                </a:lnTo>
                <a:lnTo>
                  <a:pt x="303" y="187"/>
                </a:lnTo>
                <a:lnTo>
                  <a:pt x="302" y="183"/>
                </a:lnTo>
                <a:lnTo>
                  <a:pt x="301" y="179"/>
                </a:lnTo>
                <a:lnTo>
                  <a:pt x="299" y="175"/>
                </a:lnTo>
                <a:lnTo>
                  <a:pt x="297" y="171"/>
                </a:lnTo>
                <a:lnTo>
                  <a:pt x="292" y="169"/>
                </a:lnTo>
                <a:lnTo>
                  <a:pt x="289" y="167"/>
                </a:lnTo>
                <a:lnTo>
                  <a:pt x="285" y="165"/>
                </a:lnTo>
                <a:lnTo>
                  <a:pt x="280" y="165"/>
                </a:lnTo>
                <a:lnTo>
                  <a:pt x="280" y="165"/>
                </a:lnTo>
                <a:close/>
                <a:moveTo>
                  <a:pt x="88" y="108"/>
                </a:moveTo>
                <a:lnTo>
                  <a:pt x="88" y="108"/>
                </a:lnTo>
                <a:lnTo>
                  <a:pt x="90" y="95"/>
                </a:lnTo>
                <a:lnTo>
                  <a:pt x="93" y="84"/>
                </a:lnTo>
                <a:lnTo>
                  <a:pt x="99" y="74"/>
                </a:lnTo>
                <a:lnTo>
                  <a:pt x="107" y="65"/>
                </a:lnTo>
                <a:lnTo>
                  <a:pt x="115" y="57"/>
                </a:lnTo>
                <a:lnTo>
                  <a:pt x="126" y="51"/>
                </a:lnTo>
                <a:lnTo>
                  <a:pt x="137" y="48"/>
                </a:lnTo>
                <a:lnTo>
                  <a:pt x="150" y="47"/>
                </a:lnTo>
                <a:lnTo>
                  <a:pt x="150" y="47"/>
                </a:lnTo>
                <a:lnTo>
                  <a:pt x="162" y="48"/>
                </a:lnTo>
                <a:lnTo>
                  <a:pt x="174" y="51"/>
                </a:lnTo>
                <a:lnTo>
                  <a:pt x="184" y="57"/>
                </a:lnTo>
                <a:lnTo>
                  <a:pt x="193" y="65"/>
                </a:lnTo>
                <a:lnTo>
                  <a:pt x="201" y="74"/>
                </a:lnTo>
                <a:lnTo>
                  <a:pt x="206" y="84"/>
                </a:lnTo>
                <a:lnTo>
                  <a:pt x="209" y="95"/>
                </a:lnTo>
                <a:lnTo>
                  <a:pt x="211" y="108"/>
                </a:lnTo>
                <a:lnTo>
                  <a:pt x="211" y="165"/>
                </a:lnTo>
                <a:lnTo>
                  <a:pt x="88" y="165"/>
                </a:lnTo>
                <a:lnTo>
                  <a:pt x="88" y="108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177" name="Group 422"/>
          <p:cNvGrpSpPr>
            <a:grpSpLocks noChangeAspect="1"/>
          </p:cNvGrpSpPr>
          <p:nvPr/>
        </p:nvGrpSpPr>
        <p:grpSpPr bwMode="auto">
          <a:xfrm>
            <a:off x="7540406" y="4873520"/>
            <a:ext cx="870170" cy="996482"/>
            <a:chOff x="5326" y="548"/>
            <a:chExt cx="186" cy="213"/>
          </a:xfrm>
        </p:grpSpPr>
        <p:sp>
          <p:nvSpPr>
            <p:cNvPr id="178" name="Freeform 423"/>
            <p:cNvSpPr>
              <a:spLocks noEditPoints="1"/>
            </p:cNvSpPr>
            <p:nvPr/>
          </p:nvSpPr>
          <p:spPr bwMode="auto">
            <a:xfrm>
              <a:off x="5426" y="548"/>
              <a:ext cx="86" cy="153"/>
            </a:xfrm>
            <a:custGeom>
              <a:avLst/>
              <a:gdLst>
                <a:gd name="T0" fmla="*/ 85 w 172"/>
                <a:gd name="T1" fmla="*/ 94 h 306"/>
                <a:gd name="T2" fmla="*/ 106 w 172"/>
                <a:gd name="T3" fmla="*/ 91 h 306"/>
                <a:gd name="T4" fmla="*/ 120 w 172"/>
                <a:gd name="T5" fmla="*/ 84 h 306"/>
                <a:gd name="T6" fmla="*/ 128 w 172"/>
                <a:gd name="T7" fmla="*/ 69 h 306"/>
                <a:gd name="T8" fmla="*/ 131 w 172"/>
                <a:gd name="T9" fmla="*/ 47 h 306"/>
                <a:gd name="T10" fmla="*/ 129 w 172"/>
                <a:gd name="T11" fmla="*/ 35 h 306"/>
                <a:gd name="T12" fmla="*/ 125 w 172"/>
                <a:gd name="T13" fmla="*/ 17 h 306"/>
                <a:gd name="T14" fmla="*/ 114 w 172"/>
                <a:gd name="T15" fmla="*/ 6 h 306"/>
                <a:gd name="T16" fmla="*/ 97 w 172"/>
                <a:gd name="T17" fmla="*/ 0 h 306"/>
                <a:gd name="T18" fmla="*/ 85 w 172"/>
                <a:gd name="T19" fmla="*/ 0 h 306"/>
                <a:gd name="T20" fmla="*/ 65 w 172"/>
                <a:gd name="T21" fmla="*/ 2 h 306"/>
                <a:gd name="T22" fmla="*/ 51 w 172"/>
                <a:gd name="T23" fmla="*/ 10 h 306"/>
                <a:gd name="T24" fmla="*/ 43 w 172"/>
                <a:gd name="T25" fmla="*/ 25 h 306"/>
                <a:gd name="T26" fmla="*/ 41 w 172"/>
                <a:gd name="T27" fmla="*/ 47 h 306"/>
                <a:gd name="T28" fmla="*/ 41 w 172"/>
                <a:gd name="T29" fmla="*/ 59 h 306"/>
                <a:gd name="T30" fmla="*/ 46 w 172"/>
                <a:gd name="T31" fmla="*/ 76 h 306"/>
                <a:gd name="T32" fmla="*/ 57 w 172"/>
                <a:gd name="T33" fmla="*/ 88 h 306"/>
                <a:gd name="T34" fmla="*/ 74 w 172"/>
                <a:gd name="T35" fmla="*/ 93 h 306"/>
                <a:gd name="T36" fmla="*/ 85 w 172"/>
                <a:gd name="T37" fmla="*/ 94 h 306"/>
                <a:gd name="T38" fmla="*/ 36 w 172"/>
                <a:gd name="T39" fmla="*/ 108 h 306"/>
                <a:gd name="T40" fmla="*/ 28 w 172"/>
                <a:gd name="T41" fmla="*/ 108 h 306"/>
                <a:gd name="T42" fmla="*/ 14 w 172"/>
                <a:gd name="T43" fmla="*/ 113 h 306"/>
                <a:gd name="T44" fmla="*/ 5 w 172"/>
                <a:gd name="T45" fmla="*/ 122 h 306"/>
                <a:gd name="T46" fmla="*/ 0 w 172"/>
                <a:gd name="T47" fmla="*/ 138 h 306"/>
                <a:gd name="T48" fmla="*/ 0 w 172"/>
                <a:gd name="T49" fmla="*/ 173 h 306"/>
                <a:gd name="T50" fmla="*/ 28 w 172"/>
                <a:gd name="T51" fmla="*/ 156 h 306"/>
                <a:gd name="T52" fmla="*/ 29 w 172"/>
                <a:gd name="T53" fmla="*/ 154 h 306"/>
                <a:gd name="T54" fmla="*/ 32 w 172"/>
                <a:gd name="T55" fmla="*/ 153 h 306"/>
                <a:gd name="T56" fmla="*/ 36 w 172"/>
                <a:gd name="T57" fmla="*/ 156 h 306"/>
                <a:gd name="T58" fmla="*/ 133 w 172"/>
                <a:gd name="T59" fmla="*/ 306 h 306"/>
                <a:gd name="T60" fmla="*/ 135 w 172"/>
                <a:gd name="T61" fmla="*/ 281 h 306"/>
                <a:gd name="T62" fmla="*/ 136 w 172"/>
                <a:gd name="T63" fmla="*/ 265 h 306"/>
                <a:gd name="T64" fmla="*/ 136 w 172"/>
                <a:gd name="T65" fmla="*/ 156 h 306"/>
                <a:gd name="T66" fmla="*/ 139 w 172"/>
                <a:gd name="T67" fmla="*/ 153 h 306"/>
                <a:gd name="T68" fmla="*/ 142 w 172"/>
                <a:gd name="T69" fmla="*/ 154 h 306"/>
                <a:gd name="T70" fmla="*/ 142 w 172"/>
                <a:gd name="T71" fmla="*/ 258 h 306"/>
                <a:gd name="T72" fmla="*/ 143 w 172"/>
                <a:gd name="T73" fmla="*/ 260 h 306"/>
                <a:gd name="T74" fmla="*/ 145 w 172"/>
                <a:gd name="T75" fmla="*/ 266 h 306"/>
                <a:gd name="T76" fmla="*/ 152 w 172"/>
                <a:gd name="T77" fmla="*/ 272 h 306"/>
                <a:gd name="T78" fmla="*/ 158 w 172"/>
                <a:gd name="T79" fmla="*/ 272 h 306"/>
                <a:gd name="T80" fmla="*/ 167 w 172"/>
                <a:gd name="T81" fmla="*/ 269 h 306"/>
                <a:gd name="T82" fmla="*/ 172 w 172"/>
                <a:gd name="T83" fmla="*/ 258 h 306"/>
                <a:gd name="T84" fmla="*/ 172 w 172"/>
                <a:gd name="T85" fmla="*/ 146 h 306"/>
                <a:gd name="T86" fmla="*/ 169 w 172"/>
                <a:gd name="T87" fmla="*/ 129 h 306"/>
                <a:gd name="T88" fmla="*/ 162 w 172"/>
                <a:gd name="T89" fmla="*/ 117 h 306"/>
                <a:gd name="T90" fmla="*/ 151 w 172"/>
                <a:gd name="T91" fmla="*/ 111 h 306"/>
                <a:gd name="T92" fmla="*/ 136 w 172"/>
                <a:gd name="T93" fmla="*/ 108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2" h="306">
                  <a:moveTo>
                    <a:pt x="85" y="94"/>
                  </a:moveTo>
                  <a:lnTo>
                    <a:pt x="85" y="94"/>
                  </a:lnTo>
                  <a:lnTo>
                    <a:pt x="97" y="93"/>
                  </a:lnTo>
                  <a:lnTo>
                    <a:pt x="106" y="91"/>
                  </a:lnTo>
                  <a:lnTo>
                    <a:pt x="114" y="88"/>
                  </a:lnTo>
                  <a:lnTo>
                    <a:pt x="120" y="84"/>
                  </a:lnTo>
                  <a:lnTo>
                    <a:pt x="125" y="76"/>
                  </a:lnTo>
                  <a:lnTo>
                    <a:pt x="128" y="69"/>
                  </a:lnTo>
                  <a:lnTo>
                    <a:pt x="129" y="59"/>
                  </a:lnTo>
                  <a:lnTo>
                    <a:pt x="131" y="47"/>
                  </a:lnTo>
                  <a:lnTo>
                    <a:pt x="131" y="47"/>
                  </a:lnTo>
                  <a:lnTo>
                    <a:pt x="129" y="35"/>
                  </a:lnTo>
                  <a:lnTo>
                    <a:pt x="128" y="25"/>
                  </a:lnTo>
                  <a:lnTo>
                    <a:pt x="125" y="17"/>
                  </a:lnTo>
                  <a:lnTo>
                    <a:pt x="120" y="10"/>
                  </a:lnTo>
                  <a:lnTo>
                    <a:pt x="114" y="6"/>
                  </a:lnTo>
                  <a:lnTo>
                    <a:pt x="106" y="2"/>
                  </a:lnTo>
                  <a:lnTo>
                    <a:pt x="97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65" y="2"/>
                  </a:lnTo>
                  <a:lnTo>
                    <a:pt x="57" y="6"/>
                  </a:lnTo>
                  <a:lnTo>
                    <a:pt x="51" y="10"/>
                  </a:lnTo>
                  <a:lnTo>
                    <a:pt x="46" y="17"/>
                  </a:lnTo>
                  <a:lnTo>
                    <a:pt x="43" y="25"/>
                  </a:lnTo>
                  <a:lnTo>
                    <a:pt x="41" y="35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59"/>
                  </a:lnTo>
                  <a:lnTo>
                    <a:pt x="43" y="69"/>
                  </a:lnTo>
                  <a:lnTo>
                    <a:pt x="46" y="76"/>
                  </a:lnTo>
                  <a:lnTo>
                    <a:pt x="51" y="84"/>
                  </a:lnTo>
                  <a:lnTo>
                    <a:pt x="57" y="88"/>
                  </a:lnTo>
                  <a:lnTo>
                    <a:pt x="65" y="91"/>
                  </a:lnTo>
                  <a:lnTo>
                    <a:pt x="74" y="93"/>
                  </a:lnTo>
                  <a:lnTo>
                    <a:pt x="85" y="94"/>
                  </a:lnTo>
                  <a:lnTo>
                    <a:pt x="85" y="94"/>
                  </a:lnTo>
                  <a:close/>
                  <a:moveTo>
                    <a:pt x="136" y="108"/>
                  </a:moveTo>
                  <a:lnTo>
                    <a:pt x="36" y="108"/>
                  </a:lnTo>
                  <a:lnTo>
                    <a:pt x="36" y="108"/>
                  </a:lnTo>
                  <a:lnTo>
                    <a:pt x="28" y="108"/>
                  </a:lnTo>
                  <a:lnTo>
                    <a:pt x="21" y="111"/>
                  </a:lnTo>
                  <a:lnTo>
                    <a:pt x="14" y="113"/>
                  </a:lnTo>
                  <a:lnTo>
                    <a:pt x="10" y="117"/>
                  </a:lnTo>
                  <a:lnTo>
                    <a:pt x="5" y="122"/>
                  </a:lnTo>
                  <a:lnTo>
                    <a:pt x="2" y="129"/>
                  </a:lnTo>
                  <a:lnTo>
                    <a:pt x="0" y="138"/>
                  </a:lnTo>
                  <a:lnTo>
                    <a:pt x="0" y="146"/>
                  </a:lnTo>
                  <a:lnTo>
                    <a:pt x="0" y="173"/>
                  </a:lnTo>
                  <a:lnTo>
                    <a:pt x="28" y="201"/>
                  </a:lnTo>
                  <a:lnTo>
                    <a:pt x="28" y="156"/>
                  </a:lnTo>
                  <a:lnTo>
                    <a:pt x="28" y="156"/>
                  </a:lnTo>
                  <a:lnTo>
                    <a:pt x="29" y="154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5" y="154"/>
                  </a:lnTo>
                  <a:lnTo>
                    <a:pt x="36" y="156"/>
                  </a:lnTo>
                  <a:lnTo>
                    <a:pt x="36" y="209"/>
                  </a:lnTo>
                  <a:lnTo>
                    <a:pt x="133" y="306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6" y="265"/>
                  </a:lnTo>
                  <a:lnTo>
                    <a:pt x="136" y="156"/>
                  </a:lnTo>
                  <a:lnTo>
                    <a:pt x="136" y="156"/>
                  </a:lnTo>
                  <a:lnTo>
                    <a:pt x="137" y="154"/>
                  </a:lnTo>
                  <a:lnTo>
                    <a:pt x="139" y="153"/>
                  </a:lnTo>
                  <a:lnTo>
                    <a:pt x="139" y="153"/>
                  </a:lnTo>
                  <a:lnTo>
                    <a:pt x="142" y="154"/>
                  </a:lnTo>
                  <a:lnTo>
                    <a:pt x="142" y="156"/>
                  </a:lnTo>
                  <a:lnTo>
                    <a:pt x="142" y="258"/>
                  </a:lnTo>
                  <a:lnTo>
                    <a:pt x="142" y="258"/>
                  </a:lnTo>
                  <a:lnTo>
                    <a:pt x="143" y="260"/>
                  </a:lnTo>
                  <a:lnTo>
                    <a:pt x="143" y="260"/>
                  </a:lnTo>
                  <a:lnTo>
                    <a:pt x="145" y="266"/>
                  </a:lnTo>
                  <a:lnTo>
                    <a:pt x="148" y="269"/>
                  </a:lnTo>
                  <a:lnTo>
                    <a:pt x="152" y="272"/>
                  </a:lnTo>
                  <a:lnTo>
                    <a:pt x="158" y="272"/>
                  </a:lnTo>
                  <a:lnTo>
                    <a:pt x="158" y="272"/>
                  </a:lnTo>
                  <a:lnTo>
                    <a:pt x="163" y="271"/>
                  </a:lnTo>
                  <a:lnTo>
                    <a:pt x="167" y="269"/>
                  </a:lnTo>
                  <a:lnTo>
                    <a:pt x="170" y="264"/>
                  </a:lnTo>
                  <a:lnTo>
                    <a:pt x="172" y="258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2" y="138"/>
                  </a:lnTo>
                  <a:lnTo>
                    <a:pt x="169" y="129"/>
                  </a:lnTo>
                  <a:lnTo>
                    <a:pt x="166" y="122"/>
                  </a:lnTo>
                  <a:lnTo>
                    <a:pt x="162" y="117"/>
                  </a:lnTo>
                  <a:lnTo>
                    <a:pt x="158" y="113"/>
                  </a:lnTo>
                  <a:lnTo>
                    <a:pt x="151" y="111"/>
                  </a:lnTo>
                  <a:lnTo>
                    <a:pt x="143" y="108"/>
                  </a:lnTo>
                  <a:lnTo>
                    <a:pt x="136" y="108"/>
                  </a:lnTo>
                  <a:lnTo>
                    <a:pt x="136" y="108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9" name="Freeform 424"/>
            <p:cNvSpPr>
              <a:spLocks noEditPoints="1"/>
            </p:cNvSpPr>
            <p:nvPr/>
          </p:nvSpPr>
          <p:spPr bwMode="auto">
            <a:xfrm>
              <a:off x="5326" y="580"/>
              <a:ext cx="181" cy="181"/>
            </a:xfrm>
            <a:custGeom>
              <a:avLst/>
              <a:gdLst>
                <a:gd name="T0" fmla="*/ 179 w 362"/>
                <a:gd name="T1" fmla="*/ 112 h 362"/>
                <a:gd name="T2" fmla="*/ 181 w 362"/>
                <a:gd name="T3" fmla="*/ 101 h 362"/>
                <a:gd name="T4" fmla="*/ 180 w 362"/>
                <a:gd name="T5" fmla="*/ 79 h 362"/>
                <a:gd name="T6" fmla="*/ 174 w 362"/>
                <a:gd name="T7" fmla="*/ 56 h 362"/>
                <a:gd name="T8" fmla="*/ 162 w 362"/>
                <a:gd name="T9" fmla="*/ 36 h 362"/>
                <a:gd name="T10" fmla="*/ 155 w 362"/>
                <a:gd name="T11" fmla="*/ 27 h 362"/>
                <a:gd name="T12" fmla="*/ 132 w 362"/>
                <a:gd name="T13" fmla="*/ 11 h 362"/>
                <a:gd name="T14" fmla="*/ 106 w 362"/>
                <a:gd name="T15" fmla="*/ 2 h 362"/>
                <a:gd name="T16" fmla="*/ 79 w 362"/>
                <a:gd name="T17" fmla="*/ 1 h 362"/>
                <a:gd name="T18" fmla="*/ 53 w 362"/>
                <a:gd name="T19" fmla="*/ 8 h 362"/>
                <a:gd name="T20" fmla="*/ 102 w 362"/>
                <a:gd name="T21" fmla="*/ 56 h 362"/>
                <a:gd name="T22" fmla="*/ 110 w 362"/>
                <a:gd name="T23" fmla="*/ 67 h 362"/>
                <a:gd name="T24" fmla="*/ 112 w 362"/>
                <a:gd name="T25" fmla="*/ 80 h 362"/>
                <a:gd name="T26" fmla="*/ 110 w 362"/>
                <a:gd name="T27" fmla="*/ 92 h 362"/>
                <a:gd name="T28" fmla="*/ 102 w 362"/>
                <a:gd name="T29" fmla="*/ 103 h 362"/>
                <a:gd name="T30" fmla="*/ 97 w 362"/>
                <a:gd name="T31" fmla="*/ 107 h 362"/>
                <a:gd name="T32" fmla="*/ 85 w 362"/>
                <a:gd name="T33" fmla="*/ 112 h 362"/>
                <a:gd name="T34" fmla="*/ 72 w 362"/>
                <a:gd name="T35" fmla="*/ 112 h 362"/>
                <a:gd name="T36" fmla="*/ 60 w 362"/>
                <a:gd name="T37" fmla="*/ 107 h 362"/>
                <a:gd name="T38" fmla="*/ 7 w 362"/>
                <a:gd name="T39" fmla="*/ 55 h 362"/>
                <a:gd name="T40" fmla="*/ 3 w 362"/>
                <a:gd name="T41" fmla="*/ 67 h 362"/>
                <a:gd name="T42" fmla="*/ 0 w 362"/>
                <a:gd name="T43" fmla="*/ 94 h 362"/>
                <a:gd name="T44" fmla="*/ 4 w 362"/>
                <a:gd name="T45" fmla="*/ 120 h 362"/>
                <a:gd name="T46" fmla="*/ 17 w 362"/>
                <a:gd name="T47" fmla="*/ 145 h 362"/>
                <a:gd name="T48" fmla="*/ 27 w 362"/>
                <a:gd name="T49" fmla="*/ 155 h 362"/>
                <a:gd name="T50" fmla="*/ 45 w 362"/>
                <a:gd name="T51" fmla="*/ 169 h 362"/>
                <a:gd name="T52" fmla="*/ 66 w 362"/>
                <a:gd name="T53" fmla="*/ 179 h 362"/>
                <a:gd name="T54" fmla="*/ 89 w 362"/>
                <a:gd name="T55" fmla="*/ 182 h 362"/>
                <a:gd name="T56" fmla="*/ 112 w 362"/>
                <a:gd name="T57" fmla="*/ 179 h 362"/>
                <a:gd name="T58" fmla="*/ 282 w 362"/>
                <a:gd name="T59" fmla="*/ 349 h 362"/>
                <a:gd name="T60" fmla="*/ 297 w 362"/>
                <a:gd name="T61" fmla="*/ 359 h 362"/>
                <a:gd name="T62" fmla="*/ 314 w 362"/>
                <a:gd name="T63" fmla="*/ 362 h 362"/>
                <a:gd name="T64" fmla="*/ 324 w 362"/>
                <a:gd name="T65" fmla="*/ 362 h 362"/>
                <a:gd name="T66" fmla="*/ 340 w 362"/>
                <a:gd name="T67" fmla="*/ 355 h 362"/>
                <a:gd name="T68" fmla="*/ 348 w 362"/>
                <a:gd name="T69" fmla="*/ 349 h 362"/>
                <a:gd name="T70" fmla="*/ 359 w 362"/>
                <a:gd name="T71" fmla="*/ 333 h 362"/>
                <a:gd name="T72" fmla="*/ 362 w 362"/>
                <a:gd name="T73" fmla="*/ 316 h 362"/>
                <a:gd name="T74" fmla="*/ 359 w 362"/>
                <a:gd name="T75" fmla="*/ 298 h 362"/>
                <a:gd name="T76" fmla="*/ 348 w 362"/>
                <a:gd name="T77" fmla="*/ 283 h 362"/>
                <a:gd name="T78" fmla="*/ 329 w 362"/>
                <a:gd name="T79" fmla="*/ 330 h 362"/>
                <a:gd name="T80" fmla="*/ 326 w 362"/>
                <a:gd name="T81" fmla="*/ 333 h 362"/>
                <a:gd name="T82" fmla="*/ 319 w 362"/>
                <a:gd name="T83" fmla="*/ 336 h 362"/>
                <a:gd name="T84" fmla="*/ 311 w 362"/>
                <a:gd name="T85" fmla="*/ 336 h 362"/>
                <a:gd name="T86" fmla="*/ 304 w 362"/>
                <a:gd name="T87" fmla="*/ 333 h 362"/>
                <a:gd name="T88" fmla="*/ 300 w 362"/>
                <a:gd name="T89" fmla="*/ 330 h 362"/>
                <a:gd name="T90" fmla="*/ 296 w 362"/>
                <a:gd name="T91" fmla="*/ 324 h 362"/>
                <a:gd name="T92" fmla="*/ 294 w 362"/>
                <a:gd name="T93" fmla="*/ 316 h 362"/>
                <a:gd name="T94" fmla="*/ 296 w 362"/>
                <a:gd name="T95" fmla="*/ 308 h 362"/>
                <a:gd name="T96" fmla="*/ 300 w 362"/>
                <a:gd name="T97" fmla="*/ 301 h 362"/>
                <a:gd name="T98" fmla="*/ 304 w 362"/>
                <a:gd name="T99" fmla="*/ 299 h 362"/>
                <a:gd name="T100" fmla="*/ 311 w 362"/>
                <a:gd name="T101" fmla="*/ 296 h 362"/>
                <a:gd name="T102" fmla="*/ 319 w 362"/>
                <a:gd name="T103" fmla="*/ 296 h 362"/>
                <a:gd name="T104" fmla="*/ 326 w 362"/>
                <a:gd name="T105" fmla="*/ 299 h 362"/>
                <a:gd name="T106" fmla="*/ 329 w 362"/>
                <a:gd name="T107" fmla="*/ 301 h 362"/>
                <a:gd name="T108" fmla="*/ 334 w 362"/>
                <a:gd name="T109" fmla="*/ 308 h 362"/>
                <a:gd name="T110" fmla="*/ 336 w 362"/>
                <a:gd name="T111" fmla="*/ 316 h 362"/>
                <a:gd name="T112" fmla="*/ 334 w 362"/>
                <a:gd name="T113" fmla="*/ 324 h 362"/>
                <a:gd name="T114" fmla="*/ 329 w 362"/>
                <a:gd name="T115" fmla="*/ 33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2" h="362">
                  <a:moveTo>
                    <a:pt x="348" y="283"/>
                  </a:moveTo>
                  <a:lnTo>
                    <a:pt x="179" y="112"/>
                  </a:lnTo>
                  <a:lnTo>
                    <a:pt x="179" y="112"/>
                  </a:lnTo>
                  <a:lnTo>
                    <a:pt x="181" y="101"/>
                  </a:lnTo>
                  <a:lnTo>
                    <a:pt x="181" y="90"/>
                  </a:lnTo>
                  <a:lnTo>
                    <a:pt x="180" y="79"/>
                  </a:lnTo>
                  <a:lnTo>
                    <a:pt x="177" y="67"/>
                  </a:lnTo>
                  <a:lnTo>
                    <a:pt x="174" y="56"/>
                  </a:lnTo>
                  <a:lnTo>
                    <a:pt x="169" y="47"/>
                  </a:lnTo>
                  <a:lnTo>
                    <a:pt x="162" y="36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44" y="17"/>
                  </a:lnTo>
                  <a:lnTo>
                    <a:pt x="132" y="11"/>
                  </a:lnTo>
                  <a:lnTo>
                    <a:pt x="119" y="6"/>
                  </a:lnTo>
                  <a:lnTo>
                    <a:pt x="106" y="2"/>
                  </a:lnTo>
                  <a:lnTo>
                    <a:pt x="93" y="0"/>
                  </a:lnTo>
                  <a:lnTo>
                    <a:pt x="79" y="1"/>
                  </a:lnTo>
                  <a:lnTo>
                    <a:pt x="66" y="3"/>
                  </a:lnTo>
                  <a:lnTo>
                    <a:pt x="53" y="8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6" y="62"/>
                  </a:lnTo>
                  <a:lnTo>
                    <a:pt x="110" y="67"/>
                  </a:lnTo>
                  <a:lnTo>
                    <a:pt x="111" y="73"/>
                  </a:lnTo>
                  <a:lnTo>
                    <a:pt x="112" y="80"/>
                  </a:lnTo>
                  <a:lnTo>
                    <a:pt x="111" y="85"/>
                  </a:lnTo>
                  <a:lnTo>
                    <a:pt x="110" y="92"/>
                  </a:lnTo>
                  <a:lnTo>
                    <a:pt x="106" y="97"/>
                  </a:lnTo>
                  <a:lnTo>
                    <a:pt x="102" y="103"/>
                  </a:lnTo>
                  <a:lnTo>
                    <a:pt x="102" y="103"/>
                  </a:lnTo>
                  <a:lnTo>
                    <a:pt x="97" y="107"/>
                  </a:lnTo>
                  <a:lnTo>
                    <a:pt x="91" y="110"/>
                  </a:lnTo>
                  <a:lnTo>
                    <a:pt x="85" y="112"/>
                  </a:lnTo>
                  <a:lnTo>
                    <a:pt x="78" y="112"/>
                  </a:lnTo>
                  <a:lnTo>
                    <a:pt x="72" y="112"/>
                  </a:lnTo>
                  <a:lnTo>
                    <a:pt x="66" y="110"/>
                  </a:lnTo>
                  <a:lnTo>
                    <a:pt x="60" y="107"/>
                  </a:lnTo>
                  <a:lnTo>
                    <a:pt x="56" y="103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3" y="67"/>
                  </a:lnTo>
                  <a:lnTo>
                    <a:pt x="1" y="81"/>
                  </a:lnTo>
                  <a:lnTo>
                    <a:pt x="0" y="94"/>
                  </a:lnTo>
                  <a:lnTo>
                    <a:pt x="1" y="107"/>
                  </a:lnTo>
                  <a:lnTo>
                    <a:pt x="4" y="120"/>
                  </a:lnTo>
                  <a:lnTo>
                    <a:pt x="9" y="133"/>
                  </a:lnTo>
                  <a:lnTo>
                    <a:pt x="17" y="14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35" y="163"/>
                  </a:lnTo>
                  <a:lnTo>
                    <a:pt x="45" y="169"/>
                  </a:lnTo>
                  <a:lnTo>
                    <a:pt x="56" y="175"/>
                  </a:lnTo>
                  <a:lnTo>
                    <a:pt x="66" y="179"/>
                  </a:lnTo>
                  <a:lnTo>
                    <a:pt x="77" y="181"/>
                  </a:lnTo>
                  <a:lnTo>
                    <a:pt x="89" y="182"/>
                  </a:lnTo>
                  <a:lnTo>
                    <a:pt x="101" y="181"/>
                  </a:lnTo>
                  <a:lnTo>
                    <a:pt x="112" y="179"/>
                  </a:lnTo>
                  <a:lnTo>
                    <a:pt x="282" y="349"/>
                  </a:lnTo>
                  <a:lnTo>
                    <a:pt x="282" y="349"/>
                  </a:lnTo>
                  <a:lnTo>
                    <a:pt x="289" y="355"/>
                  </a:lnTo>
                  <a:lnTo>
                    <a:pt x="297" y="359"/>
                  </a:lnTo>
                  <a:lnTo>
                    <a:pt x="306" y="362"/>
                  </a:lnTo>
                  <a:lnTo>
                    <a:pt x="314" y="362"/>
                  </a:lnTo>
                  <a:lnTo>
                    <a:pt x="314" y="362"/>
                  </a:lnTo>
                  <a:lnTo>
                    <a:pt x="324" y="362"/>
                  </a:lnTo>
                  <a:lnTo>
                    <a:pt x="333" y="359"/>
                  </a:lnTo>
                  <a:lnTo>
                    <a:pt x="340" y="355"/>
                  </a:lnTo>
                  <a:lnTo>
                    <a:pt x="348" y="349"/>
                  </a:lnTo>
                  <a:lnTo>
                    <a:pt x="348" y="349"/>
                  </a:lnTo>
                  <a:lnTo>
                    <a:pt x="354" y="342"/>
                  </a:lnTo>
                  <a:lnTo>
                    <a:pt x="359" y="333"/>
                  </a:lnTo>
                  <a:lnTo>
                    <a:pt x="361" y="325"/>
                  </a:lnTo>
                  <a:lnTo>
                    <a:pt x="362" y="316"/>
                  </a:lnTo>
                  <a:lnTo>
                    <a:pt x="361" y="306"/>
                  </a:lnTo>
                  <a:lnTo>
                    <a:pt x="359" y="298"/>
                  </a:lnTo>
                  <a:lnTo>
                    <a:pt x="354" y="290"/>
                  </a:lnTo>
                  <a:lnTo>
                    <a:pt x="348" y="283"/>
                  </a:lnTo>
                  <a:lnTo>
                    <a:pt x="348" y="283"/>
                  </a:lnTo>
                  <a:close/>
                  <a:moveTo>
                    <a:pt x="329" y="330"/>
                  </a:moveTo>
                  <a:lnTo>
                    <a:pt x="329" y="330"/>
                  </a:lnTo>
                  <a:lnTo>
                    <a:pt x="326" y="333"/>
                  </a:lnTo>
                  <a:lnTo>
                    <a:pt x="323" y="334"/>
                  </a:lnTo>
                  <a:lnTo>
                    <a:pt x="319" y="336"/>
                  </a:lnTo>
                  <a:lnTo>
                    <a:pt x="314" y="336"/>
                  </a:lnTo>
                  <a:lnTo>
                    <a:pt x="311" y="336"/>
                  </a:lnTo>
                  <a:lnTo>
                    <a:pt x="307" y="334"/>
                  </a:lnTo>
                  <a:lnTo>
                    <a:pt x="304" y="333"/>
                  </a:lnTo>
                  <a:lnTo>
                    <a:pt x="300" y="330"/>
                  </a:lnTo>
                  <a:lnTo>
                    <a:pt x="300" y="330"/>
                  </a:lnTo>
                  <a:lnTo>
                    <a:pt x="297" y="327"/>
                  </a:lnTo>
                  <a:lnTo>
                    <a:pt x="296" y="324"/>
                  </a:lnTo>
                  <a:lnTo>
                    <a:pt x="295" y="319"/>
                  </a:lnTo>
                  <a:lnTo>
                    <a:pt x="294" y="316"/>
                  </a:lnTo>
                  <a:lnTo>
                    <a:pt x="295" y="312"/>
                  </a:lnTo>
                  <a:lnTo>
                    <a:pt x="296" y="308"/>
                  </a:lnTo>
                  <a:lnTo>
                    <a:pt x="297" y="304"/>
                  </a:lnTo>
                  <a:lnTo>
                    <a:pt x="300" y="301"/>
                  </a:lnTo>
                  <a:lnTo>
                    <a:pt x="300" y="301"/>
                  </a:lnTo>
                  <a:lnTo>
                    <a:pt x="304" y="299"/>
                  </a:lnTo>
                  <a:lnTo>
                    <a:pt x="307" y="297"/>
                  </a:lnTo>
                  <a:lnTo>
                    <a:pt x="311" y="296"/>
                  </a:lnTo>
                  <a:lnTo>
                    <a:pt x="314" y="296"/>
                  </a:lnTo>
                  <a:lnTo>
                    <a:pt x="319" y="296"/>
                  </a:lnTo>
                  <a:lnTo>
                    <a:pt x="323" y="297"/>
                  </a:lnTo>
                  <a:lnTo>
                    <a:pt x="326" y="299"/>
                  </a:lnTo>
                  <a:lnTo>
                    <a:pt x="329" y="301"/>
                  </a:lnTo>
                  <a:lnTo>
                    <a:pt x="329" y="301"/>
                  </a:lnTo>
                  <a:lnTo>
                    <a:pt x="332" y="304"/>
                  </a:lnTo>
                  <a:lnTo>
                    <a:pt x="334" y="308"/>
                  </a:lnTo>
                  <a:lnTo>
                    <a:pt x="335" y="312"/>
                  </a:lnTo>
                  <a:lnTo>
                    <a:pt x="336" y="316"/>
                  </a:lnTo>
                  <a:lnTo>
                    <a:pt x="335" y="319"/>
                  </a:lnTo>
                  <a:lnTo>
                    <a:pt x="334" y="324"/>
                  </a:lnTo>
                  <a:lnTo>
                    <a:pt x="332" y="327"/>
                  </a:lnTo>
                  <a:lnTo>
                    <a:pt x="329" y="330"/>
                  </a:lnTo>
                  <a:lnTo>
                    <a:pt x="329" y="33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996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e ‘Protect-Detect-Recover’ framework…</a:t>
            </a:r>
            <a:endParaRPr lang="en-US" dirty="0"/>
          </a:p>
        </p:txBody>
      </p:sp>
      <p:sp>
        <p:nvSpPr>
          <p:cNvPr id="9" name="Freeform 8"/>
          <p:cNvSpPr/>
          <p:nvPr/>
        </p:nvSpPr>
        <p:spPr>
          <a:xfrm>
            <a:off x="4790676" y="1605072"/>
            <a:ext cx="1870871" cy="1870871"/>
          </a:xfrm>
          <a:custGeom>
            <a:avLst/>
            <a:gdLst>
              <a:gd name="connsiteX0" fmla="*/ 0 w 1870871"/>
              <a:gd name="connsiteY0" fmla="*/ 935436 h 1870871"/>
              <a:gd name="connsiteX1" fmla="*/ 935436 w 1870871"/>
              <a:gd name="connsiteY1" fmla="*/ 0 h 1870871"/>
              <a:gd name="connsiteX2" fmla="*/ 1870872 w 1870871"/>
              <a:gd name="connsiteY2" fmla="*/ 935436 h 1870871"/>
              <a:gd name="connsiteX3" fmla="*/ 935436 w 1870871"/>
              <a:gd name="connsiteY3" fmla="*/ 1870872 h 1870871"/>
              <a:gd name="connsiteX4" fmla="*/ 0 w 1870871"/>
              <a:gd name="connsiteY4" fmla="*/ 935436 h 1870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0871" h="1870871">
                <a:moveTo>
                  <a:pt x="0" y="935436"/>
                </a:moveTo>
                <a:cubicBezTo>
                  <a:pt x="0" y="418809"/>
                  <a:pt x="418809" y="0"/>
                  <a:pt x="935436" y="0"/>
                </a:cubicBezTo>
                <a:cubicBezTo>
                  <a:pt x="1452063" y="0"/>
                  <a:pt x="1870872" y="418809"/>
                  <a:pt x="1870872" y="935436"/>
                </a:cubicBezTo>
                <a:cubicBezTo>
                  <a:pt x="1870872" y="1452063"/>
                  <a:pt x="1452063" y="1870872"/>
                  <a:pt x="935436" y="1870872"/>
                </a:cubicBezTo>
                <a:cubicBezTo>
                  <a:pt x="418809" y="1870872"/>
                  <a:pt x="0" y="1452063"/>
                  <a:pt x="0" y="935436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5733" tIns="305733" rIns="305733" bIns="305733" numCol="1" spcCol="1270" anchor="b" anchorCtr="0">
            <a:noAutofit/>
          </a:bodyPr>
          <a:lstStyle/>
          <a:p>
            <a:pPr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b="1" dirty="0" smtClean="0">
                <a:solidFill>
                  <a:prstClr val="white"/>
                </a:solidFill>
              </a:rPr>
              <a:t>Protect</a:t>
            </a:r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6195150" y="4037693"/>
            <a:ext cx="1870871" cy="1870871"/>
          </a:xfrm>
          <a:custGeom>
            <a:avLst/>
            <a:gdLst>
              <a:gd name="connsiteX0" fmla="*/ 0 w 1870871"/>
              <a:gd name="connsiteY0" fmla="*/ 935436 h 1870871"/>
              <a:gd name="connsiteX1" fmla="*/ 935436 w 1870871"/>
              <a:gd name="connsiteY1" fmla="*/ 0 h 1870871"/>
              <a:gd name="connsiteX2" fmla="*/ 1870872 w 1870871"/>
              <a:gd name="connsiteY2" fmla="*/ 935436 h 1870871"/>
              <a:gd name="connsiteX3" fmla="*/ 935436 w 1870871"/>
              <a:gd name="connsiteY3" fmla="*/ 1870872 h 1870871"/>
              <a:gd name="connsiteX4" fmla="*/ 0 w 1870871"/>
              <a:gd name="connsiteY4" fmla="*/ 935436 h 1870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0871" h="1870871">
                <a:moveTo>
                  <a:pt x="0" y="935436"/>
                </a:moveTo>
                <a:cubicBezTo>
                  <a:pt x="0" y="418809"/>
                  <a:pt x="418809" y="0"/>
                  <a:pt x="935436" y="0"/>
                </a:cubicBezTo>
                <a:cubicBezTo>
                  <a:pt x="1452063" y="0"/>
                  <a:pt x="1870872" y="418809"/>
                  <a:pt x="1870872" y="935436"/>
                </a:cubicBezTo>
                <a:cubicBezTo>
                  <a:pt x="1870872" y="1452063"/>
                  <a:pt x="1452063" y="1870872"/>
                  <a:pt x="935436" y="1870872"/>
                </a:cubicBezTo>
                <a:cubicBezTo>
                  <a:pt x="418809" y="1870872"/>
                  <a:pt x="0" y="1452063"/>
                  <a:pt x="0" y="935436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5733" tIns="305733" rIns="305733" bIns="305733" numCol="1" spcCol="1270" anchor="b" anchorCtr="0">
            <a:noAutofit/>
          </a:bodyPr>
          <a:lstStyle/>
          <a:p>
            <a:pPr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b="1" dirty="0" smtClean="0">
                <a:solidFill>
                  <a:prstClr val="white"/>
                </a:solidFill>
              </a:rPr>
              <a:t>Detect</a:t>
            </a:r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3386202" y="4037693"/>
            <a:ext cx="1870871" cy="1870871"/>
          </a:xfrm>
          <a:custGeom>
            <a:avLst/>
            <a:gdLst>
              <a:gd name="connsiteX0" fmla="*/ 0 w 1870871"/>
              <a:gd name="connsiteY0" fmla="*/ 935436 h 1870871"/>
              <a:gd name="connsiteX1" fmla="*/ 935436 w 1870871"/>
              <a:gd name="connsiteY1" fmla="*/ 0 h 1870871"/>
              <a:gd name="connsiteX2" fmla="*/ 1870872 w 1870871"/>
              <a:gd name="connsiteY2" fmla="*/ 935436 h 1870871"/>
              <a:gd name="connsiteX3" fmla="*/ 935436 w 1870871"/>
              <a:gd name="connsiteY3" fmla="*/ 1870872 h 1870871"/>
              <a:gd name="connsiteX4" fmla="*/ 0 w 1870871"/>
              <a:gd name="connsiteY4" fmla="*/ 935436 h 1870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0871" h="1870871">
                <a:moveTo>
                  <a:pt x="0" y="935436"/>
                </a:moveTo>
                <a:cubicBezTo>
                  <a:pt x="0" y="418809"/>
                  <a:pt x="418809" y="0"/>
                  <a:pt x="935436" y="0"/>
                </a:cubicBezTo>
                <a:cubicBezTo>
                  <a:pt x="1452063" y="0"/>
                  <a:pt x="1870872" y="418809"/>
                  <a:pt x="1870872" y="935436"/>
                </a:cubicBezTo>
                <a:cubicBezTo>
                  <a:pt x="1870872" y="1452063"/>
                  <a:pt x="1452063" y="1870872"/>
                  <a:pt x="935436" y="1870872"/>
                </a:cubicBezTo>
                <a:cubicBezTo>
                  <a:pt x="418809" y="1870872"/>
                  <a:pt x="0" y="1452063"/>
                  <a:pt x="0" y="935436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5733" tIns="305733" rIns="305733" bIns="305733" numCol="1" spcCol="1270" anchor="b" anchorCtr="0">
            <a:noAutofit/>
          </a:bodyPr>
          <a:lstStyle/>
          <a:p>
            <a:pPr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b="1" dirty="0" smtClean="0">
                <a:solidFill>
                  <a:prstClr val="white"/>
                </a:solidFill>
              </a:rPr>
              <a:t>Recover</a:t>
            </a:r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661546" y="2078842"/>
            <a:ext cx="33206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en-US" dirty="0" smtClean="0">
                <a:solidFill>
                  <a:srgbClr val="87898B">
                    <a:lumMod val="75000"/>
                  </a:srgbClr>
                </a:solidFill>
              </a:rPr>
              <a:t>Difficult </a:t>
            </a:r>
            <a:r>
              <a:rPr lang="en-US" dirty="0">
                <a:solidFill>
                  <a:srgbClr val="87898B">
                    <a:lumMod val="75000"/>
                  </a:srgbClr>
                </a:solidFill>
              </a:rPr>
              <a:t>to get </a:t>
            </a:r>
            <a:r>
              <a:rPr lang="en-US" dirty="0" smtClean="0">
                <a:solidFill>
                  <a:srgbClr val="87898B">
                    <a:lumMod val="75000"/>
                  </a:srgbClr>
                </a:solidFill>
              </a:rPr>
              <a:t>inside, see </a:t>
            </a:r>
            <a:r>
              <a:rPr lang="en-US" dirty="0">
                <a:solidFill>
                  <a:srgbClr val="87898B">
                    <a:lumMod val="75000"/>
                  </a:srgbClr>
                </a:solidFill>
              </a:rPr>
              <a:t>anything </a:t>
            </a:r>
            <a:r>
              <a:rPr lang="en-US" dirty="0" smtClean="0">
                <a:solidFill>
                  <a:srgbClr val="87898B">
                    <a:lumMod val="75000"/>
                  </a:srgbClr>
                </a:solidFill>
              </a:rPr>
              <a:t>inside,</a:t>
            </a:r>
            <a:r>
              <a:rPr lang="en-US" dirty="0">
                <a:solidFill>
                  <a:srgbClr val="87898B">
                    <a:lumMod val="75000"/>
                  </a:srgbClr>
                </a:solidFill>
              </a:rPr>
              <a:t> </a:t>
            </a:r>
            <a:r>
              <a:rPr lang="en-US" dirty="0" smtClean="0">
                <a:solidFill>
                  <a:srgbClr val="87898B">
                    <a:lumMod val="75000"/>
                  </a:srgbClr>
                </a:solidFill>
              </a:rPr>
              <a:t>steal </a:t>
            </a:r>
            <a:r>
              <a:rPr lang="en-US" dirty="0">
                <a:solidFill>
                  <a:srgbClr val="87898B">
                    <a:lumMod val="75000"/>
                  </a:srgbClr>
                </a:solidFill>
              </a:rPr>
              <a:t>anything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117685" y="4667466"/>
            <a:ext cx="2613216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2pPr marL="0" lvl="1">
              <a:defRPr>
                <a:solidFill>
                  <a:schemeClr val="accent3">
                    <a:lumMod val="75000"/>
                  </a:schemeClr>
                </a:solidFill>
              </a:defRPr>
            </a:lvl2pPr>
          </a:lstStyle>
          <a:p>
            <a:pPr lvl="1"/>
            <a:r>
              <a:rPr lang="en-US" dirty="0">
                <a:solidFill>
                  <a:srgbClr val="87898B">
                    <a:lumMod val="75000"/>
                  </a:srgbClr>
                </a:solidFill>
              </a:rPr>
              <a:t>Difficult to stay </a:t>
            </a:r>
            <a:r>
              <a:rPr lang="en-US" dirty="0" smtClean="0">
                <a:solidFill>
                  <a:srgbClr val="87898B">
                    <a:lumMod val="75000"/>
                  </a:srgbClr>
                </a:solidFill>
              </a:rPr>
              <a:t>inside,</a:t>
            </a:r>
            <a:r>
              <a:rPr lang="en-US" dirty="0">
                <a:solidFill>
                  <a:srgbClr val="87898B">
                    <a:lumMod val="75000"/>
                  </a:srgbClr>
                </a:solidFill>
              </a:rPr>
              <a:t> </a:t>
            </a:r>
            <a:r>
              <a:rPr lang="en-US" dirty="0" smtClean="0">
                <a:solidFill>
                  <a:srgbClr val="87898B">
                    <a:lumMod val="75000"/>
                  </a:srgbClr>
                </a:solidFill>
              </a:rPr>
              <a:t>steal anything</a:t>
            </a:r>
            <a:endParaRPr lang="en-US" dirty="0">
              <a:solidFill>
                <a:srgbClr val="87898B">
                  <a:lumMod val="75000"/>
                </a:srgb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38670" y="4649962"/>
            <a:ext cx="2018501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2pPr marL="0" lvl="1">
              <a:defRPr>
                <a:solidFill>
                  <a:schemeClr val="accent3">
                    <a:lumMod val="75000"/>
                  </a:schemeClr>
                </a:solidFill>
              </a:defRPr>
            </a:lvl2pPr>
          </a:lstStyle>
          <a:p>
            <a:pPr lvl="1" algn="r"/>
            <a:r>
              <a:rPr lang="en-US" dirty="0">
                <a:solidFill>
                  <a:srgbClr val="87898B">
                    <a:lumMod val="75000"/>
                  </a:srgbClr>
                </a:solidFill>
              </a:rPr>
              <a:t>Difficult to destroy </a:t>
            </a:r>
          </a:p>
          <a:p>
            <a:pPr lvl="1" algn="r"/>
            <a:r>
              <a:rPr lang="en-US" dirty="0">
                <a:solidFill>
                  <a:srgbClr val="87898B">
                    <a:lumMod val="75000"/>
                  </a:srgbClr>
                </a:solidFill>
              </a:rPr>
              <a:t>anything</a:t>
            </a:r>
          </a:p>
        </p:txBody>
      </p:sp>
      <p:grpSp>
        <p:nvGrpSpPr>
          <p:cNvPr id="15" name="Group 14"/>
          <p:cNvGrpSpPr/>
          <p:nvPr/>
        </p:nvGrpSpPr>
        <p:grpSpPr>
          <a:xfrm rot="12600000">
            <a:off x="4805442" y="3525702"/>
            <a:ext cx="301080" cy="380835"/>
            <a:chOff x="8507565" y="3461292"/>
            <a:chExt cx="301080" cy="460911"/>
          </a:xfrm>
          <a:solidFill>
            <a:schemeClr val="bg2">
              <a:lumMod val="90000"/>
            </a:schemeClr>
          </a:solidFill>
        </p:grpSpPr>
        <p:sp>
          <p:nvSpPr>
            <p:cNvPr id="16" name="Round Diagonal Corner Rectangle 15"/>
            <p:cNvSpPr/>
            <p:nvPr/>
          </p:nvSpPr>
          <p:spPr>
            <a:xfrm rot="5400000">
              <a:off x="8501552" y="3544478"/>
              <a:ext cx="313108" cy="146735"/>
            </a:xfrm>
            <a:prstGeom prst="round2DiagRect">
              <a:avLst>
                <a:gd name="adj1" fmla="val 23013"/>
                <a:gd name="adj2" fmla="val 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17" name="Freeform 112"/>
            <p:cNvSpPr>
              <a:spLocks/>
            </p:cNvSpPr>
            <p:nvPr/>
          </p:nvSpPr>
          <p:spPr bwMode="auto">
            <a:xfrm rot="16200000">
              <a:off x="8530051" y="3643610"/>
              <a:ext cx="256107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 rot="19800000">
            <a:off x="6285428" y="3525702"/>
            <a:ext cx="301080" cy="380835"/>
            <a:chOff x="8507565" y="3461292"/>
            <a:chExt cx="301080" cy="460911"/>
          </a:xfrm>
          <a:solidFill>
            <a:schemeClr val="bg2">
              <a:lumMod val="90000"/>
            </a:schemeClr>
          </a:solidFill>
        </p:grpSpPr>
        <p:sp>
          <p:nvSpPr>
            <p:cNvPr id="22" name="Round Diagonal Corner Rectangle 21"/>
            <p:cNvSpPr/>
            <p:nvPr/>
          </p:nvSpPr>
          <p:spPr>
            <a:xfrm rot="5400000">
              <a:off x="8501552" y="3544478"/>
              <a:ext cx="313108" cy="146735"/>
            </a:xfrm>
            <a:prstGeom prst="round2DiagRect">
              <a:avLst>
                <a:gd name="adj1" fmla="val 23013"/>
                <a:gd name="adj2" fmla="val 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23" name="Freeform 112"/>
            <p:cNvSpPr>
              <a:spLocks/>
            </p:cNvSpPr>
            <p:nvPr/>
          </p:nvSpPr>
          <p:spPr bwMode="auto">
            <a:xfrm rot="16200000">
              <a:off x="8530051" y="3643610"/>
              <a:ext cx="256107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 rot="5400000">
            <a:off x="5599034" y="4782711"/>
            <a:ext cx="301080" cy="380835"/>
            <a:chOff x="8507565" y="3461292"/>
            <a:chExt cx="301080" cy="460911"/>
          </a:xfrm>
          <a:solidFill>
            <a:schemeClr val="bg2">
              <a:lumMod val="90000"/>
            </a:schemeClr>
          </a:solidFill>
        </p:grpSpPr>
        <p:sp>
          <p:nvSpPr>
            <p:cNvPr id="28" name="Round Diagonal Corner Rectangle 27"/>
            <p:cNvSpPr/>
            <p:nvPr/>
          </p:nvSpPr>
          <p:spPr>
            <a:xfrm rot="5400000">
              <a:off x="8501552" y="3544478"/>
              <a:ext cx="313108" cy="146735"/>
            </a:xfrm>
            <a:prstGeom prst="round2DiagRect">
              <a:avLst>
                <a:gd name="adj1" fmla="val 23013"/>
                <a:gd name="adj2" fmla="val 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29" name="Freeform 112"/>
            <p:cNvSpPr>
              <a:spLocks/>
            </p:cNvSpPr>
            <p:nvPr/>
          </p:nvSpPr>
          <p:spPr bwMode="auto">
            <a:xfrm rot="16200000">
              <a:off x="8530051" y="3643610"/>
              <a:ext cx="256107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  <p:pic>
        <p:nvPicPr>
          <p:cNvPr id="30" name="Picture 4"/>
          <p:cNvPicPr>
            <a:picLocks noChangeAspect="1" noChangeArrowheads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3306" y="4685411"/>
            <a:ext cx="1234558" cy="2740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Freeform 34"/>
          <p:cNvSpPr>
            <a:spLocks noEditPoints="1"/>
          </p:cNvSpPr>
          <p:nvPr/>
        </p:nvSpPr>
        <p:spPr bwMode="auto">
          <a:xfrm>
            <a:off x="5441947" y="2030807"/>
            <a:ext cx="568328" cy="673020"/>
          </a:xfrm>
          <a:custGeom>
            <a:avLst/>
            <a:gdLst>
              <a:gd name="T0" fmla="*/ 257 w 303"/>
              <a:gd name="T1" fmla="*/ 165 h 359"/>
              <a:gd name="T2" fmla="*/ 257 w 303"/>
              <a:gd name="T3" fmla="*/ 108 h 359"/>
              <a:gd name="T4" fmla="*/ 255 w 303"/>
              <a:gd name="T5" fmla="*/ 86 h 359"/>
              <a:gd name="T6" fmla="*/ 248 w 303"/>
              <a:gd name="T7" fmla="*/ 66 h 359"/>
              <a:gd name="T8" fmla="*/ 238 w 303"/>
              <a:gd name="T9" fmla="*/ 48 h 359"/>
              <a:gd name="T10" fmla="*/ 225 w 303"/>
              <a:gd name="T11" fmla="*/ 33 h 359"/>
              <a:gd name="T12" fmla="*/ 209 w 303"/>
              <a:gd name="T13" fmla="*/ 19 h 359"/>
              <a:gd name="T14" fmla="*/ 191 w 303"/>
              <a:gd name="T15" fmla="*/ 9 h 359"/>
              <a:gd name="T16" fmla="*/ 171 w 303"/>
              <a:gd name="T17" fmla="*/ 3 h 359"/>
              <a:gd name="T18" fmla="*/ 150 w 303"/>
              <a:gd name="T19" fmla="*/ 0 h 359"/>
              <a:gd name="T20" fmla="*/ 139 w 303"/>
              <a:gd name="T21" fmla="*/ 2 h 359"/>
              <a:gd name="T22" fmla="*/ 118 w 303"/>
              <a:gd name="T23" fmla="*/ 6 h 359"/>
              <a:gd name="T24" fmla="*/ 98 w 303"/>
              <a:gd name="T25" fmla="*/ 13 h 359"/>
              <a:gd name="T26" fmla="*/ 82 w 303"/>
              <a:gd name="T27" fmla="*/ 25 h 359"/>
              <a:gd name="T28" fmla="*/ 67 w 303"/>
              <a:gd name="T29" fmla="*/ 40 h 359"/>
              <a:gd name="T30" fmla="*/ 55 w 303"/>
              <a:gd name="T31" fmla="*/ 56 h 359"/>
              <a:gd name="T32" fmla="*/ 48 w 303"/>
              <a:gd name="T33" fmla="*/ 76 h 359"/>
              <a:gd name="T34" fmla="*/ 43 w 303"/>
              <a:gd name="T35" fmla="*/ 97 h 359"/>
              <a:gd name="T36" fmla="*/ 42 w 303"/>
              <a:gd name="T37" fmla="*/ 165 h 359"/>
              <a:gd name="T38" fmla="*/ 0 w 303"/>
              <a:gd name="T39" fmla="*/ 337 h 359"/>
              <a:gd name="T40" fmla="*/ 1 w 303"/>
              <a:gd name="T41" fmla="*/ 341 h 359"/>
              <a:gd name="T42" fmla="*/ 4 w 303"/>
              <a:gd name="T43" fmla="*/ 350 h 359"/>
              <a:gd name="T44" fmla="*/ 11 w 303"/>
              <a:gd name="T45" fmla="*/ 355 h 359"/>
              <a:gd name="T46" fmla="*/ 18 w 303"/>
              <a:gd name="T47" fmla="*/ 359 h 359"/>
              <a:gd name="T48" fmla="*/ 303 w 303"/>
              <a:gd name="T49" fmla="*/ 359 h 359"/>
              <a:gd name="T50" fmla="*/ 303 w 303"/>
              <a:gd name="T51" fmla="*/ 187 h 359"/>
              <a:gd name="T52" fmla="*/ 301 w 303"/>
              <a:gd name="T53" fmla="*/ 179 h 359"/>
              <a:gd name="T54" fmla="*/ 297 w 303"/>
              <a:gd name="T55" fmla="*/ 171 h 359"/>
              <a:gd name="T56" fmla="*/ 289 w 303"/>
              <a:gd name="T57" fmla="*/ 167 h 359"/>
              <a:gd name="T58" fmla="*/ 280 w 303"/>
              <a:gd name="T59" fmla="*/ 165 h 359"/>
              <a:gd name="T60" fmla="*/ 88 w 303"/>
              <a:gd name="T61" fmla="*/ 108 h 359"/>
              <a:gd name="T62" fmla="*/ 90 w 303"/>
              <a:gd name="T63" fmla="*/ 95 h 359"/>
              <a:gd name="T64" fmla="*/ 99 w 303"/>
              <a:gd name="T65" fmla="*/ 74 h 359"/>
              <a:gd name="T66" fmla="*/ 115 w 303"/>
              <a:gd name="T67" fmla="*/ 57 h 359"/>
              <a:gd name="T68" fmla="*/ 137 w 303"/>
              <a:gd name="T69" fmla="*/ 48 h 359"/>
              <a:gd name="T70" fmla="*/ 150 w 303"/>
              <a:gd name="T71" fmla="*/ 47 h 359"/>
              <a:gd name="T72" fmla="*/ 174 w 303"/>
              <a:gd name="T73" fmla="*/ 51 h 359"/>
              <a:gd name="T74" fmla="*/ 193 w 303"/>
              <a:gd name="T75" fmla="*/ 65 h 359"/>
              <a:gd name="T76" fmla="*/ 206 w 303"/>
              <a:gd name="T77" fmla="*/ 84 h 359"/>
              <a:gd name="T78" fmla="*/ 211 w 303"/>
              <a:gd name="T79" fmla="*/ 108 h 359"/>
              <a:gd name="T80" fmla="*/ 88 w 303"/>
              <a:gd name="T81" fmla="*/ 165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03" h="359">
                <a:moveTo>
                  <a:pt x="280" y="165"/>
                </a:moveTo>
                <a:lnTo>
                  <a:pt x="257" y="165"/>
                </a:lnTo>
                <a:lnTo>
                  <a:pt x="257" y="108"/>
                </a:lnTo>
                <a:lnTo>
                  <a:pt x="257" y="108"/>
                </a:lnTo>
                <a:lnTo>
                  <a:pt x="257" y="97"/>
                </a:lnTo>
                <a:lnTo>
                  <a:pt x="255" y="86"/>
                </a:lnTo>
                <a:lnTo>
                  <a:pt x="252" y="76"/>
                </a:lnTo>
                <a:lnTo>
                  <a:pt x="248" y="66"/>
                </a:lnTo>
                <a:lnTo>
                  <a:pt x="244" y="56"/>
                </a:lnTo>
                <a:lnTo>
                  <a:pt x="238" y="48"/>
                </a:lnTo>
                <a:lnTo>
                  <a:pt x="233" y="40"/>
                </a:lnTo>
                <a:lnTo>
                  <a:pt x="225" y="33"/>
                </a:lnTo>
                <a:lnTo>
                  <a:pt x="218" y="25"/>
                </a:lnTo>
                <a:lnTo>
                  <a:pt x="209" y="19"/>
                </a:lnTo>
                <a:lnTo>
                  <a:pt x="201" y="13"/>
                </a:lnTo>
                <a:lnTo>
                  <a:pt x="191" y="9"/>
                </a:lnTo>
                <a:lnTo>
                  <a:pt x="181" y="6"/>
                </a:lnTo>
                <a:lnTo>
                  <a:pt x="171" y="3"/>
                </a:lnTo>
                <a:lnTo>
                  <a:pt x="161" y="2"/>
                </a:lnTo>
                <a:lnTo>
                  <a:pt x="150" y="0"/>
                </a:lnTo>
                <a:lnTo>
                  <a:pt x="150" y="0"/>
                </a:lnTo>
                <a:lnTo>
                  <a:pt x="139" y="2"/>
                </a:lnTo>
                <a:lnTo>
                  <a:pt x="128" y="3"/>
                </a:lnTo>
                <a:lnTo>
                  <a:pt x="118" y="6"/>
                </a:lnTo>
                <a:lnTo>
                  <a:pt x="108" y="9"/>
                </a:lnTo>
                <a:lnTo>
                  <a:pt x="98" y="13"/>
                </a:lnTo>
                <a:lnTo>
                  <a:pt x="90" y="19"/>
                </a:lnTo>
                <a:lnTo>
                  <a:pt x="82" y="25"/>
                </a:lnTo>
                <a:lnTo>
                  <a:pt x="74" y="33"/>
                </a:lnTo>
                <a:lnTo>
                  <a:pt x="67" y="40"/>
                </a:lnTo>
                <a:lnTo>
                  <a:pt x="60" y="48"/>
                </a:lnTo>
                <a:lnTo>
                  <a:pt x="55" y="56"/>
                </a:lnTo>
                <a:lnTo>
                  <a:pt x="51" y="66"/>
                </a:lnTo>
                <a:lnTo>
                  <a:pt x="48" y="76"/>
                </a:lnTo>
                <a:lnTo>
                  <a:pt x="44" y="86"/>
                </a:lnTo>
                <a:lnTo>
                  <a:pt x="43" y="97"/>
                </a:lnTo>
                <a:lnTo>
                  <a:pt x="42" y="108"/>
                </a:lnTo>
                <a:lnTo>
                  <a:pt x="42" y="165"/>
                </a:lnTo>
                <a:lnTo>
                  <a:pt x="0" y="165"/>
                </a:lnTo>
                <a:lnTo>
                  <a:pt x="0" y="337"/>
                </a:lnTo>
                <a:lnTo>
                  <a:pt x="0" y="337"/>
                </a:lnTo>
                <a:lnTo>
                  <a:pt x="1" y="341"/>
                </a:lnTo>
                <a:lnTo>
                  <a:pt x="2" y="345"/>
                </a:lnTo>
                <a:lnTo>
                  <a:pt x="4" y="350"/>
                </a:lnTo>
                <a:lnTo>
                  <a:pt x="8" y="353"/>
                </a:lnTo>
                <a:lnTo>
                  <a:pt x="11" y="355"/>
                </a:lnTo>
                <a:lnTo>
                  <a:pt x="14" y="357"/>
                </a:lnTo>
                <a:lnTo>
                  <a:pt x="18" y="359"/>
                </a:lnTo>
                <a:lnTo>
                  <a:pt x="24" y="359"/>
                </a:lnTo>
                <a:lnTo>
                  <a:pt x="303" y="359"/>
                </a:lnTo>
                <a:lnTo>
                  <a:pt x="303" y="187"/>
                </a:lnTo>
                <a:lnTo>
                  <a:pt x="303" y="187"/>
                </a:lnTo>
                <a:lnTo>
                  <a:pt x="302" y="183"/>
                </a:lnTo>
                <a:lnTo>
                  <a:pt x="301" y="179"/>
                </a:lnTo>
                <a:lnTo>
                  <a:pt x="299" y="175"/>
                </a:lnTo>
                <a:lnTo>
                  <a:pt x="297" y="171"/>
                </a:lnTo>
                <a:lnTo>
                  <a:pt x="292" y="169"/>
                </a:lnTo>
                <a:lnTo>
                  <a:pt x="289" y="167"/>
                </a:lnTo>
                <a:lnTo>
                  <a:pt x="285" y="165"/>
                </a:lnTo>
                <a:lnTo>
                  <a:pt x="280" y="165"/>
                </a:lnTo>
                <a:lnTo>
                  <a:pt x="280" y="165"/>
                </a:lnTo>
                <a:close/>
                <a:moveTo>
                  <a:pt x="88" y="108"/>
                </a:moveTo>
                <a:lnTo>
                  <a:pt x="88" y="108"/>
                </a:lnTo>
                <a:lnTo>
                  <a:pt x="90" y="95"/>
                </a:lnTo>
                <a:lnTo>
                  <a:pt x="93" y="84"/>
                </a:lnTo>
                <a:lnTo>
                  <a:pt x="99" y="74"/>
                </a:lnTo>
                <a:lnTo>
                  <a:pt x="107" y="65"/>
                </a:lnTo>
                <a:lnTo>
                  <a:pt x="115" y="57"/>
                </a:lnTo>
                <a:lnTo>
                  <a:pt x="126" y="51"/>
                </a:lnTo>
                <a:lnTo>
                  <a:pt x="137" y="48"/>
                </a:lnTo>
                <a:lnTo>
                  <a:pt x="150" y="47"/>
                </a:lnTo>
                <a:lnTo>
                  <a:pt x="150" y="47"/>
                </a:lnTo>
                <a:lnTo>
                  <a:pt x="162" y="48"/>
                </a:lnTo>
                <a:lnTo>
                  <a:pt x="174" y="51"/>
                </a:lnTo>
                <a:lnTo>
                  <a:pt x="184" y="57"/>
                </a:lnTo>
                <a:lnTo>
                  <a:pt x="193" y="65"/>
                </a:lnTo>
                <a:lnTo>
                  <a:pt x="201" y="74"/>
                </a:lnTo>
                <a:lnTo>
                  <a:pt x="206" y="84"/>
                </a:lnTo>
                <a:lnTo>
                  <a:pt x="209" y="95"/>
                </a:lnTo>
                <a:lnTo>
                  <a:pt x="211" y="108"/>
                </a:lnTo>
                <a:lnTo>
                  <a:pt x="211" y="165"/>
                </a:lnTo>
                <a:lnTo>
                  <a:pt x="88" y="165"/>
                </a:lnTo>
                <a:lnTo>
                  <a:pt x="88" y="1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32" name="Group 422"/>
          <p:cNvGrpSpPr>
            <a:grpSpLocks noChangeAspect="1"/>
          </p:cNvGrpSpPr>
          <p:nvPr/>
        </p:nvGrpSpPr>
        <p:grpSpPr bwMode="auto">
          <a:xfrm>
            <a:off x="3985549" y="4437714"/>
            <a:ext cx="672176" cy="769748"/>
            <a:chOff x="5326" y="548"/>
            <a:chExt cx="186" cy="213"/>
          </a:xfrm>
          <a:solidFill>
            <a:schemeClr val="bg1"/>
          </a:solidFill>
        </p:grpSpPr>
        <p:sp>
          <p:nvSpPr>
            <p:cNvPr id="33" name="Freeform 423"/>
            <p:cNvSpPr>
              <a:spLocks noEditPoints="1"/>
            </p:cNvSpPr>
            <p:nvPr/>
          </p:nvSpPr>
          <p:spPr bwMode="auto">
            <a:xfrm>
              <a:off x="5426" y="548"/>
              <a:ext cx="86" cy="153"/>
            </a:xfrm>
            <a:custGeom>
              <a:avLst/>
              <a:gdLst>
                <a:gd name="T0" fmla="*/ 85 w 172"/>
                <a:gd name="T1" fmla="*/ 94 h 306"/>
                <a:gd name="T2" fmla="*/ 106 w 172"/>
                <a:gd name="T3" fmla="*/ 91 h 306"/>
                <a:gd name="T4" fmla="*/ 120 w 172"/>
                <a:gd name="T5" fmla="*/ 84 h 306"/>
                <a:gd name="T6" fmla="*/ 128 w 172"/>
                <a:gd name="T7" fmla="*/ 69 h 306"/>
                <a:gd name="T8" fmla="*/ 131 w 172"/>
                <a:gd name="T9" fmla="*/ 47 h 306"/>
                <a:gd name="T10" fmla="*/ 129 w 172"/>
                <a:gd name="T11" fmla="*/ 35 h 306"/>
                <a:gd name="T12" fmla="*/ 125 w 172"/>
                <a:gd name="T13" fmla="*/ 17 h 306"/>
                <a:gd name="T14" fmla="*/ 114 w 172"/>
                <a:gd name="T15" fmla="*/ 6 h 306"/>
                <a:gd name="T16" fmla="*/ 97 w 172"/>
                <a:gd name="T17" fmla="*/ 0 h 306"/>
                <a:gd name="T18" fmla="*/ 85 w 172"/>
                <a:gd name="T19" fmla="*/ 0 h 306"/>
                <a:gd name="T20" fmla="*/ 65 w 172"/>
                <a:gd name="T21" fmla="*/ 2 h 306"/>
                <a:gd name="T22" fmla="*/ 51 w 172"/>
                <a:gd name="T23" fmla="*/ 10 h 306"/>
                <a:gd name="T24" fmla="*/ 43 w 172"/>
                <a:gd name="T25" fmla="*/ 25 h 306"/>
                <a:gd name="T26" fmla="*/ 41 w 172"/>
                <a:gd name="T27" fmla="*/ 47 h 306"/>
                <a:gd name="T28" fmla="*/ 41 w 172"/>
                <a:gd name="T29" fmla="*/ 59 h 306"/>
                <a:gd name="T30" fmla="*/ 46 w 172"/>
                <a:gd name="T31" fmla="*/ 76 h 306"/>
                <a:gd name="T32" fmla="*/ 57 w 172"/>
                <a:gd name="T33" fmla="*/ 88 h 306"/>
                <a:gd name="T34" fmla="*/ 74 w 172"/>
                <a:gd name="T35" fmla="*/ 93 h 306"/>
                <a:gd name="T36" fmla="*/ 85 w 172"/>
                <a:gd name="T37" fmla="*/ 94 h 306"/>
                <a:gd name="T38" fmla="*/ 36 w 172"/>
                <a:gd name="T39" fmla="*/ 108 h 306"/>
                <a:gd name="T40" fmla="*/ 28 w 172"/>
                <a:gd name="T41" fmla="*/ 108 h 306"/>
                <a:gd name="T42" fmla="*/ 14 w 172"/>
                <a:gd name="T43" fmla="*/ 113 h 306"/>
                <a:gd name="T44" fmla="*/ 5 w 172"/>
                <a:gd name="T45" fmla="*/ 122 h 306"/>
                <a:gd name="T46" fmla="*/ 0 w 172"/>
                <a:gd name="T47" fmla="*/ 138 h 306"/>
                <a:gd name="T48" fmla="*/ 0 w 172"/>
                <a:gd name="T49" fmla="*/ 173 h 306"/>
                <a:gd name="T50" fmla="*/ 28 w 172"/>
                <a:gd name="T51" fmla="*/ 156 h 306"/>
                <a:gd name="T52" fmla="*/ 29 w 172"/>
                <a:gd name="T53" fmla="*/ 154 h 306"/>
                <a:gd name="T54" fmla="*/ 32 w 172"/>
                <a:gd name="T55" fmla="*/ 153 h 306"/>
                <a:gd name="T56" fmla="*/ 36 w 172"/>
                <a:gd name="T57" fmla="*/ 156 h 306"/>
                <a:gd name="T58" fmla="*/ 133 w 172"/>
                <a:gd name="T59" fmla="*/ 306 h 306"/>
                <a:gd name="T60" fmla="*/ 135 w 172"/>
                <a:gd name="T61" fmla="*/ 281 h 306"/>
                <a:gd name="T62" fmla="*/ 136 w 172"/>
                <a:gd name="T63" fmla="*/ 265 h 306"/>
                <a:gd name="T64" fmla="*/ 136 w 172"/>
                <a:gd name="T65" fmla="*/ 156 h 306"/>
                <a:gd name="T66" fmla="*/ 139 w 172"/>
                <a:gd name="T67" fmla="*/ 153 h 306"/>
                <a:gd name="T68" fmla="*/ 142 w 172"/>
                <a:gd name="T69" fmla="*/ 154 h 306"/>
                <a:gd name="T70" fmla="*/ 142 w 172"/>
                <a:gd name="T71" fmla="*/ 258 h 306"/>
                <a:gd name="T72" fmla="*/ 143 w 172"/>
                <a:gd name="T73" fmla="*/ 260 h 306"/>
                <a:gd name="T74" fmla="*/ 145 w 172"/>
                <a:gd name="T75" fmla="*/ 266 h 306"/>
                <a:gd name="T76" fmla="*/ 152 w 172"/>
                <a:gd name="T77" fmla="*/ 272 h 306"/>
                <a:gd name="T78" fmla="*/ 158 w 172"/>
                <a:gd name="T79" fmla="*/ 272 h 306"/>
                <a:gd name="T80" fmla="*/ 167 w 172"/>
                <a:gd name="T81" fmla="*/ 269 h 306"/>
                <a:gd name="T82" fmla="*/ 172 w 172"/>
                <a:gd name="T83" fmla="*/ 258 h 306"/>
                <a:gd name="T84" fmla="*/ 172 w 172"/>
                <a:gd name="T85" fmla="*/ 146 h 306"/>
                <a:gd name="T86" fmla="*/ 169 w 172"/>
                <a:gd name="T87" fmla="*/ 129 h 306"/>
                <a:gd name="T88" fmla="*/ 162 w 172"/>
                <a:gd name="T89" fmla="*/ 117 h 306"/>
                <a:gd name="T90" fmla="*/ 151 w 172"/>
                <a:gd name="T91" fmla="*/ 111 h 306"/>
                <a:gd name="T92" fmla="*/ 136 w 172"/>
                <a:gd name="T93" fmla="*/ 108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2" h="306">
                  <a:moveTo>
                    <a:pt x="85" y="94"/>
                  </a:moveTo>
                  <a:lnTo>
                    <a:pt x="85" y="94"/>
                  </a:lnTo>
                  <a:lnTo>
                    <a:pt x="97" y="93"/>
                  </a:lnTo>
                  <a:lnTo>
                    <a:pt x="106" y="91"/>
                  </a:lnTo>
                  <a:lnTo>
                    <a:pt x="114" y="88"/>
                  </a:lnTo>
                  <a:lnTo>
                    <a:pt x="120" y="84"/>
                  </a:lnTo>
                  <a:lnTo>
                    <a:pt x="125" y="76"/>
                  </a:lnTo>
                  <a:lnTo>
                    <a:pt x="128" y="69"/>
                  </a:lnTo>
                  <a:lnTo>
                    <a:pt x="129" y="59"/>
                  </a:lnTo>
                  <a:lnTo>
                    <a:pt x="131" y="47"/>
                  </a:lnTo>
                  <a:lnTo>
                    <a:pt x="131" y="47"/>
                  </a:lnTo>
                  <a:lnTo>
                    <a:pt x="129" y="35"/>
                  </a:lnTo>
                  <a:lnTo>
                    <a:pt x="128" y="25"/>
                  </a:lnTo>
                  <a:lnTo>
                    <a:pt x="125" y="17"/>
                  </a:lnTo>
                  <a:lnTo>
                    <a:pt x="120" y="10"/>
                  </a:lnTo>
                  <a:lnTo>
                    <a:pt x="114" y="6"/>
                  </a:lnTo>
                  <a:lnTo>
                    <a:pt x="106" y="2"/>
                  </a:lnTo>
                  <a:lnTo>
                    <a:pt x="97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65" y="2"/>
                  </a:lnTo>
                  <a:lnTo>
                    <a:pt x="57" y="6"/>
                  </a:lnTo>
                  <a:lnTo>
                    <a:pt x="51" y="10"/>
                  </a:lnTo>
                  <a:lnTo>
                    <a:pt x="46" y="17"/>
                  </a:lnTo>
                  <a:lnTo>
                    <a:pt x="43" y="25"/>
                  </a:lnTo>
                  <a:lnTo>
                    <a:pt x="41" y="35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59"/>
                  </a:lnTo>
                  <a:lnTo>
                    <a:pt x="43" y="69"/>
                  </a:lnTo>
                  <a:lnTo>
                    <a:pt x="46" y="76"/>
                  </a:lnTo>
                  <a:lnTo>
                    <a:pt x="51" y="84"/>
                  </a:lnTo>
                  <a:lnTo>
                    <a:pt x="57" y="88"/>
                  </a:lnTo>
                  <a:lnTo>
                    <a:pt x="65" y="91"/>
                  </a:lnTo>
                  <a:lnTo>
                    <a:pt x="74" y="93"/>
                  </a:lnTo>
                  <a:lnTo>
                    <a:pt x="85" y="94"/>
                  </a:lnTo>
                  <a:lnTo>
                    <a:pt x="85" y="94"/>
                  </a:lnTo>
                  <a:close/>
                  <a:moveTo>
                    <a:pt x="136" y="108"/>
                  </a:moveTo>
                  <a:lnTo>
                    <a:pt x="36" y="108"/>
                  </a:lnTo>
                  <a:lnTo>
                    <a:pt x="36" y="108"/>
                  </a:lnTo>
                  <a:lnTo>
                    <a:pt x="28" y="108"/>
                  </a:lnTo>
                  <a:lnTo>
                    <a:pt x="21" y="111"/>
                  </a:lnTo>
                  <a:lnTo>
                    <a:pt x="14" y="113"/>
                  </a:lnTo>
                  <a:lnTo>
                    <a:pt x="10" y="117"/>
                  </a:lnTo>
                  <a:lnTo>
                    <a:pt x="5" y="122"/>
                  </a:lnTo>
                  <a:lnTo>
                    <a:pt x="2" y="129"/>
                  </a:lnTo>
                  <a:lnTo>
                    <a:pt x="0" y="138"/>
                  </a:lnTo>
                  <a:lnTo>
                    <a:pt x="0" y="146"/>
                  </a:lnTo>
                  <a:lnTo>
                    <a:pt x="0" y="173"/>
                  </a:lnTo>
                  <a:lnTo>
                    <a:pt x="28" y="201"/>
                  </a:lnTo>
                  <a:lnTo>
                    <a:pt x="28" y="156"/>
                  </a:lnTo>
                  <a:lnTo>
                    <a:pt x="28" y="156"/>
                  </a:lnTo>
                  <a:lnTo>
                    <a:pt x="29" y="154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5" y="154"/>
                  </a:lnTo>
                  <a:lnTo>
                    <a:pt x="36" y="156"/>
                  </a:lnTo>
                  <a:lnTo>
                    <a:pt x="36" y="209"/>
                  </a:lnTo>
                  <a:lnTo>
                    <a:pt x="133" y="306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6" y="265"/>
                  </a:lnTo>
                  <a:lnTo>
                    <a:pt x="136" y="156"/>
                  </a:lnTo>
                  <a:lnTo>
                    <a:pt x="136" y="156"/>
                  </a:lnTo>
                  <a:lnTo>
                    <a:pt x="137" y="154"/>
                  </a:lnTo>
                  <a:lnTo>
                    <a:pt x="139" y="153"/>
                  </a:lnTo>
                  <a:lnTo>
                    <a:pt x="139" y="153"/>
                  </a:lnTo>
                  <a:lnTo>
                    <a:pt x="142" y="154"/>
                  </a:lnTo>
                  <a:lnTo>
                    <a:pt x="142" y="156"/>
                  </a:lnTo>
                  <a:lnTo>
                    <a:pt x="142" y="258"/>
                  </a:lnTo>
                  <a:lnTo>
                    <a:pt x="142" y="258"/>
                  </a:lnTo>
                  <a:lnTo>
                    <a:pt x="143" y="260"/>
                  </a:lnTo>
                  <a:lnTo>
                    <a:pt x="143" y="260"/>
                  </a:lnTo>
                  <a:lnTo>
                    <a:pt x="145" y="266"/>
                  </a:lnTo>
                  <a:lnTo>
                    <a:pt x="148" y="269"/>
                  </a:lnTo>
                  <a:lnTo>
                    <a:pt x="152" y="272"/>
                  </a:lnTo>
                  <a:lnTo>
                    <a:pt x="158" y="272"/>
                  </a:lnTo>
                  <a:lnTo>
                    <a:pt x="158" y="272"/>
                  </a:lnTo>
                  <a:lnTo>
                    <a:pt x="163" y="271"/>
                  </a:lnTo>
                  <a:lnTo>
                    <a:pt x="167" y="269"/>
                  </a:lnTo>
                  <a:lnTo>
                    <a:pt x="170" y="264"/>
                  </a:lnTo>
                  <a:lnTo>
                    <a:pt x="172" y="258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2" y="138"/>
                  </a:lnTo>
                  <a:lnTo>
                    <a:pt x="169" y="129"/>
                  </a:lnTo>
                  <a:lnTo>
                    <a:pt x="166" y="122"/>
                  </a:lnTo>
                  <a:lnTo>
                    <a:pt x="162" y="117"/>
                  </a:lnTo>
                  <a:lnTo>
                    <a:pt x="158" y="113"/>
                  </a:lnTo>
                  <a:lnTo>
                    <a:pt x="151" y="111"/>
                  </a:lnTo>
                  <a:lnTo>
                    <a:pt x="143" y="108"/>
                  </a:lnTo>
                  <a:lnTo>
                    <a:pt x="136" y="108"/>
                  </a:lnTo>
                  <a:lnTo>
                    <a:pt x="136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" name="Freeform 424"/>
            <p:cNvSpPr>
              <a:spLocks noEditPoints="1"/>
            </p:cNvSpPr>
            <p:nvPr/>
          </p:nvSpPr>
          <p:spPr bwMode="auto">
            <a:xfrm>
              <a:off x="5326" y="580"/>
              <a:ext cx="181" cy="181"/>
            </a:xfrm>
            <a:custGeom>
              <a:avLst/>
              <a:gdLst>
                <a:gd name="T0" fmla="*/ 179 w 362"/>
                <a:gd name="T1" fmla="*/ 112 h 362"/>
                <a:gd name="T2" fmla="*/ 181 w 362"/>
                <a:gd name="T3" fmla="*/ 101 h 362"/>
                <a:gd name="T4" fmla="*/ 180 w 362"/>
                <a:gd name="T5" fmla="*/ 79 h 362"/>
                <a:gd name="T6" fmla="*/ 174 w 362"/>
                <a:gd name="T7" fmla="*/ 56 h 362"/>
                <a:gd name="T8" fmla="*/ 162 w 362"/>
                <a:gd name="T9" fmla="*/ 36 h 362"/>
                <a:gd name="T10" fmla="*/ 155 w 362"/>
                <a:gd name="T11" fmla="*/ 27 h 362"/>
                <a:gd name="T12" fmla="*/ 132 w 362"/>
                <a:gd name="T13" fmla="*/ 11 h 362"/>
                <a:gd name="T14" fmla="*/ 106 w 362"/>
                <a:gd name="T15" fmla="*/ 2 h 362"/>
                <a:gd name="T16" fmla="*/ 79 w 362"/>
                <a:gd name="T17" fmla="*/ 1 h 362"/>
                <a:gd name="T18" fmla="*/ 53 w 362"/>
                <a:gd name="T19" fmla="*/ 8 h 362"/>
                <a:gd name="T20" fmla="*/ 102 w 362"/>
                <a:gd name="T21" fmla="*/ 56 h 362"/>
                <a:gd name="T22" fmla="*/ 110 w 362"/>
                <a:gd name="T23" fmla="*/ 67 h 362"/>
                <a:gd name="T24" fmla="*/ 112 w 362"/>
                <a:gd name="T25" fmla="*/ 80 h 362"/>
                <a:gd name="T26" fmla="*/ 110 w 362"/>
                <a:gd name="T27" fmla="*/ 92 h 362"/>
                <a:gd name="T28" fmla="*/ 102 w 362"/>
                <a:gd name="T29" fmla="*/ 103 h 362"/>
                <a:gd name="T30" fmla="*/ 97 w 362"/>
                <a:gd name="T31" fmla="*/ 107 h 362"/>
                <a:gd name="T32" fmla="*/ 85 w 362"/>
                <a:gd name="T33" fmla="*/ 112 h 362"/>
                <a:gd name="T34" fmla="*/ 72 w 362"/>
                <a:gd name="T35" fmla="*/ 112 h 362"/>
                <a:gd name="T36" fmla="*/ 60 w 362"/>
                <a:gd name="T37" fmla="*/ 107 h 362"/>
                <a:gd name="T38" fmla="*/ 7 w 362"/>
                <a:gd name="T39" fmla="*/ 55 h 362"/>
                <a:gd name="T40" fmla="*/ 3 w 362"/>
                <a:gd name="T41" fmla="*/ 67 h 362"/>
                <a:gd name="T42" fmla="*/ 0 w 362"/>
                <a:gd name="T43" fmla="*/ 94 h 362"/>
                <a:gd name="T44" fmla="*/ 4 w 362"/>
                <a:gd name="T45" fmla="*/ 120 h 362"/>
                <a:gd name="T46" fmla="*/ 17 w 362"/>
                <a:gd name="T47" fmla="*/ 145 h 362"/>
                <a:gd name="T48" fmla="*/ 27 w 362"/>
                <a:gd name="T49" fmla="*/ 155 h 362"/>
                <a:gd name="T50" fmla="*/ 45 w 362"/>
                <a:gd name="T51" fmla="*/ 169 h 362"/>
                <a:gd name="T52" fmla="*/ 66 w 362"/>
                <a:gd name="T53" fmla="*/ 179 h 362"/>
                <a:gd name="T54" fmla="*/ 89 w 362"/>
                <a:gd name="T55" fmla="*/ 182 h 362"/>
                <a:gd name="T56" fmla="*/ 112 w 362"/>
                <a:gd name="T57" fmla="*/ 179 h 362"/>
                <a:gd name="T58" fmla="*/ 282 w 362"/>
                <a:gd name="T59" fmla="*/ 349 h 362"/>
                <a:gd name="T60" fmla="*/ 297 w 362"/>
                <a:gd name="T61" fmla="*/ 359 h 362"/>
                <a:gd name="T62" fmla="*/ 314 w 362"/>
                <a:gd name="T63" fmla="*/ 362 h 362"/>
                <a:gd name="T64" fmla="*/ 324 w 362"/>
                <a:gd name="T65" fmla="*/ 362 h 362"/>
                <a:gd name="T66" fmla="*/ 340 w 362"/>
                <a:gd name="T67" fmla="*/ 355 h 362"/>
                <a:gd name="T68" fmla="*/ 348 w 362"/>
                <a:gd name="T69" fmla="*/ 349 h 362"/>
                <a:gd name="T70" fmla="*/ 359 w 362"/>
                <a:gd name="T71" fmla="*/ 333 h 362"/>
                <a:gd name="T72" fmla="*/ 362 w 362"/>
                <a:gd name="T73" fmla="*/ 316 h 362"/>
                <a:gd name="T74" fmla="*/ 359 w 362"/>
                <a:gd name="T75" fmla="*/ 298 h 362"/>
                <a:gd name="T76" fmla="*/ 348 w 362"/>
                <a:gd name="T77" fmla="*/ 283 h 362"/>
                <a:gd name="T78" fmla="*/ 329 w 362"/>
                <a:gd name="T79" fmla="*/ 330 h 362"/>
                <a:gd name="T80" fmla="*/ 326 w 362"/>
                <a:gd name="T81" fmla="*/ 333 h 362"/>
                <a:gd name="T82" fmla="*/ 319 w 362"/>
                <a:gd name="T83" fmla="*/ 336 h 362"/>
                <a:gd name="T84" fmla="*/ 311 w 362"/>
                <a:gd name="T85" fmla="*/ 336 h 362"/>
                <a:gd name="T86" fmla="*/ 304 w 362"/>
                <a:gd name="T87" fmla="*/ 333 h 362"/>
                <a:gd name="T88" fmla="*/ 300 w 362"/>
                <a:gd name="T89" fmla="*/ 330 h 362"/>
                <a:gd name="T90" fmla="*/ 296 w 362"/>
                <a:gd name="T91" fmla="*/ 324 h 362"/>
                <a:gd name="T92" fmla="*/ 294 w 362"/>
                <a:gd name="T93" fmla="*/ 316 h 362"/>
                <a:gd name="T94" fmla="*/ 296 w 362"/>
                <a:gd name="T95" fmla="*/ 308 h 362"/>
                <a:gd name="T96" fmla="*/ 300 w 362"/>
                <a:gd name="T97" fmla="*/ 301 h 362"/>
                <a:gd name="T98" fmla="*/ 304 w 362"/>
                <a:gd name="T99" fmla="*/ 299 h 362"/>
                <a:gd name="T100" fmla="*/ 311 w 362"/>
                <a:gd name="T101" fmla="*/ 296 h 362"/>
                <a:gd name="T102" fmla="*/ 319 w 362"/>
                <a:gd name="T103" fmla="*/ 296 h 362"/>
                <a:gd name="T104" fmla="*/ 326 w 362"/>
                <a:gd name="T105" fmla="*/ 299 h 362"/>
                <a:gd name="T106" fmla="*/ 329 w 362"/>
                <a:gd name="T107" fmla="*/ 301 h 362"/>
                <a:gd name="T108" fmla="*/ 334 w 362"/>
                <a:gd name="T109" fmla="*/ 308 h 362"/>
                <a:gd name="T110" fmla="*/ 336 w 362"/>
                <a:gd name="T111" fmla="*/ 316 h 362"/>
                <a:gd name="T112" fmla="*/ 334 w 362"/>
                <a:gd name="T113" fmla="*/ 324 h 362"/>
                <a:gd name="T114" fmla="*/ 329 w 362"/>
                <a:gd name="T115" fmla="*/ 33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2" h="362">
                  <a:moveTo>
                    <a:pt x="348" y="283"/>
                  </a:moveTo>
                  <a:lnTo>
                    <a:pt x="179" y="112"/>
                  </a:lnTo>
                  <a:lnTo>
                    <a:pt x="179" y="112"/>
                  </a:lnTo>
                  <a:lnTo>
                    <a:pt x="181" y="101"/>
                  </a:lnTo>
                  <a:lnTo>
                    <a:pt x="181" y="90"/>
                  </a:lnTo>
                  <a:lnTo>
                    <a:pt x="180" y="79"/>
                  </a:lnTo>
                  <a:lnTo>
                    <a:pt x="177" y="67"/>
                  </a:lnTo>
                  <a:lnTo>
                    <a:pt x="174" y="56"/>
                  </a:lnTo>
                  <a:lnTo>
                    <a:pt x="169" y="47"/>
                  </a:lnTo>
                  <a:lnTo>
                    <a:pt x="162" y="36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44" y="17"/>
                  </a:lnTo>
                  <a:lnTo>
                    <a:pt x="132" y="11"/>
                  </a:lnTo>
                  <a:lnTo>
                    <a:pt x="119" y="6"/>
                  </a:lnTo>
                  <a:lnTo>
                    <a:pt x="106" y="2"/>
                  </a:lnTo>
                  <a:lnTo>
                    <a:pt x="93" y="0"/>
                  </a:lnTo>
                  <a:lnTo>
                    <a:pt x="79" y="1"/>
                  </a:lnTo>
                  <a:lnTo>
                    <a:pt x="66" y="3"/>
                  </a:lnTo>
                  <a:lnTo>
                    <a:pt x="53" y="8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6" y="62"/>
                  </a:lnTo>
                  <a:lnTo>
                    <a:pt x="110" y="67"/>
                  </a:lnTo>
                  <a:lnTo>
                    <a:pt x="111" y="73"/>
                  </a:lnTo>
                  <a:lnTo>
                    <a:pt x="112" y="80"/>
                  </a:lnTo>
                  <a:lnTo>
                    <a:pt x="111" y="85"/>
                  </a:lnTo>
                  <a:lnTo>
                    <a:pt x="110" y="92"/>
                  </a:lnTo>
                  <a:lnTo>
                    <a:pt x="106" y="97"/>
                  </a:lnTo>
                  <a:lnTo>
                    <a:pt x="102" y="103"/>
                  </a:lnTo>
                  <a:lnTo>
                    <a:pt x="102" y="103"/>
                  </a:lnTo>
                  <a:lnTo>
                    <a:pt x="97" y="107"/>
                  </a:lnTo>
                  <a:lnTo>
                    <a:pt x="91" y="110"/>
                  </a:lnTo>
                  <a:lnTo>
                    <a:pt x="85" y="112"/>
                  </a:lnTo>
                  <a:lnTo>
                    <a:pt x="78" y="112"/>
                  </a:lnTo>
                  <a:lnTo>
                    <a:pt x="72" y="112"/>
                  </a:lnTo>
                  <a:lnTo>
                    <a:pt x="66" y="110"/>
                  </a:lnTo>
                  <a:lnTo>
                    <a:pt x="60" y="107"/>
                  </a:lnTo>
                  <a:lnTo>
                    <a:pt x="56" y="103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3" y="67"/>
                  </a:lnTo>
                  <a:lnTo>
                    <a:pt x="1" y="81"/>
                  </a:lnTo>
                  <a:lnTo>
                    <a:pt x="0" y="94"/>
                  </a:lnTo>
                  <a:lnTo>
                    <a:pt x="1" y="107"/>
                  </a:lnTo>
                  <a:lnTo>
                    <a:pt x="4" y="120"/>
                  </a:lnTo>
                  <a:lnTo>
                    <a:pt x="9" y="133"/>
                  </a:lnTo>
                  <a:lnTo>
                    <a:pt x="17" y="14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35" y="163"/>
                  </a:lnTo>
                  <a:lnTo>
                    <a:pt x="45" y="169"/>
                  </a:lnTo>
                  <a:lnTo>
                    <a:pt x="56" y="175"/>
                  </a:lnTo>
                  <a:lnTo>
                    <a:pt x="66" y="179"/>
                  </a:lnTo>
                  <a:lnTo>
                    <a:pt x="77" y="181"/>
                  </a:lnTo>
                  <a:lnTo>
                    <a:pt x="89" y="182"/>
                  </a:lnTo>
                  <a:lnTo>
                    <a:pt x="101" y="181"/>
                  </a:lnTo>
                  <a:lnTo>
                    <a:pt x="112" y="179"/>
                  </a:lnTo>
                  <a:lnTo>
                    <a:pt x="282" y="349"/>
                  </a:lnTo>
                  <a:lnTo>
                    <a:pt x="282" y="349"/>
                  </a:lnTo>
                  <a:lnTo>
                    <a:pt x="289" y="355"/>
                  </a:lnTo>
                  <a:lnTo>
                    <a:pt x="297" y="359"/>
                  </a:lnTo>
                  <a:lnTo>
                    <a:pt x="306" y="362"/>
                  </a:lnTo>
                  <a:lnTo>
                    <a:pt x="314" y="362"/>
                  </a:lnTo>
                  <a:lnTo>
                    <a:pt x="314" y="362"/>
                  </a:lnTo>
                  <a:lnTo>
                    <a:pt x="324" y="362"/>
                  </a:lnTo>
                  <a:lnTo>
                    <a:pt x="333" y="359"/>
                  </a:lnTo>
                  <a:lnTo>
                    <a:pt x="340" y="355"/>
                  </a:lnTo>
                  <a:lnTo>
                    <a:pt x="348" y="349"/>
                  </a:lnTo>
                  <a:lnTo>
                    <a:pt x="348" y="349"/>
                  </a:lnTo>
                  <a:lnTo>
                    <a:pt x="354" y="342"/>
                  </a:lnTo>
                  <a:lnTo>
                    <a:pt x="359" y="333"/>
                  </a:lnTo>
                  <a:lnTo>
                    <a:pt x="361" y="325"/>
                  </a:lnTo>
                  <a:lnTo>
                    <a:pt x="362" y="316"/>
                  </a:lnTo>
                  <a:lnTo>
                    <a:pt x="361" y="306"/>
                  </a:lnTo>
                  <a:lnTo>
                    <a:pt x="359" y="298"/>
                  </a:lnTo>
                  <a:lnTo>
                    <a:pt x="354" y="290"/>
                  </a:lnTo>
                  <a:lnTo>
                    <a:pt x="348" y="283"/>
                  </a:lnTo>
                  <a:lnTo>
                    <a:pt x="348" y="283"/>
                  </a:lnTo>
                  <a:close/>
                  <a:moveTo>
                    <a:pt x="329" y="330"/>
                  </a:moveTo>
                  <a:lnTo>
                    <a:pt x="329" y="330"/>
                  </a:lnTo>
                  <a:lnTo>
                    <a:pt x="326" y="333"/>
                  </a:lnTo>
                  <a:lnTo>
                    <a:pt x="323" y="334"/>
                  </a:lnTo>
                  <a:lnTo>
                    <a:pt x="319" y="336"/>
                  </a:lnTo>
                  <a:lnTo>
                    <a:pt x="314" y="336"/>
                  </a:lnTo>
                  <a:lnTo>
                    <a:pt x="311" y="336"/>
                  </a:lnTo>
                  <a:lnTo>
                    <a:pt x="307" y="334"/>
                  </a:lnTo>
                  <a:lnTo>
                    <a:pt x="304" y="333"/>
                  </a:lnTo>
                  <a:lnTo>
                    <a:pt x="300" y="330"/>
                  </a:lnTo>
                  <a:lnTo>
                    <a:pt x="300" y="330"/>
                  </a:lnTo>
                  <a:lnTo>
                    <a:pt x="297" y="327"/>
                  </a:lnTo>
                  <a:lnTo>
                    <a:pt x="296" y="324"/>
                  </a:lnTo>
                  <a:lnTo>
                    <a:pt x="295" y="319"/>
                  </a:lnTo>
                  <a:lnTo>
                    <a:pt x="294" y="316"/>
                  </a:lnTo>
                  <a:lnTo>
                    <a:pt x="295" y="312"/>
                  </a:lnTo>
                  <a:lnTo>
                    <a:pt x="296" y="308"/>
                  </a:lnTo>
                  <a:lnTo>
                    <a:pt x="297" y="304"/>
                  </a:lnTo>
                  <a:lnTo>
                    <a:pt x="300" y="301"/>
                  </a:lnTo>
                  <a:lnTo>
                    <a:pt x="300" y="301"/>
                  </a:lnTo>
                  <a:lnTo>
                    <a:pt x="304" y="299"/>
                  </a:lnTo>
                  <a:lnTo>
                    <a:pt x="307" y="297"/>
                  </a:lnTo>
                  <a:lnTo>
                    <a:pt x="311" y="296"/>
                  </a:lnTo>
                  <a:lnTo>
                    <a:pt x="314" y="296"/>
                  </a:lnTo>
                  <a:lnTo>
                    <a:pt x="319" y="296"/>
                  </a:lnTo>
                  <a:lnTo>
                    <a:pt x="323" y="297"/>
                  </a:lnTo>
                  <a:lnTo>
                    <a:pt x="326" y="299"/>
                  </a:lnTo>
                  <a:lnTo>
                    <a:pt x="329" y="301"/>
                  </a:lnTo>
                  <a:lnTo>
                    <a:pt x="329" y="301"/>
                  </a:lnTo>
                  <a:lnTo>
                    <a:pt x="332" y="304"/>
                  </a:lnTo>
                  <a:lnTo>
                    <a:pt x="334" y="308"/>
                  </a:lnTo>
                  <a:lnTo>
                    <a:pt x="335" y="312"/>
                  </a:lnTo>
                  <a:lnTo>
                    <a:pt x="336" y="316"/>
                  </a:lnTo>
                  <a:lnTo>
                    <a:pt x="335" y="319"/>
                  </a:lnTo>
                  <a:lnTo>
                    <a:pt x="334" y="324"/>
                  </a:lnTo>
                  <a:lnTo>
                    <a:pt x="332" y="327"/>
                  </a:lnTo>
                  <a:lnTo>
                    <a:pt x="329" y="330"/>
                  </a:lnTo>
                  <a:lnTo>
                    <a:pt x="329" y="3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1927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designed from the ground up...</a:t>
            </a:r>
            <a:endParaRPr lang="hi-IN" dirty="0"/>
          </a:p>
        </p:txBody>
      </p:sp>
      <p:grpSp>
        <p:nvGrpSpPr>
          <p:cNvPr id="24" name="Group 23"/>
          <p:cNvGrpSpPr/>
          <p:nvPr/>
        </p:nvGrpSpPr>
        <p:grpSpPr>
          <a:xfrm>
            <a:off x="2743313" y="2906992"/>
            <a:ext cx="301080" cy="306817"/>
            <a:chOff x="8507565" y="3550873"/>
            <a:chExt cx="301080" cy="371330"/>
          </a:xfrm>
          <a:solidFill>
            <a:schemeClr val="bg2">
              <a:lumMod val="90000"/>
            </a:schemeClr>
          </a:solidFill>
        </p:grpSpPr>
        <p:sp>
          <p:nvSpPr>
            <p:cNvPr id="25" name="Round Diagonal Corner Rectangle 24"/>
            <p:cNvSpPr/>
            <p:nvPr/>
          </p:nvSpPr>
          <p:spPr>
            <a:xfrm rot="5400000">
              <a:off x="8546342" y="3589268"/>
              <a:ext cx="223525" cy="146735"/>
            </a:xfrm>
            <a:prstGeom prst="round2DiagRect">
              <a:avLst>
                <a:gd name="adj1" fmla="val 23013"/>
                <a:gd name="adj2" fmla="val 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26" name="Freeform 112"/>
            <p:cNvSpPr>
              <a:spLocks/>
            </p:cNvSpPr>
            <p:nvPr/>
          </p:nvSpPr>
          <p:spPr bwMode="auto">
            <a:xfrm rot="16200000">
              <a:off x="8530051" y="3643610"/>
              <a:ext cx="256107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2743313" y="4064495"/>
            <a:ext cx="301080" cy="306817"/>
            <a:chOff x="8507565" y="3550873"/>
            <a:chExt cx="301080" cy="371330"/>
          </a:xfrm>
          <a:solidFill>
            <a:schemeClr val="bg2">
              <a:lumMod val="90000"/>
            </a:schemeClr>
          </a:solidFill>
        </p:grpSpPr>
        <p:sp>
          <p:nvSpPr>
            <p:cNvPr id="28" name="Round Diagonal Corner Rectangle 27"/>
            <p:cNvSpPr/>
            <p:nvPr/>
          </p:nvSpPr>
          <p:spPr>
            <a:xfrm rot="5400000">
              <a:off x="8546342" y="3589268"/>
              <a:ext cx="223525" cy="146735"/>
            </a:xfrm>
            <a:prstGeom prst="round2DiagRect">
              <a:avLst>
                <a:gd name="adj1" fmla="val 23013"/>
                <a:gd name="adj2" fmla="val 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29" name="Freeform 112"/>
            <p:cNvSpPr>
              <a:spLocks/>
            </p:cNvSpPr>
            <p:nvPr/>
          </p:nvSpPr>
          <p:spPr bwMode="auto">
            <a:xfrm rot="16200000">
              <a:off x="8530051" y="3643610"/>
              <a:ext cx="256107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  <p:sp>
        <p:nvSpPr>
          <p:cNvPr id="30" name="Round Diagonal Corner Rectangle 29"/>
          <p:cNvSpPr/>
          <p:nvPr/>
        </p:nvSpPr>
        <p:spPr>
          <a:xfrm flipH="1">
            <a:off x="921325" y="4442921"/>
            <a:ext cx="3879276" cy="782965"/>
          </a:xfrm>
          <a:prstGeom prst="round2Diag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1440" rIns="99568" bIns="91440" numCol="1" spcCol="1270" anchor="t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 smtClean="0">
                <a:solidFill>
                  <a:srgbClr val="0096D6"/>
                </a:solidFill>
              </a:rPr>
              <a:t>Platform</a:t>
            </a:r>
            <a:endParaRPr lang="en-US" sz="1400" b="1" dirty="0">
              <a:solidFill>
                <a:srgbClr val="0096D6"/>
              </a:solidFill>
            </a:endParaRPr>
          </a:p>
        </p:txBody>
      </p:sp>
      <p:sp>
        <p:nvSpPr>
          <p:cNvPr id="31" name="Round Diagonal Corner Rectangle 30"/>
          <p:cNvSpPr/>
          <p:nvPr/>
        </p:nvSpPr>
        <p:spPr>
          <a:xfrm flipH="1">
            <a:off x="977903" y="4799306"/>
            <a:ext cx="1854324" cy="355072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Hardware</a:t>
            </a:r>
            <a:endParaRPr lang="en-US" sz="14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2" name="Round Diagonal Corner Rectangle 31"/>
          <p:cNvSpPr/>
          <p:nvPr/>
        </p:nvSpPr>
        <p:spPr>
          <a:xfrm flipH="1">
            <a:off x="2883274" y="4799306"/>
            <a:ext cx="1854324" cy="355072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Firmware</a:t>
            </a:r>
            <a:endParaRPr lang="en-US" sz="14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3" name="Round Diagonal Corner Rectangle 32"/>
          <p:cNvSpPr/>
          <p:nvPr/>
        </p:nvSpPr>
        <p:spPr>
          <a:xfrm flipH="1">
            <a:off x="921325" y="3301525"/>
            <a:ext cx="3879276" cy="782965"/>
          </a:xfrm>
          <a:prstGeom prst="round2Diag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1440" rIns="99568" bIns="91440" numCol="1" spcCol="1270" anchor="t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 smtClean="0">
                <a:solidFill>
                  <a:srgbClr val="0096D6"/>
                </a:solidFill>
              </a:rPr>
              <a:t>Middleware</a:t>
            </a:r>
            <a:endParaRPr lang="en-US" sz="1400" b="1" dirty="0">
              <a:solidFill>
                <a:srgbClr val="0096D6"/>
              </a:solidFill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 flipH="1">
            <a:off x="977903" y="3673223"/>
            <a:ext cx="1854324" cy="354966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System software</a:t>
            </a:r>
            <a:endParaRPr lang="en-US" sz="14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5" name="Round Diagonal Corner Rectangle 34"/>
          <p:cNvSpPr/>
          <p:nvPr/>
        </p:nvSpPr>
        <p:spPr>
          <a:xfrm flipH="1">
            <a:off x="2883274" y="3673223"/>
            <a:ext cx="1854324" cy="354966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OS</a:t>
            </a:r>
            <a:endParaRPr lang="en-US" sz="14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6" name="Round Diagonal Corner Rectangle 35"/>
          <p:cNvSpPr/>
          <p:nvPr/>
        </p:nvSpPr>
        <p:spPr>
          <a:xfrm flipH="1">
            <a:off x="921325" y="2162175"/>
            <a:ext cx="3879276" cy="782965"/>
          </a:xfrm>
          <a:prstGeom prst="round2Diag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1440" rIns="99568" bIns="91440" numCol="1" spcCol="1270" anchor="t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 smtClean="0">
                <a:solidFill>
                  <a:srgbClr val="0096D6"/>
                </a:solidFill>
              </a:rPr>
              <a:t>Workload</a:t>
            </a:r>
            <a:endParaRPr lang="en-US" sz="1400" b="1" dirty="0">
              <a:solidFill>
                <a:srgbClr val="0096D6"/>
              </a:solidFill>
            </a:endParaRPr>
          </a:p>
        </p:txBody>
      </p:sp>
      <p:sp>
        <p:nvSpPr>
          <p:cNvPr id="37" name="Round Diagonal Corner Rectangle 36"/>
          <p:cNvSpPr/>
          <p:nvPr/>
        </p:nvSpPr>
        <p:spPr>
          <a:xfrm flipH="1">
            <a:off x="977903" y="2533873"/>
            <a:ext cx="1854324" cy="354966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Application</a:t>
            </a:r>
            <a:endParaRPr lang="en-US" sz="14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8" name="Round Diagonal Corner Rectangle 37"/>
          <p:cNvSpPr/>
          <p:nvPr/>
        </p:nvSpPr>
        <p:spPr>
          <a:xfrm flipH="1">
            <a:off x="2883274" y="2533873"/>
            <a:ext cx="1854324" cy="354966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Data</a:t>
            </a:r>
            <a:endParaRPr lang="en-US" sz="14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4576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1" y="893"/>
          <a:ext cx="211612" cy="211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55" imgW="360" imgH="360" progId="">
                  <p:embed/>
                </p:oleObj>
              </mc:Choice>
              <mc:Fallback>
                <p:oleObj name="think-cell Slide" r:id="rId5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" y="893"/>
                        <a:ext cx="211612" cy="2116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HP Labs: engine of innovation </a:t>
            </a:r>
            <a:endParaRPr lang="en-US" dirty="0"/>
          </a:p>
        </p:txBody>
      </p:sp>
      <p:sp>
        <p:nvSpPr>
          <p:cNvPr id="6" name="TextBox 5"/>
          <p:cNvSpPr txBox="1"/>
          <p:nvPr>
            <p:custDataLst>
              <p:tags r:id="rId4"/>
            </p:custDataLst>
          </p:nvPr>
        </p:nvSpPr>
        <p:spPr>
          <a:xfrm>
            <a:off x="8997940" y="2233257"/>
            <a:ext cx="740930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10 </a:t>
            </a:r>
          </a:p>
          <a:p>
            <a:r>
              <a:rPr lang="en-US" sz="1050" dirty="0">
                <a:solidFill>
                  <a:prstClr val="black"/>
                </a:solidFill>
              </a:rPr>
              <a:t>ePrint </a:t>
            </a:r>
          </a:p>
        </p:txBody>
      </p:sp>
      <p:sp>
        <p:nvSpPr>
          <p:cNvPr id="7" name="TextBox 6"/>
          <p:cNvSpPr txBox="1"/>
          <p:nvPr>
            <p:custDataLst>
              <p:tags r:id="rId5"/>
            </p:custDataLst>
          </p:nvPr>
        </p:nvSpPr>
        <p:spPr>
          <a:xfrm>
            <a:off x="9306360" y="3979215"/>
            <a:ext cx="1136039" cy="1131079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11 </a:t>
            </a:r>
          </a:p>
          <a:p>
            <a:r>
              <a:rPr lang="en-US" sz="1050" dirty="0" err="1">
                <a:solidFill>
                  <a:prstClr val="black"/>
                </a:solidFill>
              </a:rPr>
              <a:t>MagCloud</a:t>
            </a:r>
            <a:endParaRPr lang="en-US" sz="1050" dirty="0">
              <a:solidFill>
                <a:prstClr val="black"/>
              </a:solidFill>
            </a:endParaRPr>
          </a:p>
          <a:p>
            <a:endParaRPr lang="en-US" sz="1050" dirty="0">
              <a:solidFill>
                <a:prstClr val="black"/>
              </a:solidFill>
            </a:endParaRPr>
          </a:p>
          <a:p>
            <a:r>
              <a:rPr lang="en-US" sz="1050" dirty="0">
                <a:solidFill>
                  <a:prstClr val="black"/>
                </a:solidFill>
              </a:rPr>
              <a:t>3D </a:t>
            </a:r>
            <a:r>
              <a:rPr lang="en-US" sz="1050" dirty="0" smtClean="0">
                <a:solidFill>
                  <a:prstClr val="black"/>
                </a:solidFill>
              </a:rPr>
              <a:t>photon</a:t>
            </a:r>
            <a:endParaRPr lang="en-US" sz="1050" dirty="0">
              <a:solidFill>
                <a:prstClr val="black"/>
              </a:solidFill>
            </a:endParaRPr>
          </a:p>
          <a:p>
            <a:r>
              <a:rPr lang="en-US" sz="1050" dirty="0" smtClean="0">
                <a:solidFill>
                  <a:prstClr val="black"/>
                </a:solidFill>
              </a:rPr>
              <a:t>engine </a:t>
            </a:r>
            <a:endParaRPr lang="en-US" sz="1050" dirty="0">
              <a:solidFill>
                <a:prstClr val="black"/>
              </a:solidFill>
            </a:endParaRPr>
          </a:p>
          <a:p>
            <a:endParaRPr lang="en-US" sz="1050" dirty="0">
              <a:solidFill>
                <a:prstClr val="black"/>
              </a:solidFill>
            </a:endParaRPr>
          </a:p>
          <a:p>
            <a:r>
              <a:rPr lang="en-US" sz="1050" dirty="0" err="1">
                <a:solidFill>
                  <a:prstClr val="black"/>
                </a:solidFill>
              </a:rPr>
              <a:t>StoreOnce</a:t>
            </a:r>
            <a:endParaRPr lang="en-US" sz="105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>
            <p:custDataLst>
              <p:tags r:id="rId6"/>
            </p:custDataLst>
          </p:nvPr>
        </p:nvSpPr>
        <p:spPr>
          <a:xfrm>
            <a:off x="9992665" y="1422263"/>
            <a:ext cx="1104612" cy="807913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12</a:t>
            </a:r>
          </a:p>
          <a:p>
            <a:r>
              <a:rPr lang="en-US" sz="1050" dirty="0" err="1">
                <a:solidFill>
                  <a:prstClr val="black"/>
                </a:solidFill>
              </a:rPr>
              <a:t>StoreAll</a:t>
            </a:r>
            <a:endParaRPr lang="en-US" sz="1050" dirty="0">
              <a:solidFill>
                <a:prstClr val="black"/>
              </a:solidFill>
            </a:endParaRPr>
          </a:p>
          <a:p>
            <a:endParaRPr lang="en-US" sz="1050" dirty="0">
              <a:solidFill>
                <a:prstClr val="black"/>
              </a:solidFill>
            </a:endParaRPr>
          </a:p>
          <a:p>
            <a:r>
              <a:rPr lang="en-US" sz="1050" dirty="0" err="1">
                <a:solidFill>
                  <a:prstClr val="black"/>
                </a:solidFill>
              </a:rPr>
              <a:t>OpenFlow</a:t>
            </a:r>
            <a:endParaRPr lang="en-US" sz="1050" dirty="0">
              <a:solidFill>
                <a:prstClr val="black"/>
              </a:solidFill>
            </a:endParaRPr>
          </a:p>
          <a:p>
            <a:r>
              <a:rPr lang="en-US" sz="1050" dirty="0">
                <a:solidFill>
                  <a:prstClr val="black"/>
                </a:solidFill>
              </a:rPr>
              <a:t>switches</a:t>
            </a:r>
          </a:p>
        </p:txBody>
      </p:sp>
      <p:cxnSp>
        <p:nvCxnSpPr>
          <p:cNvPr id="13" name="Straight Connector 12"/>
          <p:cNvCxnSpPr/>
          <p:nvPr>
            <p:custDataLst>
              <p:tags r:id="rId7"/>
            </p:custDataLst>
          </p:nvPr>
        </p:nvCxnSpPr>
        <p:spPr>
          <a:xfrm rot="16200000" flipV="1">
            <a:off x="8381441" y="3077455"/>
            <a:ext cx="1218883" cy="174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8"/>
            </p:custDataLst>
          </p:nvPr>
        </p:nvCxnSpPr>
        <p:spPr>
          <a:xfrm rot="16200000" flipV="1">
            <a:off x="6216459" y="3195886"/>
            <a:ext cx="975106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9"/>
            </p:custDataLst>
          </p:nvPr>
        </p:nvCxnSpPr>
        <p:spPr>
          <a:xfrm rot="16200000" flipV="1">
            <a:off x="5132654" y="3223304"/>
            <a:ext cx="975106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10"/>
            </p:custDataLst>
          </p:nvPr>
        </p:nvCxnSpPr>
        <p:spPr>
          <a:xfrm rot="5400000">
            <a:off x="4828824" y="4490943"/>
            <a:ext cx="1584547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11"/>
            </p:custDataLst>
          </p:nvPr>
        </p:nvCxnSpPr>
        <p:spPr>
          <a:xfrm rot="5400000">
            <a:off x="1561852" y="4856605"/>
            <a:ext cx="2315877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12"/>
            </p:custDataLst>
          </p:nvPr>
        </p:nvCxnSpPr>
        <p:spPr>
          <a:xfrm rot="16200000" flipV="1">
            <a:off x="1837423" y="2693839"/>
            <a:ext cx="1950212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13"/>
            </p:custDataLst>
          </p:nvPr>
        </p:nvCxnSpPr>
        <p:spPr>
          <a:xfrm rot="5400000">
            <a:off x="2113048" y="4464060"/>
            <a:ext cx="1584547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14"/>
            </p:custDataLst>
          </p:nvPr>
        </p:nvCxnSpPr>
        <p:spPr>
          <a:xfrm rot="16200000" flipV="1">
            <a:off x="2852009" y="3082843"/>
            <a:ext cx="1218883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15"/>
            </p:custDataLst>
          </p:nvPr>
        </p:nvCxnSpPr>
        <p:spPr>
          <a:xfrm rot="5400000">
            <a:off x="3421212" y="4123480"/>
            <a:ext cx="975106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16"/>
            </p:custDataLst>
          </p:nvPr>
        </p:nvCxnSpPr>
        <p:spPr>
          <a:xfrm rot="16200000" flipV="1">
            <a:off x="3476765" y="2643658"/>
            <a:ext cx="2193989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17"/>
            </p:custDataLst>
          </p:nvPr>
        </p:nvCxnSpPr>
        <p:spPr>
          <a:xfrm flipV="1">
            <a:off x="5118739" y="2087579"/>
            <a:ext cx="0" cy="1584547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18"/>
            </p:custDataLst>
          </p:nvPr>
        </p:nvCxnSpPr>
        <p:spPr>
          <a:xfrm rot="5400000">
            <a:off x="5908791" y="4066129"/>
            <a:ext cx="609441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19"/>
            </p:custDataLst>
          </p:nvPr>
        </p:nvCxnSpPr>
        <p:spPr>
          <a:xfrm rot="5400000">
            <a:off x="6290001" y="4734719"/>
            <a:ext cx="2072100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20"/>
            </p:custDataLst>
          </p:nvPr>
        </p:nvCxnSpPr>
        <p:spPr>
          <a:xfrm flipV="1">
            <a:off x="7694612" y="1719623"/>
            <a:ext cx="0" cy="1943728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21"/>
            </p:custDataLst>
          </p:nvPr>
        </p:nvCxnSpPr>
        <p:spPr>
          <a:xfrm>
            <a:off x="7946566" y="3712256"/>
            <a:ext cx="1166" cy="1584547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22"/>
            </p:custDataLst>
          </p:nvPr>
        </p:nvCxnSpPr>
        <p:spPr>
          <a:xfrm flipH="1" flipV="1">
            <a:off x="7847012" y="2217876"/>
            <a:ext cx="0" cy="1462659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23"/>
            </p:custDataLst>
          </p:nvPr>
        </p:nvCxnSpPr>
        <p:spPr>
          <a:xfrm flipH="1">
            <a:off x="8315760" y="3690595"/>
            <a:ext cx="0" cy="975106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24"/>
            </p:custDataLst>
          </p:nvPr>
        </p:nvCxnSpPr>
        <p:spPr>
          <a:xfrm rot="5400000">
            <a:off x="4400163" y="3958494"/>
            <a:ext cx="365665" cy="178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>
            <p:custDataLst>
              <p:tags r:id="rId25"/>
            </p:custDataLst>
          </p:nvPr>
        </p:nvSpPr>
        <p:spPr>
          <a:xfrm>
            <a:off x="2916506" y="5023756"/>
            <a:ext cx="2119514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68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Programmable </a:t>
            </a:r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desktop calculator </a:t>
            </a:r>
            <a:endParaRPr lang="en-US" sz="10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3" name="TextBox 32"/>
          <p:cNvSpPr txBox="1"/>
          <p:nvPr>
            <p:custDataLst>
              <p:tags r:id="rId26"/>
            </p:custDataLst>
          </p:nvPr>
        </p:nvSpPr>
        <p:spPr>
          <a:xfrm>
            <a:off x="8342282" y="4432922"/>
            <a:ext cx="937274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05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Virus </a:t>
            </a:r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throttle</a:t>
            </a:r>
            <a:endParaRPr lang="en-US" sz="10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4" name="TextBox 33"/>
          <p:cNvSpPr txBox="1"/>
          <p:nvPr>
            <p:custDataLst>
              <p:tags r:id="rId27"/>
            </p:custDataLst>
          </p:nvPr>
        </p:nvSpPr>
        <p:spPr>
          <a:xfrm>
            <a:off x="5628069" y="2487627"/>
            <a:ext cx="942940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6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3D graphics workstations </a:t>
            </a:r>
          </a:p>
        </p:txBody>
      </p:sp>
      <p:sp>
        <p:nvSpPr>
          <p:cNvPr id="35" name="TextBox 34"/>
          <p:cNvSpPr txBox="1"/>
          <p:nvPr>
            <p:custDataLst>
              <p:tags r:id="rId28"/>
            </p:custDataLst>
          </p:nvPr>
        </p:nvSpPr>
        <p:spPr>
          <a:xfrm>
            <a:off x="3469473" y="2234704"/>
            <a:ext cx="1161965" cy="646331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72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Pocket </a:t>
            </a:r>
          </a:p>
          <a:p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scientific calculator</a:t>
            </a:r>
            <a:endParaRPr lang="en-US" sz="10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6" name="TextBox 35"/>
          <p:cNvSpPr txBox="1"/>
          <p:nvPr>
            <p:custDataLst>
              <p:tags r:id="rId29"/>
            </p:custDataLst>
          </p:nvPr>
        </p:nvSpPr>
        <p:spPr>
          <a:xfrm>
            <a:off x="3918189" y="4392047"/>
            <a:ext cx="1751248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75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tandard for </a:t>
            </a:r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interface bus </a:t>
            </a:r>
            <a:endParaRPr lang="en-US" sz="10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7" name="TextBox 36"/>
          <p:cNvSpPr txBox="1"/>
          <p:nvPr>
            <p:custDataLst>
              <p:tags r:id="rId30"/>
            </p:custDataLst>
          </p:nvPr>
        </p:nvSpPr>
        <p:spPr>
          <a:xfrm>
            <a:off x="4586495" y="3907975"/>
            <a:ext cx="814267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0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64-channel </a:t>
            </a:r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ultrasound </a:t>
            </a:r>
            <a:endParaRPr lang="en-US" sz="10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8" name="TextBox 37"/>
          <p:cNvSpPr txBox="1"/>
          <p:nvPr>
            <p:custDataLst>
              <p:tags r:id="rId31"/>
            </p:custDataLst>
          </p:nvPr>
        </p:nvSpPr>
        <p:spPr>
          <a:xfrm>
            <a:off x="5634007" y="5058898"/>
            <a:ext cx="1070005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6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mmercialized RISC chips </a:t>
            </a:r>
          </a:p>
        </p:txBody>
      </p:sp>
      <p:sp>
        <p:nvSpPr>
          <p:cNvPr id="39" name="TextBox 38"/>
          <p:cNvSpPr txBox="1"/>
          <p:nvPr>
            <p:custDataLst>
              <p:tags r:id="rId32"/>
            </p:custDataLst>
          </p:nvPr>
        </p:nvSpPr>
        <p:spPr>
          <a:xfrm>
            <a:off x="5134326" y="1864975"/>
            <a:ext cx="967789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4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Inkjet </a:t>
            </a:r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printer </a:t>
            </a:r>
            <a:endParaRPr lang="en-US" sz="10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0" name="TextBox 39"/>
          <p:cNvSpPr txBox="1"/>
          <p:nvPr>
            <p:custDataLst>
              <p:tags r:id="rId33"/>
            </p:custDataLst>
          </p:nvPr>
        </p:nvSpPr>
        <p:spPr>
          <a:xfrm>
            <a:off x="4584275" y="1343693"/>
            <a:ext cx="1317762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0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Office l</a:t>
            </a:r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aser printer </a:t>
            </a:r>
            <a:endParaRPr lang="en-US" sz="10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1" name="TextBox 40"/>
          <p:cNvSpPr txBox="1"/>
          <p:nvPr>
            <p:custDataLst>
              <p:tags r:id="rId34"/>
            </p:custDataLst>
          </p:nvPr>
        </p:nvSpPr>
        <p:spPr>
          <a:xfrm>
            <a:off x="6219821" y="4146657"/>
            <a:ext cx="991493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89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Digital </a:t>
            </a:r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data</a:t>
            </a:r>
            <a:endParaRPr lang="en-US" sz="1050" dirty="0">
              <a:solidFill>
                <a:prstClr val="black">
                  <a:lumMod val="65000"/>
                  <a:lumOff val="35000"/>
                </a:prstClr>
              </a:solidFill>
            </a:endParaRPr>
          </a:p>
          <a:p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storage drive </a:t>
            </a:r>
            <a:endParaRPr lang="en-US" sz="10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2" name="TextBox 41"/>
          <p:cNvSpPr txBox="1"/>
          <p:nvPr>
            <p:custDataLst>
              <p:tags r:id="rId35"/>
            </p:custDataLst>
          </p:nvPr>
        </p:nvSpPr>
        <p:spPr>
          <a:xfrm>
            <a:off x="2822032" y="1505294"/>
            <a:ext cx="1127785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67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Cesium-beam atomic clock </a:t>
            </a:r>
          </a:p>
        </p:txBody>
      </p:sp>
      <p:sp>
        <p:nvSpPr>
          <p:cNvPr id="43" name="TextBox 42"/>
          <p:cNvSpPr txBox="1"/>
          <p:nvPr>
            <p:custDataLst>
              <p:tags r:id="rId36"/>
            </p:custDataLst>
          </p:nvPr>
        </p:nvSpPr>
        <p:spPr>
          <a:xfrm>
            <a:off x="7333510" y="5572810"/>
            <a:ext cx="1302493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99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Molecular </a:t>
            </a:r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Logic </a:t>
            </a:r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Gate </a:t>
            </a:r>
          </a:p>
        </p:txBody>
      </p:sp>
      <p:sp>
        <p:nvSpPr>
          <p:cNvPr id="44" name="TextBox 43"/>
          <p:cNvSpPr txBox="1"/>
          <p:nvPr>
            <p:custDataLst>
              <p:tags r:id="rId37"/>
            </p:custDataLst>
          </p:nvPr>
        </p:nvSpPr>
        <p:spPr>
          <a:xfrm>
            <a:off x="6711238" y="2463157"/>
            <a:ext cx="793622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94 </a:t>
            </a:r>
          </a:p>
          <a:p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64-bit</a:t>
            </a:r>
          </a:p>
          <a:p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architecture </a:t>
            </a:r>
            <a:endParaRPr lang="en-US" sz="10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5" name="TextBox 44"/>
          <p:cNvSpPr txBox="1"/>
          <p:nvPr>
            <p:custDataLst>
              <p:tags r:id="rId38"/>
            </p:custDataLst>
          </p:nvPr>
        </p:nvSpPr>
        <p:spPr>
          <a:xfrm>
            <a:off x="7705003" y="1477588"/>
            <a:ext cx="1196605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01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Utility </a:t>
            </a:r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data center</a:t>
            </a:r>
            <a:endParaRPr lang="en-US" sz="10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6" name="TextBox 45"/>
          <p:cNvSpPr txBox="1"/>
          <p:nvPr>
            <p:custDataLst>
              <p:tags r:id="rId39"/>
            </p:custDataLst>
          </p:nvPr>
        </p:nvSpPr>
        <p:spPr>
          <a:xfrm>
            <a:off x="7960136" y="5058899"/>
            <a:ext cx="973152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03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Smart </a:t>
            </a:r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cooling </a:t>
            </a:r>
            <a:endParaRPr lang="en-US" sz="10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7" name="TextBox 46"/>
          <p:cNvSpPr txBox="1"/>
          <p:nvPr>
            <p:custDataLst>
              <p:tags r:id="rId40"/>
            </p:custDataLst>
          </p:nvPr>
        </p:nvSpPr>
        <p:spPr>
          <a:xfrm>
            <a:off x="2731934" y="5783699"/>
            <a:ext cx="1579876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1966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Light Emitting Diode (LED) </a:t>
            </a:r>
          </a:p>
        </p:txBody>
      </p:sp>
      <p:sp>
        <p:nvSpPr>
          <p:cNvPr id="48" name="TextBox 47"/>
          <p:cNvSpPr txBox="1"/>
          <p:nvPr>
            <p:custDataLst>
              <p:tags r:id="rId41"/>
            </p:custDataLst>
          </p:nvPr>
        </p:nvSpPr>
        <p:spPr>
          <a:xfrm>
            <a:off x="7884366" y="1978966"/>
            <a:ext cx="1053704" cy="646331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02 </a:t>
            </a:r>
          </a:p>
          <a:p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</a:rPr>
              <a:t>Rewritable DVD for standard players </a:t>
            </a:r>
          </a:p>
        </p:txBody>
      </p:sp>
      <p:pic>
        <p:nvPicPr>
          <p:cNvPr id="11" name="Picture 10" descr="billanddave.jpg"/>
          <p:cNvPicPr>
            <a:picLocks noChangeAspect="1"/>
          </p:cNvPicPr>
          <p:nvPr>
            <p:custDataLst>
              <p:tags r:id="rId42"/>
            </p:custDataLst>
          </p:nvPr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1230" y="2756711"/>
            <a:ext cx="1996656" cy="1521174"/>
          </a:xfrm>
          <a:prstGeom prst="rect">
            <a:avLst/>
          </a:prstGeom>
        </p:spPr>
      </p:pic>
      <p:sp>
        <p:nvSpPr>
          <p:cNvPr id="12" name="Rectangle 11"/>
          <p:cNvSpPr/>
          <p:nvPr>
            <p:custDataLst>
              <p:tags r:id="rId43"/>
            </p:custDataLst>
          </p:nvPr>
        </p:nvSpPr>
        <p:spPr>
          <a:xfrm>
            <a:off x="515169" y="3888891"/>
            <a:ext cx="845103" cy="4615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399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966</a:t>
            </a:r>
          </a:p>
        </p:txBody>
      </p:sp>
      <p:sp>
        <p:nvSpPr>
          <p:cNvPr id="51" name="TextBox 50"/>
          <p:cNvSpPr txBox="1"/>
          <p:nvPr>
            <p:custDataLst>
              <p:tags r:id="rId44"/>
            </p:custDataLst>
          </p:nvPr>
        </p:nvSpPr>
        <p:spPr>
          <a:xfrm>
            <a:off x="10253099" y="2235355"/>
            <a:ext cx="1445722" cy="1277273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14</a:t>
            </a:r>
          </a:p>
          <a:p>
            <a:r>
              <a:rPr lang="en-US" sz="1050" dirty="0" smtClean="0">
                <a:solidFill>
                  <a:prstClr val="black"/>
                </a:solidFill>
              </a:rPr>
              <a:t>Location aware</a:t>
            </a:r>
          </a:p>
          <a:p>
            <a:endParaRPr lang="en-US" sz="500" dirty="0" smtClean="0">
              <a:solidFill>
                <a:prstClr val="black"/>
              </a:solidFill>
            </a:endParaRPr>
          </a:p>
          <a:p>
            <a:r>
              <a:rPr lang="en-US" sz="1050" dirty="0" err="1" smtClean="0">
                <a:solidFill>
                  <a:prstClr val="black"/>
                </a:solidFill>
              </a:rPr>
              <a:t>Trafodion</a:t>
            </a:r>
            <a:endParaRPr lang="en-US" sz="1050" dirty="0" smtClean="0">
              <a:solidFill>
                <a:prstClr val="black"/>
              </a:solidFill>
            </a:endParaRPr>
          </a:p>
          <a:p>
            <a:endParaRPr lang="en-US" sz="500" dirty="0" smtClean="0">
              <a:solidFill>
                <a:prstClr val="black"/>
              </a:solidFill>
            </a:endParaRPr>
          </a:p>
          <a:p>
            <a:r>
              <a:rPr lang="en-US" sz="1050" dirty="0" smtClean="0">
                <a:solidFill>
                  <a:prstClr val="black"/>
                </a:solidFill>
              </a:rPr>
              <a:t>DNS </a:t>
            </a:r>
            <a:r>
              <a:rPr lang="en-US" sz="1050" dirty="0">
                <a:solidFill>
                  <a:prstClr val="black"/>
                </a:solidFill>
              </a:rPr>
              <a:t>l</a:t>
            </a:r>
            <a:r>
              <a:rPr lang="en-US" sz="1050" dirty="0" smtClean="0">
                <a:solidFill>
                  <a:prstClr val="black"/>
                </a:solidFill>
              </a:rPr>
              <a:t>ogging</a:t>
            </a:r>
          </a:p>
          <a:p>
            <a:endParaRPr lang="en-US" sz="500" dirty="0" smtClean="0">
              <a:solidFill>
                <a:prstClr val="black"/>
              </a:solidFill>
            </a:endParaRPr>
          </a:p>
          <a:p>
            <a:r>
              <a:rPr lang="en-US" sz="1050" dirty="0" err="1" smtClean="0">
                <a:solidFill>
                  <a:prstClr val="black"/>
                </a:solidFill>
              </a:rPr>
              <a:t>QoS</a:t>
            </a:r>
            <a:r>
              <a:rPr lang="en-US" sz="1050" dirty="0" smtClean="0">
                <a:solidFill>
                  <a:prstClr val="black"/>
                </a:solidFill>
              </a:rPr>
              <a:t> controller</a:t>
            </a:r>
          </a:p>
          <a:p>
            <a:endParaRPr lang="en-US" sz="500" dirty="0" smtClean="0">
              <a:solidFill>
                <a:prstClr val="black"/>
              </a:solidFill>
            </a:endParaRPr>
          </a:p>
          <a:p>
            <a:r>
              <a:rPr lang="en-US" sz="1050" dirty="0" smtClean="0">
                <a:solidFill>
                  <a:prstClr val="black"/>
                </a:solidFill>
              </a:rPr>
              <a:t>3D </a:t>
            </a:r>
            <a:r>
              <a:rPr lang="en-US" sz="1050" dirty="0">
                <a:solidFill>
                  <a:prstClr val="black"/>
                </a:solidFill>
              </a:rPr>
              <a:t>p</a:t>
            </a:r>
            <a:r>
              <a:rPr lang="en-US" sz="1050" dirty="0" smtClean="0">
                <a:solidFill>
                  <a:prstClr val="black"/>
                </a:solidFill>
              </a:rPr>
              <a:t>rinting </a:t>
            </a:r>
            <a:r>
              <a:rPr lang="en-US" sz="1050" dirty="0">
                <a:solidFill>
                  <a:prstClr val="black"/>
                </a:solidFill>
              </a:rPr>
              <a:t>t</a:t>
            </a:r>
            <a:r>
              <a:rPr lang="en-US" sz="1050" dirty="0" smtClean="0">
                <a:solidFill>
                  <a:prstClr val="black"/>
                </a:solidFill>
              </a:rPr>
              <a:t>echnology</a:t>
            </a:r>
            <a:endParaRPr lang="en-US" sz="1050" dirty="0">
              <a:solidFill>
                <a:prstClr val="black"/>
              </a:solidFill>
            </a:endParaRPr>
          </a:p>
        </p:txBody>
      </p:sp>
      <p:sp>
        <p:nvSpPr>
          <p:cNvPr id="53" name="TextBox 52"/>
          <p:cNvSpPr txBox="1"/>
          <p:nvPr>
            <p:custDataLst>
              <p:tags r:id="rId45"/>
            </p:custDataLst>
          </p:nvPr>
        </p:nvSpPr>
        <p:spPr>
          <a:xfrm>
            <a:off x="10163742" y="3979216"/>
            <a:ext cx="1073717" cy="1131079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>
                <a:solidFill>
                  <a:srgbClr val="0096D6"/>
                </a:solidFill>
              </a:rPr>
              <a:t>2013</a:t>
            </a:r>
          </a:p>
          <a:p>
            <a:r>
              <a:rPr lang="en-US" sz="1050" dirty="0">
                <a:solidFill>
                  <a:prstClr val="black"/>
                </a:solidFill>
              </a:rPr>
              <a:t>Moonshot</a:t>
            </a:r>
          </a:p>
          <a:p>
            <a:endParaRPr lang="en-US" sz="1050" b="1" dirty="0">
              <a:solidFill>
                <a:prstClr val="black"/>
              </a:solidFill>
            </a:endParaRPr>
          </a:p>
          <a:p>
            <a:r>
              <a:rPr lang="en-US" sz="1050" dirty="0">
                <a:solidFill>
                  <a:prstClr val="black"/>
                </a:solidFill>
              </a:rPr>
              <a:t>Threat </a:t>
            </a:r>
            <a:r>
              <a:rPr lang="en-US" sz="1050" dirty="0" smtClean="0">
                <a:solidFill>
                  <a:prstClr val="black"/>
                </a:solidFill>
              </a:rPr>
              <a:t>central</a:t>
            </a:r>
            <a:endParaRPr lang="en-US" sz="1050" dirty="0">
              <a:solidFill>
                <a:prstClr val="black"/>
              </a:solidFill>
            </a:endParaRPr>
          </a:p>
          <a:p>
            <a:endParaRPr lang="en-US" sz="1050" b="1" dirty="0">
              <a:solidFill>
                <a:prstClr val="black"/>
              </a:solidFill>
            </a:endParaRPr>
          </a:p>
          <a:p>
            <a:r>
              <a:rPr lang="en-US" sz="1050" dirty="0">
                <a:solidFill>
                  <a:prstClr val="black"/>
                </a:solidFill>
              </a:rPr>
              <a:t>SureStart</a:t>
            </a:r>
          </a:p>
          <a:p>
            <a:endParaRPr lang="en-US" sz="1050" dirty="0">
              <a:solidFill>
                <a:prstClr val="black"/>
              </a:solidFill>
            </a:endParaRPr>
          </a:p>
        </p:txBody>
      </p:sp>
      <p:grpSp>
        <p:nvGrpSpPr>
          <p:cNvPr id="65" name="Group 64"/>
          <p:cNvGrpSpPr/>
          <p:nvPr/>
        </p:nvGrpSpPr>
        <p:grpSpPr>
          <a:xfrm>
            <a:off x="9961694" y="1678530"/>
            <a:ext cx="45720" cy="2009236"/>
            <a:chOff x="7616905" y="967535"/>
            <a:chExt cx="34299" cy="1507320"/>
          </a:xfrm>
        </p:grpSpPr>
        <p:cxnSp>
          <p:nvCxnSpPr>
            <p:cNvPr id="4" name="Straight Connector 3"/>
            <p:cNvCxnSpPr/>
            <p:nvPr>
              <p:custDataLst>
                <p:tags r:id="rId52"/>
              </p:custDataLst>
            </p:nvPr>
          </p:nvCxnSpPr>
          <p:spPr>
            <a:xfrm flipV="1">
              <a:off x="7634552" y="967535"/>
              <a:ext cx="0" cy="1507320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Oval 53"/>
            <p:cNvSpPr/>
            <p:nvPr/>
          </p:nvSpPr>
          <p:spPr>
            <a:xfrm>
              <a:off x="7616905" y="1188421"/>
              <a:ext cx="34299" cy="34299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>
                <a:solidFill>
                  <a:prstClr val="white"/>
                </a:solidFill>
              </a:endParaRPr>
            </a:p>
          </p:txBody>
        </p:sp>
      </p:grpSp>
      <p:cxnSp>
        <p:nvCxnSpPr>
          <p:cNvPr id="50" name="Straight Connector 49"/>
          <p:cNvCxnSpPr/>
          <p:nvPr>
            <p:custDataLst>
              <p:tags r:id="rId46"/>
            </p:custDataLst>
          </p:nvPr>
        </p:nvCxnSpPr>
        <p:spPr>
          <a:xfrm flipV="1">
            <a:off x="10253099" y="2473393"/>
            <a:ext cx="0" cy="1354025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47"/>
            </p:custDataLst>
          </p:nvPr>
        </p:nvCxnSpPr>
        <p:spPr>
          <a:xfrm flipH="1">
            <a:off x="9305491" y="3816927"/>
            <a:ext cx="1" cy="1204679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Oval 63"/>
          <p:cNvSpPr/>
          <p:nvPr/>
        </p:nvSpPr>
        <p:spPr>
          <a:xfrm>
            <a:off x="9279555" y="4215904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sp>
        <p:nvSpPr>
          <p:cNvPr id="66" name="Oval 65"/>
          <p:cNvSpPr/>
          <p:nvPr/>
        </p:nvSpPr>
        <p:spPr>
          <a:xfrm>
            <a:off x="9279555" y="4537325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cxnSp>
        <p:nvCxnSpPr>
          <p:cNvPr id="68" name="Straight Connector 67"/>
          <p:cNvCxnSpPr/>
          <p:nvPr>
            <p:custDataLst>
              <p:tags r:id="rId48"/>
            </p:custDataLst>
          </p:nvPr>
        </p:nvCxnSpPr>
        <p:spPr>
          <a:xfrm flipH="1">
            <a:off x="10175944" y="3816927"/>
            <a:ext cx="1" cy="1040568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68"/>
          <p:cNvSpPr/>
          <p:nvPr/>
        </p:nvSpPr>
        <p:spPr>
          <a:xfrm>
            <a:off x="10151387" y="4216447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sp>
        <p:nvSpPr>
          <p:cNvPr id="70" name="Oval 69"/>
          <p:cNvSpPr/>
          <p:nvPr/>
        </p:nvSpPr>
        <p:spPr>
          <a:xfrm>
            <a:off x="10151387" y="4530300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sp>
        <p:nvSpPr>
          <p:cNvPr id="49" name="Rectangle 48"/>
          <p:cNvSpPr/>
          <p:nvPr>
            <p:custDataLst>
              <p:tags r:id="rId49"/>
            </p:custDataLst>
          </p:nvPr>
        </p:nvSpPr>
        <p:spPr>
          <a:xfrm>
            <a:off x="2617886" y="3536150"/>
            <a:ext cx="8961498" cy="2874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4" tIns="60944" rIns="60944" rtlCol="0" anchor="ctr"/>
          <a:lstStyle/>
          <a:p>
            <a:pPr algn="r"/>
            <a:r>
              <a:rPr lang="en-US" sz="1050" dirty="0">
                <a:solidFill>
                  <a:prstClr val="black">
                    <a:lumMod val="50000"/>
                    <a:lumOff val="50000"/>
                  </a:prstClr>
                </a:solidFill>
                <a:latin typeface="Futura Hv" pitchFamily="34" charset="0"/>
              </a:rPr>
              <a:t>				</a:t>
            </a:r>
          </a:p>
        </p:txBody>
      </p:sp>
      <p:sp>
        <p:nvSpPr>
          <p:cNvPr id="72" name="Oval 71"/>
          <p:cNvSpPr/>
          <p:nvPr/>
        </p:nvSpPr>
        <p:spPr>
          <a:xfrm>
            <a:off x="10230238" y="2700110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sp>
        <p:nvSpPr>
          <p:cNvPr id="73" name="Oval 72"/>
          <p:cNvSpPr/>
          <p:nvPr/>
        </p:nvSpPr>
        <p:spPr>
          <a:xfrm>
            <a:off x="10230238" y="2932046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sp>
        <p:nvSpPr>
          <p:cNvPr id="74" name="Oval 73"/>
          <p:cNvSpPr/>
          <p:nvPr/>
        </p:nvSpPr>
        <p:spPr>
          <a:xfrm>
            <a:off x="10230238" y="3167072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sp>
        <p:nvSpPr>
          <p:cNvPr id="75" name="Oval 74"/>
          <p:cNvSpPr/>
          <p:nvPr/>
        </p:nvSpPr>
        <p:spPr>
          <a:xfrm>
            <a:off x="10227386" y="3391549"/>
            <a:ext cx="45720" cy="4572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cxnSp>
        <p:nvCxnSpPr>
          <p:cNvPr id="76" name="Straight Connector 75"/>
          <p:cNvCxnSpPr/>
          <p:nvPr>
            <p:custDataLst>
              <p:tags r:id="rId50"/>
            </p:custDataLst>
          </p:nvPr>
        </p:nvCxnSpPr>
        <p:spPr>
          <a:xfrm flipH="1">
            <a:off x="11058960" y="3816927"/>
            <a:ext cx="0" cy="975106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>
            <p:custDataLst>
              <p:tags r:id="rId51"/>
            </p:custDataLst>
          </p:nvPr>
        </p:nvSpPr>
        <p:spPr>
          <a:xfrm>
            <a:off x="10844271" y="4832211"/>
            <a:ext cx="873189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60944" tIns="0" rIns="60944" bIns="0" rtlCol="0">
            <a:spAutoFit/>
          </a:bodyPr>
          <a:lstStyle/>
          <a:p>
            <a:r>
              <a:rPr lang="en-US" sz="1050" b="1" dirty="0" smtClean="0">
                <a:solidFill>
                  <a:srgbClr val="0096D6"/>
                </a:solidFill>
              </a:rPr>
              <a:t>2015 </a:t>
            </a:r>
            <a:endParaRPr lang="en-US" sz="1050" b="1" dirty="0">
              <a:solidFill>
                <a:srgbClr val="0096D6"/>
              </a:solidFill>
            </a:endParaRPr>
          </a:p>
          <a:p>
            <a:r>
              <a:rPr lang="en-US" sz="10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Distributed R</a:t>
            </a:r>
            <a:endParaRPr lang="en-US" sz="10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06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with built-in primitives...</a:t>
            </a:r>
            <a:endParaRPr lang="hi-IN" dirty="0"/>
          </a:p>
        </p:txBody>
      </p:sp>
      <p:sp>
        <p:nvSpPr>
          <p:cNvPr id="7" name="Round Diagonal Corner Rectangle 6"/>
          <p:cNvSpPr/>
          <p:nvPr/>
        </p:nvSpPr>
        <p:spPr>
          <a:xfrm flipH="1">
            <a:off x="7123110" y="2378556"/>
            <a:ext cx="3487739" cy="2628900"/>
          </a:xfrm>
          <a:prstGeom prst="round2DiagRect">
            <a:avLst>
              <a:gd name="adj1" fmla="val 9936"/>
              <a:gd name="adj2" fmla="val 0"/>
            </a:avLst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2400" b="1" dirty="0" smtClean="0">
                <a:solidFill>
                  <a:prstClr val="white"/>
                </a:solidFill>
              </a:rPr>
              <a:t>Security Information and Event Management (SIEM), Proxy, ..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2743313" y="2906992"/>
            <a:ext cx="301080" cy="306817"/>
            <a:chOff x="8507565" y="3550873"/>
            <a:chExt cx="301080" cy="371330"/>
          </a:xfrm>
          <a:solidFill>
            <a:schemeClr val="bg2">
              <a:lumMod val="90000"/>
            </a:schemeClr>
          </a:solidFill>
        </p:grpSpPr>
        <p:sp>
          <p:nvSpPr>
            <p:cNvPr id="23" name="Round Diagonal Corner Rectangle 22"/>
            <p:cNvSpPr/>
            <p:nvPr/>
          </p:nvSpPr>
          <p:spPr>
            <a:xfrm rot="5400000">
              <a:off x="8546342" y="3589268"/>
              <a:ext cx="223525" cy="146735"/>
            </a:xfrm>
            <a:prstGeom prst="round2DiagRect">
              <a:avLst>
                <a:gd name="adj1" fmla="val 23013"/>
                <a:gd name="adj2" fmla="val 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24" name="Freeform 112"/>
            <p:cNvSpPr>
              <a:spLocks/>
            </p:cNvSpPr>
            <p:nvPr/>
          </p:nvSpPr>
          <p:spPr bwMode="auto">
            <a:xfrm rot="16200000">
              <a:off x="8530051" y="3643610"/>
              <a:ext cx="256107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743313" y="4064495"/>
            <a:ext cx="301080" cy="306817"/>
            <a:chOff x="8507565" y="3550873"/>
            <a:chExt cx="301080" cy="371330"/>
          </a:xfrm>
          <a:solidFill>
            <a:schemeClr val="bg2">
              <a:lumMod val="90000"/>
            </a:schemeClr>
          </a:solidFill>
        </p:grpSpPr>
        <p:sp>
          <p:nvSpPr>
            <p:cNvPr id="26" name="Round Diagonal Corner Rectangle 25"/>
            <p:cNvSpPr/>
            <p:nvPr/>
          </p:nvSpPr>
          <p:spPr>
            <a:xfrm rot="5400000">
              <a:off x="8546342" y="3589268"/>
              <a:ext cx="223525" cy="146735"/>
            </a:xfrm>
            <a:prstGeom prst="round2DiagRect">
              <a:avLst>
                <a:gd name="adj1" fmla="val 23013"/>
                <a:gd name="adj2" fmla="val 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27" name="Freeform 112"/>
            <p:cNvSpPr>
              <a:spLocks/>
            </p:cNvSpPr>
            <p:nvPr/>
          </p:nvSpPr>
          <p:spPr bwMode="auto">
            <a:xfrm rot="16200000">
              <a:off x="8530051" y="3643610"/>
              <a:ext cx="256107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  <p:sp>
        <p:nvSpPr>
          <p:cNvPr id="28" name="Round Diagonal Corner Rectangle 27"/>
          <p:cNvSpPr/>
          <p:nvPr/>
        </p:nvSpPr>
        <p:spPr>
          <a:xfrm flipH="1">
            <a:off x="921325" y="4442921"/>
            <a:ext cx="3879276" cy="782965"/>
          </a:xfrm>
          <a:prstGeom prst="round2Diag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1440" rIns="99568" bIns="91440" numCol="1" spcCol="1270" anchor="t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 smtClean="0">
                <a:solidFill>
                  <a:srgbClr val="0096D6"/>
                </a:solidFill>
              </a:rPr>
              <a:t>Platform</a:t>
            </a:r>
            <a:endParaRPr lang="en-US" sz="1400" b="1" dirty="0">
              <a:solidFill>
                <a:srgbClr val="0096D6"/>
              </a:solidFill>
            </a:endParaRPr>
          </a:p>
        </p:txBody>
      </p:sp>
      <p:sp>
        <p:nvSpPr>
          <p:cNvPr id="29" name="Round Diagonal Corner Rectangle 28"/>
          <p:cNvSpPr/>
          <p:nvPr/>
        </p:nvSpPr>
        <p:spPr>
          <a:xfrm flipH="1">
            <a:off x="977903" y="4799306"/>
            <a:ext cx="1854324" cy="355072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Hardware</a:t>
            </a:r>
            <a:endParaRPr lang="en-US" sz="14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0" name="Round Diagonal Corner Rectangle 29"/>
          <p:cNvSpPr/>
          <p:nvPr/>
        </p:nvSpPr>
        <p:spPr>
          <a:xfrm flipH="1">
            <a:off x="2883274" y="4799306"/>
            <a:ext cx="1854324" cy="355072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Firmware</a:t>
            </a:r>
            <a:endParaRPr lang="en-US" sz="14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1" name="Round Diagonal Corner Rectangle 30"/>
          <p:cNvSpPr/>
          <p:nvPr/>
        </p:nvSpPr>
        <p:spPr>
          <a:xfrm flipH="1">
            <a:off x="921325" y="3301525"/>
            <a:ext cx="3879276" cy="782965"/>
          </a:xfrm>
          <a:prstGeom prst="round2Diag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1440" rIns="99568" bIns="91440" numCol="1" spcCol="1270" anchor="t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 smtClean="0">
                <a:solidFill>
                  <a:srgbClr val="0096D6"/>
                </a:solidFill>
              </a:rPr>
              <a:t>Middleware</a:t>
            </a:r>
            <a:endParaRPr lang="en-US" sz="1400" b="1" dirty="0">
              <a:solidFill>
                <a:srgbClr val="0096D6"/>
              </a:solidFill>
            </a:endParaRPr>
          </a:p>
        </p:txBody>
      </p:sp>
      <p:sp>
        <p:nvSpPr>
          <p:cNvPr id="32" name="Round Diagonal Corner Rectangle 31"/>
          <p:cNvSpPr/>
          <p:nvPr/>
        </p:nvSpPr>
        <p:spPr>
          <a:xfrm flipH="1">
            <a:off x="977903" y="3673223"/>
            <a:ext cx="1854324" cy="354966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System software</a:t>
            </a:r>
            <a:endParaRPr lang="en-US" sz="14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3" name="Round Diagonal Corner Rectangle 32"/>
          <p:cNvSpPr/>
          <p:nvPr/>
        </p:nvSpPr>
        <p:spPr>
          <a:xfrm flipH="1">
            <a:off x="2883274" y="3673223"/>
            <a:ext cx="1854324" cy="354966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OS</a:t>
            </a:r>
            <a:endParaRPr lang="en-US" sz="14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 flipH="1">
            <a:off x="921325" y="2162175"/>
            <a:ext cx="3879276" cy="782965"/>
          </a:xfrm>
          <a:prstGeom prst="round2Diag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1440" rIns="99568" bIns="91440" numCol="1" spcCol="1270" anchor="t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 smtClean="0">
                <a:solidFill>
                  <a:srgbClr val="0096D6"/>
                </a:solidFill>
              </a:rPr>
              <a:t>Workload</a:t>
            </a:r>
            <a:endParaRPr lang="en-US" sz="1400" b="1" dirty="0">
              <a:solidFill>
                <a:srgbClr val="0096D6"/>
              </a:solidFill>
            </a:endParaRPr>
          </a:p>
        </p:txBody>
      </p:sp>
      <p:sp>
        <p:nvSpPr>
          <p:cNvPr id="35" name="Round Diagonal Corner Rectangle 34"/>
          <p:cNvSpPr/>
          <p:nvPr/>
        </p:nvSpPr>
        <p:spPr>
          <a:xfrm flipH="1">
            <a:off x="977903" y="2533873"/>
            <a:ext cx="1854324" cy="354966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Application</a:t>
            </a:r>
            <a:endParaRPr lang="en-US" sz="14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6" name="Round Diagonal Corner Rectangle 35"/>
          <p:cNvSpPr/>
          <p:nvPr/>
        </p:nvSpPr>
        <p:spPr>
          <a:xfrm flipH="1">
            <a:off x="2883274" y="2533873"/>
            <a:ext cx="1854324" cy="354966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5128" tIns="24130" rIns="135128" bIns="2413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Data</a:t>
            </a:r>
            <a:endParaRPr lang="en-US" sz="14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5293666" y="3484387"/>
            <a:ext cx="1336379" cy="417240"/>
            <a:chOff x="5782328" y="2891709"/>
            <a:chExt cx="964333" cy="301081"/>
          </a:xfrm>
        </p:grpSpPr>
        <p:sp>
          <p:nvSpPr>
            <p:cNvPr id="40" name="Round Diagonal Corner Rectangle 39"/>
            <p:cNvSpPr/>
            <p:nvPr/>
          </p:nvSpPr>
          <p:spPr>
            <a:xfrm>
              <a:off x="5861230" y="2968882"/>
              <a:ext cx="782856" cy="146735"/>
            </a:xfrm>
            <a:prstGeom prst="round2DiagRect">
              <a:avLst>
                <a:gd name="adj1" fmla="val 23013"/>
                <a:gd name="adj2" fmla="val 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41" name="Freeform 112"/>
            <p:cNvSpPr>
              <a:spLocks/>
            </p:cNvSpPr>
            <p:nvPr/>
          </p:nvSpPr>
          <p:spPr bwMode="auto">
            <a:xfrm rot="10800000">
              <a:off x="6523793" y="2891709"/>
              <a:ext cx="222868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  <p:sp>
          <p:nvSpPr>
            <p:cNvPr id="42" name="Freeform 112"/>
            <p:cNvSpPr>
              <a:spLocks/>
            </p:cNvSpPr>
            <p:nvPr/>
          </p:nvSpPr>
          <p:spPr bwMode="auto">
            <a:xfrm>
              <a:off x="5782328" y="2891710"/>
              <a:ext cx="222868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9626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and the following goals.</a:t>
            </a:r>
            <a:endParaRPr lang="hi-IN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 flipH="1">
            <a:off x="876300" y="2447926"/>
            <a:ext cx="2526084" cy="2181224"/>
          </a:xfrm>
          <a:prstGeom prst="round2DiagRect">
            <a:avLst>
              <a:gd name="adj1" fmla="val 6284"/>
              <a:gd name="adj2" fmla="val 0"/>
            </a:avLst>
          </a:prstGeom>
          <a:solidFill>
            <a:schemeClr val="accent1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2000" b="1" dirty="0" smtClean="0">
                <a:solidFill>
                  <a:prstClr val="white"/>
                </a:solidFill>
              </a:rPr>
              <a:t>Efficient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 flipH="1">
            <a:off x="3514072" y="2447926"/>
            <a:ext cx="2526084" cy="2181224"/>
          </a:xfrm>
          <a:prstGeom prst="round2DiagRect">
            <a:avLst>
              <a:gd name="adj1" fmla="val 5738"/>
              <a:gd name="adj2" fmla="val 0"/>
            </a:avLst>
          </a:prstGeom>
          <a:solidFill>
            <a:schemeClr val="accent1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2000" b="1" dirty="0" smtClean="0">
                <a:solidFill>
                  <a:prstClr val="white"/>
                </a:solidFill>
              </a:rPr>
              <a:t>Resilient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 flipH="1">
            <a:off x="6151844" y="2447926"/>
            <a:ext cx="2526084" cy="2181224"/>
          </a:xfrm>
          <a:prstGeom prst="round2DiagRect">
            <a:avLst>
              <a:gd name="adj1" fmla="val 5738"/>
              <a:gd name="adj2" fmla="val 0"/>
            </a:avLst>
          </a:prstGeom>
          <a:solidFill>
            <a:schemeClr val="accent1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2000" b="1" dirty="0" smtClean="0">
                <a:solidFill>
                  <a:prstClr val="white"/>
                </a:solidFill>
              </a:rPr>
              <a:t>Scalable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 flipH="1">
            <a:off x="8789616" y="2447926"/>
            <a:ext cx="2526084" cy="2181224"/>
          </a:xfrm>
          <a:prstGeom prst="round2DiagRect">
            <a:avLst>
              <a:gd name="adj1" fmla="val 6284"/>
              <a:gd name="adj2" fmla="val 0"/>
            </a:avLst>
          </a:prstGeom>
          <a:solidFill>
            <a:schemeClr val="accent1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2000" b="1" dirty="0" smtClean="0">
                <a:solidFill>
                  <a:prstClr val="white"/>
                </a:solidFill>
              </a:rPr>
              <a:t>Manageable</a:t>
            </a:r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622103" y="2721443"/>
            <a:ext cx="1034478" cy="1218385"/>
            <a:chOff x="811" y="1729"/>
            <a:chExt cx="180" cy="212"/>
          </a:xfrm>
          <a:solidFill>
            <a:schemeClr val="bg1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894" y="1791"/>
              <a:ext cx="10" cy="4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Rectangle 6"/>
            <p:cNvSpPr>
              <a:spLocks noChangeArrowheads="1"/>
            </p:cNvSpPr>
            <p:nvPr/>
          </p:nvSpPr>
          <p:spPr bwMode="auto">
            <a:xfrm>
              <a:off x="923" y="1848"/>
              <a:ext cx="29" cy="1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888" y="1841"/>
              <a:ext cx="22" cy="22"/>
            </a:xfrm>
            <a:custGeom>
              <a:avLst/>
              <a:gdLst>
                <a:gd name="T0" fmla="*/ 43 w 43"/>
                <a:gd name="T1" fmla="*/ 21 h 43"/>
                <a:gd name="T2" fmla="*/ 43 w 43"/>
                <a:gd name="T3" fmla="*/ 21 h 43"/>
                <a:gd name="T4" fmla="*/ 43 w 43"/>
                <a:gd name="T5" fmla="*/ 26 h 43"/>
                <a:gd name="T6" fmla="*/ 42 w 43"/>
                <a:gd name="T7" fmla="*/ 30 h 43"/>
                <a:gd name="T8" fmla="*/ 40 w 43"/>
                <a:gd name="T9" fmla="*/ 33 h 43"/>
                <a:gd name="T10" fmla="*/ 37 w 43"/>
                <a:gd name="T11" fmla="*/ 37 h 43"/>
                <a:gd name="T12" fmla="*/ 34 w 43"/>
                <a:gd name="T13" fmla="*/ 40 h 43"/>
                <a:gd name="T14" fmla="*/ 30 w 43"/>
                <a:gd name="T15" fmla="*/ 42 h 43"/>
                <a:gd name="T16" fmla="*/ 26 w 43"/>
                <a:gd name="T17" fmla="*/ 43 h 43"/>
                <a:gd name="T18" fmla="*/ 22 w 43"/>
                <a:gd name="T19" fmla="*/ 43 h 43"/>
                <a:gd name="T20" fmla="*/ 22 w 43"/>
                <a:gd name="T21" fmla="*/ 43 h 43"/>
                <a:gd name="T22" fmla="*/ 17 w 43"/>
                <a:gd name="T23" fmla="*/ 43 h 43"/>
                <a:gd name="T24" fmla="*/ 13 w 43"/>
                <a:gd name="T25" fmla="*/ 42 h 43"/>
                <a:gd name="T26" fmla="*/ 10 w 43"/>
                <a:gd name="T27" fmla="*/ 40 h 43"/>
                <a:gd name="T28" fmla="*/ 7 w 43"/>
                <a:gd name="T29" fmla="*/ 37 h 43"/>
                <a:gd name="T30" fmla="*/ 3 w 43"/>
                <a:gd name="T31" fmla="*/ 33 h 43"/>
                <a:gd name="T32" fmla="*/ 1 w 43"/>
                <a:gd name="T33" fmla="*/ 30 h 43"/>
                <a:gd name="T34" fmla="*/ 0 w 43"/>
                <a:gd name="T35" fmla="*/ 26 h 43"/>
                <a:gd name="T36" fmla="*/ 0 w 43"/>
                <a:gd name="T37" fmla="*/ 21 h 43"/>
                <a:gd name="T38" fmla="*/ 0 w 43"/>
                <a:gd name="T39" fmla="*/ 21 h 43"/>
                <a:gd name="T40" fmla="*/ 0 w 43"/>
                <a:gd name="T41" fmla="*/ 17 h 43"/>
                <a:gd name="T42" fmla="*/ 1 w 43"/>
                <a:gd name="T43" fmla="*/ 13 h 43"/>
                <a:gd name="T44" fmla="*/ 3 w 43"/>
                <a:gd name="T45" fmla="*/ 10 h 43"/>
                <a:gd name="T46" fmla="*/ 7 w 43"/>
                <a:gd name="T47" fmla="*/ 6 h 43"/>
                <a:gd name="T48" fmla="*/ 10 w 43"/>
                <a:gd name="T49" fmla="*/ 3 h 43"/>
                <a:gd name="T50" fmla="*/ 13 w 43"/>
                <a:gd name="T51" fmla="*/ 1 h 43"/>
                <a:gd name="T52" fmla="*/ 17 w 43"/>
                <a:gd name="T53" fmla="*/ 0 h 43"/>
                <a:gd name="T54" fmla="*/ 22 w 43"/>
                <a:gd name="T55" fmla="*/ 0 h 43"/>
                <a:gd name="T56" fmla="*/ 22 w 43"/>
                <a:gd name="T57" fmla="*/ 0 h 43"/>
                <a:gd name="T58" fmla="*/ 26 w 43"/>
                <a:gd name="T59" fmla="*/ 0 h 43"/>
                <a:gd name="T60" fmla="*/ 30 w 43"/>
                <a:gd name="T61" fmla="*/ 1 h 43"/>
                <a:gd name="T62" fmla="*/ 34 w 43"/>
                <a:gd name="T63" fmla="*/ 3 h 43"/>
                <a:gd name="T64" fmla="*/ 37 w 43"/>
                <a:gd name="T65" fmla="*/ 6 h 43"/>
                <a:gd name="T66" fmla="*/ 40 w 43"/>
                <a:gd name="T67" fmla="*/ 10 h 43"/>
                <a:gd name="T68" fmla="*/ 42 w 43"/>
                <a:gd name="T69" fmla="*/ 13 h 43"/>
                <a:gd name="T70" fmla="*/ 43 w 43"/>
                <a:gd name="T71" fmla="*/ 17 h 43"/>
                <a:gd name="T72" fmla="*/ 43 w 43"/>
                <a:gd name="T73" fmla="*/ 21 h 43"/>
                <a:gd name="T74" fmla="*/ 43 w 43"/>
                <a:gd name="T75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3" h="43">
                  <a:moveTo>
                    <a:pt x="43" y="21"/>
                  </a:moveTo>
                  <a:lnTo>
                    <a:pt x="43" y="21"/>
                  </a:lnTo>
                  <a:lnTo>
                    <a:pt x="43" y="26"/>
                  </a:lnTo>
                  <a:lnTo>
                    <a:pt x="42" y="30"/>
                  </a:lnTo>
                  <a:lnTo>
                    <a:pt x="40" y="33"/>
                  </a:lnTo>
                  <a:lnTo>
                    <a:pt x="37" y="37"/>
                  </a:lnTo>
                  <a:lnTo>
                    <a:pt x="34" y="40"/>
                  </a:lnTo>
                  <a:lnTo>
                    <a:pt x="30" y="42"/>
                  </a:lnTo>
                  <a:lnTo>
                    <a:pt x="26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17" y="43"/>
                  </a:lnTo>
                  <a:lnTo>
                    <a:pt x="13" y="42"/>
                  </a:lnTo>
                  <a:lnTo>
                    <a:pt x="10" y="40"/>
                  </a:lnTo>
                  <a:lnTo>
                    <a:pt x="7" y="37"/>
                  </a:lnTo>
                  <a:lnTo>
                    <a:pt x="3" y="33"/>
                  </a:lnTo>
                  <a:lnTo>
                    <a:pt x="1" y="30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7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7" y="6"/>
                  </a:lnTo>
                  <a:lnTo>
                    <a:pt x="10" y="3"/>
                  </a:lnTo>
                  <a:lnTo>
                    <a:pt x="13" y="1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0" y="1"/>
                  </a:lnTo>
                  <a:lnTo>
                    <a:pt x="34" y="3"/>
                  </a:lnTo>
                  <a:lnTo>
                    <a:pt x="37" y="6"/>
                  </a:lnTo>
                  <a:lnTo>
                    <a:pt x="40" y="10"/>
                  </a:lnTo>
                  <a:lnTo>
                    <a:pt x="42" y="13"/>
                  </a:lnTo>
                  <a:lnTo>
                    <a:pt x="43" y="17"/>
                  </a:lnTo>
                  <a:lnTo>
                    <a:pt x="43" y="21"/>
                  </a:lnTo>
                  <a:lnTo>
                    <a:pt x="4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811" y="1729"/>
              <a:ext cx="180" cy="212"/>
            </a:xfrm>
            <a:custGeom>
              <a:avLst/>
              <a:gdLst>
                <a:gd name="T0" fmla="*/ 360 w 360"/>
                <a:gd name="T1" fmla="*/ 94 h 422"/>
                <a:gd name="T2" fmla="*/ 317 w 360"/>
                <a:gd name="T3" fmla="*/ 90 h 422"/>
                <a:gd name="T4" fmla="*/ 281 w 360"/>
                <a:gd name="T5" fmla="*/ 106 h 422"/>
                <a:gd name="T6" fmla="*/ 247 w 360"/>
                <a:gd name="T7" fmla="*/ 86 h 422"/>
                <a:gd name="T8" fmla="*/ 208 w 360"/>
                <a:gd name="T9" fmla="*/ 74 h 422"/>
                <a:gd name="T10" fmla="*/ 223 w 360"/>
                <a:gd name="T11" fmla="*/ 47 h 422"/>
                <a:gd name="T12" fmla="*/ 222 w 360"/>
                <a:gd name="T13" fmla="*/ 19 h 422"/>
                <a:gd name="T14" fmla="*/ 214 w 360"/>
                <a:gd name="T15" fmla="*/ 6 h 422"/>
                <a:gd name="T16" fmla="*/ 200 w 360"/>
                <a:gd name="T17" fmla="*/ 0 h 422"/>
                <a:gd name="T18" fmla="*/ 128 w 360"/>
                <a:gd name="T19" fmla="*/ 23 h 422"/>
                <a:gd name="T20" fmla="*/ 131 w 360"/>
                <a:gd name="T21" fmla="*/ 33 h 422"/>
                <a:gd name="T22" fmla="*/ 141 w 360"/>
                <a:gd name="T23" fmla="*/ 43 h 422"/>
                <a:gd name="T24" fmla="*/ 156 w 360"/>
                <a:gd name="T25" fmla="*/ 47 h 422"/>
                <a:gd name="T26" fmla="*/ 140 w 360"/>
                <a:gd name="T27" fmla="*/ 75 h 422"/>
                <a:gd name="T28" fmla="*/ 95 w 360"/>
                <a:gd name="T29" fmla="*/ 90 h 422"/>
                <a:gd name="T30" fmla="*/ 56 w 360"/>
                <a:gd name="T31" fmla="*/ 118 h 422"/>
                <a:gd name="T32" fmla="*/ 27 w 360"/>
                <a:gd name="T33" fmla="*/ 154 h 422"/>
                <a:gd name="T34" fmla="*/ 7 w 360"/>
                <a:gd name="T35" fmla="*/ 198 h 422"/>
                <a:gd name="T36" fmla="*/ 0 w 360"/>
                <a:gd name="T37" fmla="*/ 247 h 422"/>
                <a:gd name="T38" fmla="*/ 4 w 360"/>
                <a:gd name="T39" fmla="*/ 282 h 422"/>
                <a:gd name="T40" fmla="*/ 22 w 360"/>
                <a:gd name="T41" fmla="*/ 331 h 422"/>
                <a:gd name="T42" fmla="*/ 52 w 360"/>
                <a:gd name="T43" fmla="*/ 371 h 422"/>
                <a:gd name="T44" fmla="*/ 92 w 360"/>
                <a:gd name="T45" fmla="*/ 401 h 422"/>
                <a:gd name="T46" fmla="*/ 140 w 360"/>
                <a:gd name="T47" fmla="*/ 419 h 422"/>
                <a:gd name="T48" fmla="*/ 176 w 360"/>
                <a:gd name="T49" fmla="*/ 422 h 422"/>
                <a:gd name="T50" fmla="*/ 227 w 360"/>
                <a:gd name="T51" fmla="*/ 415 h 422"/>
                <a:gd name="T52" fmla="*/ 274 w 360"/>
                <a:gd name="T53" fmla="*/ 392 h 422"/>
                <a:gd name="T54" fmla="*/ 311 w 360"/>
                <a:gd name="T55" fmla="*/ 359 h 422"/>
                <a:gd name="T56" fmla="*/ 337 w 360"/>
                <a:gd name="T57" fmla="*/ 314 h 422"/>
                <a:gd name="T58" fmla="*/ 350 w 360"/>
                <a:gd name="T59" fmla="*/ 265 h 422"/>
                <a:gd name="T60" fmla="*/ 350 w 360"/>
                <a:gd name="T61" fmla="*/ 229 h 422"/>
                <a:gd name="T62" fmla="*/ 338 w 360"/>
                <a:gd name="T63" fmla="*/ 182 h 422"/>
                <a:gd name="T64" fmla="*/ 315 w 360"/>
                <a:gd name="T65" fmla="*/ 141 h 422"/>
                <a:gd name="T66" fmla="*/ 176 w 360"/>
                <a:gd name="T67" fmla="*/ 393 h 422"/>
                <a:gd name="T68" fmla="*/ 147 w 360"/>
                <a:gd name="T69" fmla="*/ 390 h 422"/>
                <a:gd name="T70" fmla="*/ 106 w 360"/>
                <a:gd name="T71" fmla="*/ 375 h 422"/>
                <a:gd name="T72" fmla="*/ 73 w 360"/>
                <a:gd name="T73" fmla="*/ 350 h 422"/>
                <a:gd name="T74" fmla="*/ 48 w 360"/>
                <a:gd name="T75" fmla="*/ 317 h 422"/>
                <a:gd name="T76" fmla="*/ 33 w 360"/>
                <a:gd name="T77" fmla="*/ 276 h 422"/>
                <a:gd name="T78" fmla="*/ 30 w 360"/>
                <a:gd name="T79" fmla="*/ 247 h 422"/>
                <a:gd name="T80" fmla="*/ 36 w 360"/>
                <a:gd name="T81" fmla="*/ 203 h 422"/>
                <a:gd name="T82" fmla="*/ 54 w 360"/>
                <a:gd name="T83" fmla="*/ 165 h 422"/>
                <a:gd name="T84" fmla="*/ 83 w 360"/>
                <a:gd name="T85" fmla="*/ 133 h 422"/>
                <a:gd name="T86" fmla="*/ 119 w 360"/>
                <a:gd name="T87" fmla="*/ 112 h 422"/>
                <a:gd name="T88" fmla="*/ 161 w 360"/>
                <a:gd name="T89" fmla="*/ 101 h 422"/>
                <a:gd name="T90" fmla="*/ 191 w 360"/>
                <a:gd name="T91" fmla="*/ 101 h 422"/>
                <a:gd name="T92" fmla="*/ 233 w 360"/>
                <a:gd name="T93" fmla="*/ 112 h 422"/>
                <a:gd name="T94" fmla="*/ 268 w 360"/>
                <a:gd name="T95" fmla="*/ 133 h 422"/>
                <a:gd name="T96" fmla="*/ 296 w 360"/>
                <a:gd name="T97" fmla="*/ 165 h 422"/>
                <a:gd name="T98" fmla="*/ 315 w 360"/>
                <a:gd name="T99" fmla="*/ 203 h 422"/>
                <a:gd name="T100" fmla="*/ 322 w 360"/>
                <a:gd name="T101" fmla="*/ 247 h 422"/>
                <a:gd name="T102" fmla="*/ 319 w 360"/>
                <a:gd name="T103" fmla="*/ 276 h 422"/>
                <a:gd name="T104" fmla="*/ 304 w 360"/>
                <a:gd name="T105" fmla="*/ 317 h 422"/>
                <a:gd name="T106" fmla="*/ 279 w 360"/>
                <a:gd name="T107" fmla="*/ 350 h 422"/>
                <a:gd name="T108" fmla="*/ 246 w 360"/>
                <a:gd name="T109" fmla="*/ 375 h 422"/>
                <a:gd name="T110" fmla="*/ 205 w 360"/>
                <a:gd name="T111" fmla="*/ 390 h 422"/>
                <a:gd name="T112" fmla="*/ 176 w 360"/>
                <a:gd name="T113" fmla="*/ 393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60" h="422">
                  <a:moveTo>
                    <a:pt x="329" y="103"/>
                  </a:moveTo>
                  <a:lnTo>
                    <a:pt x="339" y="113"/>
                  </a:lnTo>
                  <a:lnTo>
                    <a:pt x="360" y="94"/>
                  </a:lnTo>
                  <a:lnTo>
                    <a:pt x="326" y="60"/>
                  </a:lnTo>
                  <a:lnTo>
                    <a:pt x="306" y="79"/>
                  </a:lnTo>
                  <a:lnTo>
                    <a:pt x="317" y="90"/>
                  </a:lnTo>
                  <a:lnTo>
                    <a:pt x="292" y="115"/>
                  </a:lnTo>
                  <a:lnTo>
                    <a:pt x="292" y="115"/>
                  </a:lnTo>
                  <a:lnTo>
                    <a:pt x="281" y="106"/>
                  </a:lnTo>
                  <a:lnTo>
                    <a:pt x="270" y="99"/>
                  </a:lnTo>
                  <a:lnTo>
                    <a:pt x="258" y="92"/>
                  </a:lnTo>
                  <a:lnTo>
                    <a:pt x="247" y="86"/>
                  </a:lnTo>
                  <a:lnTo>
                    <a:pt x="235" y="82"/>
                  </a:lnTo>
                  <a:lnTo>
                    <a:pt x="222" y="77"/>
                  </a:lnTo>
                  <a:lnTo>
                    <a:pt x="208" y="74"/>
                  </a:lnTo>
                  <a:lnTo>
                    <a:pt x="195" y="72"/>
                  </a:lnTo>
                  <a:lnTo>
                    <a:pt x="195" y="47"/>
                  </a:lnTo>
                  <a:lnTo>
                    <a:pt x="223" y="47"/>
                  </a:lnTo>
                  <a:lnTo>
                    <a:pt x="223" y="23"/>
                  </a:lnTo>
                  <a:lnTo>
                    <a:pt x="223" y="23"/>
                  </a:lnTo>
                  <a:lnTo>
                    <a:pt x="222" y="19"/>
                  </a:lnTo>
                  <a:lnTo>
                    <a:pt x="221" y="14"/>
                  </a:lnTo>
                  <a:lnTo>
                    <a:pt x="218" y="11"/>
                  </a:lnTo>
                  <a:lnTo>
                    <a:pt x="214" y="6"/>
                  </a:lnTo>
                  <a:lnTo>
                    <a:pt x="210" y="4"/>
                  </a:lnTo>
                  <a:lnTo>
                    <a:pt x="206" y="2"/>
                  </a:lnTo>
                  <a:lnTo>
                    <a:pt x="200" y="0"/>
                  </a:lnTo>
                  <a:lnTo>
                    <a:pt x="195" y="0"/>
                  </a:lnTo>
                  <a:lnTo>
                    <a:pt x="128" y="0"/>
                  </a:lnTo>
                  <a:lnTo>
                    <a:pt x="128" y="23"/>
                  </a:lnTo>
                  <a:lnTo>
                    <a:pt x="128" y="23"/>
                  </a:lnTo>
                  <a:lnTo>
                    <a:pt x="128" y="28"/>
                  </a:lnTo>
                  <a:lnTo>
                    <a:pt x="131" y="33"/>
                  </a:lnTo>
                  <a:lnTo>
                    <a:pt x="133" y="36"/>
                  </a:lnTo>
                  <a:lnTo>
                    <a:pt x="137" y="41"/>
                  </a:lnTo>
                  <a:lnTo>
                    <a:pt x="141" y="43"/>
                  </a:lnTo>
                  <a:lnTo>
                    <a:pt x="146" y="45"/>
                  </a:lnTo>
                  <a:lnTo>
                    <a:pt x="151" y="47"/>
                  </a:lnTo>
                  <a:lnTo>
                    <a:pt x="156" y="47"/>
                  </a:lnTo>
                  <a:lnTo>
                    <a:pt x="156" y="72"/>
                  </a:lnTo>
                  <a:lnTo>
                    <a:pt x="156" y="72"/>
                  </a:lnTo>
                  <a:lnTo>
                    <a:pt x="140" y="75"/>
                  </a:lnTo>
                  <a:lnTo>
                    <a:pt x="125" y="78"/>
                  </a:lnTo>
                  <a:lnTo>
                    <a:pt x="110" y="84"/>
                  </a:lnTo>
                  <a:lnTo>
                    <a:pt x="95" y="90"/>
                  </a:lnTo>
                  <a:lnTo>
                    <a:pt x="81" y="99"/>
                  </a:lnTo>
                  <a:lnTo>
                    <a:pt x="69" y="108"/>
                  </a:lnTo>
                  <a:lnTo>
                    <a:pt x="56" y="118"/>
                  </a:lnTo>
                  <a:lnTo>
                    <a:pt x="46" y="129"/>
                  </a:lnTo>
                  <a:lnTo>
                    <a:pt x="36" y="141"/>
                  </a:lnTo>
                  <a:lnTo>
                    <a:pt x="27" y="154"/>
                  </a:lnTo>
                  <a:lnTo>
                    <a:pt x="19" y="168"/>
                  </a:lnTo>
                  <a:lnTo>
                    <a:pt x="12" y="183"/>
                  </a:lnTo>
                  <a:lnTo>
                    <a:pt x="7" y="198"/>
                  </a:lnTo>
                  <a:lnTo>
                    <a:pt x="4" y="213"/>
                  </a:lnTo>
                  <a:lnTo>
                    <a:pt x="2" y="230"/>
                  </a:lnTo>
                  <a:lnTo>
                    <a:pt x="0" y="247"/>
                  </a:lnTo>
                  <a:lnTo>
                    <a:pt x="0" y="247"/>
                  </a:lnTo>
                  <a:lnTo>
                    <a:pt x="2" y="265"/>
                  </a:lnTo>
                  <a:lnTo>
                    <a:pt x="4" y="282"/>
                  </a:lnTo>
                  <a:lnTo>
                    <a:pt x="8" y="298"/>
                  </a:lnTo>
                  <a:lnTo>
                    <a:pt x="14" y="314"/>
                  </a:lnTo>
                  <a:lnTo>
                    <a:pt x="22" y="331"/>
                  </a:lnTo>
                  <a:lnTo>
                    <a:pt x="31" y="345"/>
                  </a:lnTo>
                  <a:lnTo>
                    <a:pt x="40" y="359"/>
                  </a:lnTo>
                  <a:lnTo>
                    <a:pt x="52" y="371"/>
                  </a:lnTo>
                  <a:lnTo>
                    <a:pt x="64" y="382"/>
                  </a:lnTo>
                  <a:lnTo>
                    <a:pt x="78" y="392"/>
                  </a:lnTo>
                  <a:lnTo>
                    <a:pt x="92" y="401"/>
                  </a:lnTo>
                  <a:lnTo>
                    <a:pt x="108" y="408"/>
                  </a:lnTo>
                  <a:lnTo>
                    <a:pt x="124" y="415"/>
                  </a:lnTo>
                  <a:lnTo>
                    <a:pt x="140" y="419"/>
                  </a:lnTo>
                  <a:lnTo>
                    <a:pt x="157" y="421"/>
                  </a:lnTo>
                  <a:lnTo>
                    <a:pt x="176" y="422"/>
                  </a:lnTo>
                  <a:lnTo>
                    <a:pt x="176" y="422"/>
                  </a:lnTo>
                  <a:lnTo>
                    <a:pt x="194" y="421"/>
                  </a:lnTo>
                  <a:lnTo>
                    <a:pt x="211" y="419"/>
                  </a:lnTo>
                  <a:lnTo>
                    <a:pt x="227" y="415"/>
                  </a:lnTo>
                  <a:lnTo>
                    <a:pt x="243" y="408"/>
                  </a:lnTo>
                  <a:lnTo>
                    <a:pt x="258" y="401"/>
                  </a:lnTo>
                  <a:lnTo>
                    <a:pt x="274" y="392"/>
                  </a:lnTo>
                  <a:lnTo>
                    <a:pt x="286" y="382"/>
                  </a:lnTo>
                  <a:lnTo>
                    <a:pt x="299" y="371"/>
                  </a:lnTo>
                  <a:lnTo>
                    <a:pt x="311" y="359"/>
                  </a:lnTo>
                  <a:lnTo>
                    <a:pt x="321" y="345"/>
                  </a:lnTo>
                  <a:lnTo>
                    <a:pt x="329" y="331"/>
                  </a:lnTo>
                  <a:lnTo>
                    <a:pt x="337" y="314"/>
                  </a:lnTo>
                  <a:lnTo>
                    <a:pt x="342" y="298"/>
                  </a:lnTo>
                  <a:lnTo>
                    <a:pt x="347" y="282"/>
                  </a:lnTo>
                  <a:lnTo>
                    <a:pt x="350" y="265"/>
                  </a:lnTo>
                  <a:lnTo>
                    <a:pt x="351" y="247"/>
                  </a:lnTo>
                  <a:lnTo>
                    <a:pt x="351" y="247"/>
                  </a:lnTo>
                  <a:lnTo>
                    <a:pt x="350" y="229"/>
                  </a:lnTo>
                  <a:lnTo>
                    <a:pt x="348" y="213"/>
                  </a:lnTo>
                  <a:lnTo>
                    <a:pt x="343" y="198"/>
                  </a:lnTo>
                  <a:lnTo>
                    <a:pt x="338" y="182"/>
                  </a:lnTo>
                  <a:lnTo>
                    <a:pt x="332" y="168"/>
                  </a:lnTo>
                  <a:lnTo>
                    <a:pt x="324" y="154"/>
                  </a:lnTo>
                  <a:lnTo>
                    <a:pt x="315" y="141"/>
                  </a:lnTo>
                  <a:lnTo>
                    <a:pt x="305" y="128"/>
                  </a:lnTo>
                  <a:lnTo>
                    <a:pt x="329" y="103"/>
                  </a:lnTo>
                  <a:close/>
                  <a:moveTo>
                    <a:pt x="176" y="393"/>
                  </a:moveTo>
                  <a:lnTo>
                    <a:pt x="176" y="393"/>
                  </a:lnTo>
                  <a:lnTo>
                    <a:pt x="161" y="392"/>
                  </a:lnTo>
                  <a:lnTo>
                    <a:pt x="147" y="390"/>
                  </a:lnTo>
                  <a:lnTo>
                    <a:pt x="133" y="387"/>
                  </a:lnTo>
                  <a:lnTo>
                    <a:pt x="119" y="381"/>
                  </a:lnTo>
                  <a:lnTo>
                    <a:pt x="106" y="375"/>
                  </a:lnTo>
                  <a:lnTo>
                    <a:pt x="94" y="368"/>
                  </a:lnTo>
                  <a:lnTo>
                    <a:pt x="83" y="360"/>
                  </a:lnTo>
                  <a:lnTo>
                    <a:pt x="73" y="350"/>
                  </a:lnTo>
                  <a:lnTo>
                    <a:pt x="63" y="339"/>
                  </a:lnTo>
                  <a:lnTo>
                    <a:pt x="54" y="328"/>
                  </a:lnTo>
                  <a:lnTo>
                    <a:pt x="48" y="317"/>
                  </a:lnTo>
                  <a:lnTo>
                    <a:pt x="41" y="304"/>
                  </a:lnTo>
                  <a:lnTo>
                    <a:pt x="36" y="290"/>
                  </a:lnTo>
                  <a:lnTo>
                    <a:pt x="33" y="276"/>
                  </a:lnTo>
                  <a:lnTo>
                    <a:pt x="31" y="262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1" y="231"/>
                  </a:lnTo>
                  <a:lnTo>
                    <a:pt x="33" y="217"/>
                  </a:lnTo>
                  <a:lnTo>
                    <a:pt x="36" y="203"/>
                  </a:lnTo>
                  <a:lnTo>
                    <a:pt x="41" y="189"/>
                  </a:lnTo>
                  <a:lnTo>
                    <a:pt x="48" y="177"/>
                  </a:lnTo>
                  <a:lnTo>
                    <a:pt x="54" y="165"/>
                  </a:lnTo>
                  <a:lnTo>
                    <a:pt x="63" y="154"/>
                  </a:lnTo>
                  <a:lnTo>
                    <a:pt x="73" y="143"/>
                  </a:lnTo>
                  <a:lnTo>
                    <a:pt x="83" y="133"/>
                  </a:lnTo>
                  <a:lnTo>
                    <a:pt x="94" y="126"/>
                  </a:lnTo>
                  <a:lnTo>
                    <a:pt x="106" y="118"/>
                  </a:lnTo>
                  <a:lnTo>
                    <a:pt x="119" y="112"/>
                  </a:lnTo>
                  <a:lnTo>
                    <a:pt x="133" y="108"/>
                  </a:lnTo>
                  <a:lnTo>
                    <a:pt x="147" y="103"/>
                  </a:lnTo>
                  <a:lnTo>
                    <a:pt x="161" y="101"/>
                  </a:lnTo>
                  <a:lnTo>
                    <a:pt x="176" y="100"/>
                  </a:lnTo>
                  <a:lnTo>
                    <a:pt x="176" y="100"/>
                  </a:lnTo>
                  <a:lnTo>
                    <a:pt x="191" y="101"/>
                  </a:lnTo>
                  <a:lnTo>
                    <a:pt x="205" y="103"/>
                  </a:lnTo>
                  <a:lnTo>
                    <a:pt x="219" y="108"/>
                  </a:lnTo>
                  <a:lnTo>
                    <a:pt x="233" y="112"/>
                  </a:lnTo>
                  <a:lnTo>
                    <a:pt x="246" y="118"/>
                  </a:lnTo>
                  <a:lnTo>
                    <a:pt x="257" y="126"/>
                  </a:lnTo>
                  <a:lnTo>
                    <a:pt x="268" y="133"/>
                  </a:lnTo>
                  <a:lnTo>
                    <a:pt x="279" y="143"/>
                  </a:lnTo>
                  <a:lnTo>
                    <a:pt x="289" y="154"/>
                  </a:lnTo>
                  <a:lnTo>
                    <a:pt x="296" y="165"/>
                  </a:lnTo>
                  <a:lnTo>
                    <a:pt x="304" y="177"/>
                  </a:lnTo>
                  <a:lnTo>
                    <a:pt x="310" y="189"/>
                  </a:lnTo>
                  <a:lnTo>
                    <a:pt x="315" y="203"/>
                  </a:lnTo>
                  <a:lnTo>
                    <a:pt x="319" y="217"/>
                  </a:lnTo>
                  <a:lnTo>
                    <a:pt x="321" y="231"/>
                  </a:lnTo>
                  <a:lnTo>
                    <a:pt x="322" y="247"/>
                  </a:lnTo>
                  <a:lnTo>
                    <a:pt x="322" y="247"/>
                  </a:lnTo>
                  <a:lnTo>
                    <a:pt x="321" y="262"/>
                  </a:lnTo>
                  <a:lnTo>
                    <a:pt x="319" y="276"/>
                  </a:lnTo>
                  <a:lnTo>
                    <a:pt x="315" y="290"/>
                  </a:lnTo>
                  <a:lnTo>
                    <a:pt x="310" y="304"/>
                  </a:lnTo>
                  <a:lnTo>
                    <a:pt x="304" y="317"/>
                  </a:lnTo>
                  <a:lnTo>
                    <a:pt x="296" y="328"/>
                  </a:lnTo>
                  <a:lnTo>
                    <a:pt x="289" y="339"/>
                  </a:lnTo>
                  <a:lnTo>
                    <a:pt x="279" y="350"/>
                  </a:lnTo>
                  <a:lnTo>
                    <a:pt x="268" y="360"/>
                  </a:lnTo>
                  <a:lnTo>
                    <a:pt x="257" y="368"/>
                  </a:lnTo>
                  <a:lnTo>
                    <a:pt x="246" y="375"/>
                  </a:lnTo>
                  <a:lnTo>
                    <a:pt x="233" y="381"/>
                  </a:lnTo>
                  <a:lnTo>
                    <a:pt x="219" y="387"/>
                  </a:lnTo>
                  <a:lnTo>
                    <a:pt x="205" y="390"/>
                  </a:lnTo>
                  <a:lnTo>
                    <a:pt x="191" y="392"/>
                  </a:lnTo>
                  <a:lnTo>
                    <a:pt x="176" y="393"/>
                  </a:lnTo>
                  <a:lnTo>
                    <a:pt x="176" y="3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4" name="Group 4"/>
          <p:cNvGrpSpPr>
            <a:grpSpLocks noChangeAspect="1"/>
          </p:cNvGrpSpPr>
          <p:nvPr/>
        </p:nvGrpSpPr>
        <p:grpSpPr bwMode="auto">
          <a:xfrm>
            <a:off x="6838296" y="2751302"/>
            <a:ext cx="1153180" cy="1158666"/>
            <a:chOff x="4740" y="602"/>
            <a:chExt cx="210" cy="211"/>
          </a:xfrm>
          <a:solidFill>
            <a:schemeClr val="bg1"/>
          </a:solidFill>
        </p:grpSpPr>
        <p:sp>
          <p:nvSpPr>
            <p:cNvPr id="15" name="Freeform 5"/>
            <p:cNvSpPr>
              <a:spLocks/>
            </p:cNvSpPr>
            <p:nvPr/>
          </p:nvSpPr>
          <p:spPr bwMode="auto">
            <a:xfrm>
              <a:off x="4771" y="632"/>
              <a:ext cx="148" cy="151"/>
            </a:xfrm>
            <a:custGeom>
              <a:avLst/>
              <a:gdLst>
                <a:gd name="T0" fmla="*/ 200 w 298"/>
                <a:gd name="T1" fmla="*/ 26 h 303"/>
                <a:gd name="T2" fmla="*/ 196 w 298"/>
                <a:gd name="T3" fmla="*/ 27 h 303"/>
                <a:gd name="T4" fmla="*/ 192 w 298"/>
                <a:gd name="T5" fmla="*/ 32 h 303"/>
                <a:gd name="T6" fmla="*/ 191 w 298"/>
                <a:gd name="T7" fmla="*/ 36 h 303"/>
                <a:gd name="T8" fmla="*/ 193 w 298"/>
                <a:gd name="T9" fmla="*/ 43 h 303"/>
                <a:gd name="T10" fmla="*/ 207 w 298"/>
                <a:gd name="T11" fmla="*/ 57 h 303"/>
                <a:gd name="T12" fmla="*/ 44 w 298"/>
                <a:gd name="T13" fmla="*/ 200 h 303"/>
                <a:gd name="T14" fmla="*/ 41 w 298"/>
                <a:gd name="T15" fmla="*/ 198 h 303"/>
                <a:gd name="T16" fmla="*/ 36 w 298"/>
                <a:gd name="T17" fmla="*/ 196 h 303"/>
                <a:gd name="T18" fmla="*/ 30 w 298"/>
                <a:gd name="T19" fmla="*/ 196 h 303"/>
                <a:gd name="T20" fmla="*/ 26 w 298"/>
                <a:gd name="T21" fmla="*/ 200 h 303"/>
                <a:gd name="T22" fmla="*/ 1 w 298"/>
                <a:gd name="T23" fmla="*/ 289 h 303"/>
                <a:gd name="T24" fmla="*/ 0 w 298"/>
                <a:gd name="T25" fmla="*/ 292 h 303"/>
                <a:gd name="T26" fmla="*/ 1 w 298"/>
                <a:gd name="T27" fmla="*/ 298 h 303"/>
                <a:gd name="T28" fmla="*/ 4 w 298"/>
                <a:gd name="T29" fmla="*/ 302 h 303"/>
                <a:gd name="T30" fmla="*/ 10 w 298"/>
                <a:gd name="T31" fmla="*/ 303 h 303"/>
                <a:gd name="T32" fmla="*/ 98 w 298"/>
                <a:gd name="T33" fmla="*/ 278 h 303"/>
                <a:gd name="T34" fmla="*/ 101 w 298"/>
                <a:gd name="T35" fmla="*/ 277 h 303"/>
                <a:gd name="T36" fmla="*/ 106 w 298"/>
                <a:gd name="T37" fmla="*/ 272 h 303"/>
                <a:gd name="T38" fmla="*/ 107 w 298"/>
                <a:gd name="T39" fmla="*/ 267 h 303"/>
                <a:gd name="T40" fmla="*/ 105 w 298"/>
                <a:gd name="T41" fmla="*/ 262 h 303"/>
                <a:gd name="T42" fmla="*/ 91 w 298"/>
                <a:gd name="T43" fmla="*/ 247 h 303"/>
                <a:gd name="T44" fmla="*/ 243 w 298"/>
                <a:gd name="T45" fmla="*/ 91 h 303"/>
                <a:gd name="T46" fmla="*/ 255 w 298"/>
                <a:gd name="T47" fmla="*/ 103 h 303"/>
                <a:gd name="T48" fmla="*/ 257 w 298"/>
                <a:gd name="T49" fmla="*/ 105 h 303"/>
                <a:gd name="T50" fmla="*/ 263 w 298"/>
                <a:gd name="T51" fmla="*/ 108 h 303"/>
                <a:gd name="T52" fmla="*/ 269 w 298"/>
                <a:gd name="T53" fmla="*/ 107 h 303"/>
                <a:gd name="T54" fmla="*/ 272 w 298"/>
                <a:gd name="T55" fmla="*/ 103 h 303"/>
                <a:gd name="T56" fmla="*/ 297 w 298"/>
                <a:gd name="T57" fmla="*/ 14 h 303"/>
                <a:gd name="T58" fmla="*/ 298 w 298"/>
                <a:gd name="T59" fmla="*/ 10 h 303"/>
                <a:gd name="T60" fmla="*/ 297 w 298"/>
                <a:gd name="T61" fmla="*/ 5 h 303"/>
                <a:gd name="T62" fmla="*/ 293 w 298"/>
                <a:gd name="T63" fmla="*/ 1 h 303"/>
                <a:gd name="T64" fmla="*/ 288 w 298"/>
                <a:gd name="T65" fmla="*/ 0 h 303"/>
                <a:gd name="T66" fmla="*/ 284 w 298"/>
                <a:gd name="T67" fmla="*/ 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8" h="303">
                  <a:moveTo>
                    <a:pt x="284" y="1"/>
                  </a:moveTo>
                  <a:lnTo>
                    <a:pt x="200" y="26"/>
                  </a:lnTo>
                  <a:lnTo>
                    <a:pt x="200" y="26"/>
                  </a:lnTo>
                  <a:lnTo>
                    <a:pt x="196" y="27"/>
                  </a:lnTo>
                  <a:lnTo>
                    <a:pt x="193" y="28"/>
                  </a:lnTo>
                  <a:lnTo>
                    <a:pt x="192" y="32"/>
                  </a:lnTo>
                  <a:lnTo>
                    <a:pt x="191" y="34"/>
                  </a:lnTo>
                  <a:lnTo>
                    <a:pt x="191" y="36"/>
                  </a:lnTo>
                  <a:lnTo>
                    <a:pt x="192" y="39"/>
                  </a:lnTo>
                  <a:lnTo>
                    <a:pt x="193" y="43"/>
                  </a:lnTo>
                  <a:lnTo>
                    <a:pt x="195" y="46"/>
                  </a:lnTo>
                  <a:lnTo>
                    <a:pt x="207" y="57"/>
                  </a:lnTo>
                  <a:lnTo>
                    <a:pt x="56" y="212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1" y="198"/>
                  </a:lnTo>
                  <a:lnTo>
                    <a:pt x="38" y="196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30" y="196"/>
                  </a:lnTo>
                  <a:lnTo>
                    <a:pt x="28" y="198"/>
                  </a:lnTo>
                  <a:lnTo>
                    <a:pt x="26" y="200"/>
                  </a:lnTo>
                  <a:lnTo>
                    <a:pt x="25" y="203"/>
                  </a:lnTo>
                  <a:lnTo>
                    <a:pt x="1" y="289"/>
                  </a:lnTo>
                  <a:lnTo>
                    <a:pt x="1" y="289"/>
                  </a:lnTo>
                  <a:lnTo>
                    <a:pt x="0" y="292"/>
                  </a:lnTo>
                  <a:lnTo>
                    <a:pt x="0" y="295"/>
                  </a:lnTo>
                  <a:lnTo>
                    <a:pt x="1" y="298"/>
                  </a:lnTo>
                  <a:lnTo>
                    <a:pt x="2" y="301"/>
                  </a:lnTo>
                  <a:lnTo>
                    <a:pt x="4" y="302"/>
                  </a:lnTo>
                  <a:lnTo>
                    <a:pt x="8" y="303"/>
                  </a:lnTo>
                  <a:lnTo>
                    <a:pt x="10" y="303"/>
                  </a:lnTo>
                  <a:lnTo>
                    <a:pt x="14" y="302"/>
                  </a:lnTo>
                  <a:lnTo>
                    <a:pt x="98" y="278"/>
                  </a:lnTo>
                  <a:lnTo>
                    <a:pt x="98" y="278"/>
                  </a:lnTo>
                  <a:lnTo>
                    <a:pt x="101" y="277"/>
                  </a:lnTo>
                  <a:lnTo>
                    <a:pt x="105" y="275"/>
                  </a:lnTo>
                  <a:lnTo>
                    <a:pt x="106" y="272"/>
                  </a:lnTo>
                  <a:lnTo>
                    <a:pt x="107" y="270"/>
                  </a:lnTo>
                  <a:lnTo>
                    <a:pt x="107" y="267"/>
                  </a:lnTo>
                  <a:lnTo>
                    <a:pt x="107" y="264"/>
                  </a:lnTo>
                  <a:lnTo>
                    <a:pt x="105" y="262"/>
                  </a:lnTo>
                  <a:lnTo>
                    <a:pt x="103" y="258"/>
                  </a:lnTo>
                  <a:lnTo>
                    <a:pt x="91" y="247"/>
                  </a:lnTo>
                  <a:lnTo>
                    <a:pt x="243" y="91"/>
                  </a:lnTo>
                  <a:lnTo>
                    <a:pt x="243" y="91"/>
                  </a:lnTo>
                  <a:lnTo>
                    <a:pt x="243" y="91"/>
                  </a:lnTo>
                  <a:lnTo>
                    <a:pt x="255" y="103"/>
                  </a:lnTo>
                  <a:lnTo>
                    <a:pt x="255" y="103"/>
                  </a:lnTo>
                  <a:lnTo>
                    <a:pt x="257" y="105"/>
                  </a:lnTo>
                  <a:lnTo>
                    <a:pt x="260" y="107"/>
                  </a:lnTo>
                  <a:lnTo>
                    <a:pt x="263" y="108"/>
                  </a:lnTo>
                  <a:lnTo>
                    <a:pt x="265" y="107"/>
                  </a:lnTo>
                  <a:lnTo>
                    <a:pt x="269" y="107"/>
                  </a:lnTo>
                  <a:lnTo>
                    <a:pt x="271" y="105"/>
                  </a:lnTo>
                  <a:lnTo>
                    <a:pt x="272" y="103"/>
                  </a:lnTo>
                  <a:lnTo>
                    <a:pt x="274" y="100"/>
                  </a:lnTo>
                  <a:lnTo>
                    <a:pt x="297" y="14"/>
                  </a:lnTo>
                  <a:lnTo>
                    <a:pt x="297" y="14"/>
                  </a:lnTo>
                  <a:lnTo>
                    <a:pt x="298" y="10"/>
                  </a:lnTo>
                  <a:lnTo>
                    <a:pt x="298" y="7"/>
                  </a:lnTo>
                  <a:lnTo>
                    <a:pt x="297" y="5"/>
                  </a:lnTo>
                  <a:lnTo>
                    <a:pt x="296" y="3"/>
                  </a:lnTo>
                  <a:lnTo>
                    <a:pt x="293" y="1"/>
                  </a:lnTo>
                  <a:lnTo>
                    <a:pt x="290" y="0"/>
                  </a:lnTo>
                  <a:lnTo>
                    <a:pt x="288" y="0"/>
                  </a:lnTo>
                  <a:lnTo>
                    <a:pt x="284" y="1"/>
                  </a:lnTo>
                  <a:lnTo>
                    <a:pt x="2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4817" y="602"/>
              <a:ext cx="133" cy="131"/>
            </a:xfrm>
            <a:custGeom>
              <a:avLst/>
              <a:gdLst>
                <a:gd name="T0" fmla="*/ 0 w 264"/>
                <a:gd name="T1" fmla="*/ 36 h 262"/>
                <a:gd name="T2" fmla="*/ 224 w 264"/>
                <a:gd name="T3" fmla="*/ 36 h 262"/>
                <a:gd name="T4" fmla="*/ 224 w 264"/>
                <a:gd name="T5" fmla="*/ 36 h 262"/>
                <a:gd name="T6" fmla="*/ 226 w 264"/>
                <a:gd name="T7" fmla="*/ 37 h 262"/>
                <a:gd name="T8" fmla="*/ 227 w 264"/>
                <a:gd name="T9" fmla="*/ 39 h 262"/>
                <a:gd name="T10" fmla="*/ 227 w 264"/>
                <a:gd name="T11" fmla="*/ 262 h 262"/>
                <a:gd name="T12" fmla="*/ 264 w 264"/>
                <a:gd name="T13" fmla="*/ 262 h 262"/>
                <a:gd name="T14" fmla="*/ 264 w 264"/>
                <a:gd name="T15" fmla="*/ 39 h 262"/>
                <a:gd name="T16" fmla="*/ 264 w 264"/>
                <a:gd name="T17" fmla="*/ 39 h 262"/>
                <a:gd name="T18" fmla="*/ 263 w 264"/>
                <a:gd name="T19" fmla="*/ 31 h 262"/>
                <a:gd name="T20" fmla="*/ 261 w 264"/>
                <a:gd name="T21" fmla="*/ 24 h 262"/>
                <a:gd name="T22" fmla="*/ 257 w 264"/>
                <a:gd name="T23" fmla="*/ 17 h 262"/>
                <a:gd name="T24" fmla="*/ 252 w 264"/>
                <a:gd name="T25" fmla="*/ 11 h 262"/>
                <a:gd name="T26" fmla="*/ 246 w 264"/>
                <a:gd name="T27" fmla="*/ 7 h 262"/>
                <a:gd name="T28" fmla="*/ 239 w 264"/>
                <a:gd name="T29" fmla="*/ 3 h 262"/>
                <a:gd name="T30" fmla="*/ 232 w 264"/>
                <a:gd name="T31" fmla="*/ 1 h 262"/>
                <a:gd name="T32" fmla="*/ 224 w 264"/>
                <a:gd name="T33" fmla="*/ 0 h 262"/>
                <a:gd name="T34" fmla="*/ 0 w 264"/>
                <a:gd name="T35" fmla="*/ 0 h 262"/>
                <a:gd name="T36" fmla="*/ 0 w 264"/>
                <a:gd name="T37" fmla="*/ 36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4" h="262">
                  <a:moveTo>
                    <a:pt x="0" y="36"/>
                  </a:moveTo>
                  <a:lnTo>
                    <a:pt x="224" y="36"/>
                  </a:lnTo>
                  <a:lnTo>
                    <a:pt x="224" y="36"/>
                  </a:lnTo>
                  <a:lnTo>
                    <a:pt x="226" y="37"/>
                  </a:lnTo>
                  <a:lnTo>
                    <a:pt x="227" y="39"/>
                  </a:lnTo>
                  <a:lnTo>
                    <a:pt x="227" y="262"/>
                  </a:lnTo>
                  <a:lnTo>
                    <a:pt x="264" y="262"/>
                  </a:lnTo>
                  <a:lnTo>
                    <a:pt x="264" y="39"/>
                  </a:lnTo>
                  <a:lnTo>
                    <a:pt x="264" y="39"/>
                  </a:lnTo>
                  <a:lnTo>
                    <a:pt x="263" y="31"/>
                  </a:lnTo>
                  <a:lnTo>
                    <a:pt x="261" y="24"/>
                  </a:lnTo>
                  <a:lnTo>
                    <a:pt x="257" y="17"/>
                  </a:lnTo>
                  <a:lnTo>
                    <a:pt x="252" y="11"/>
                  </a:lnTo>
                  <a:lnTo>
                    <a:pt x="246" y="7"/>
                  </a:lnTo>
                  <a:lnTo>
                    <a:pt x="239" y="3"/>
                  </a:lnTo>
                  <a:lnTo>
                    <a:pt x="232" y="1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4740" y="681"/>
              <a:ext cx="130" cy="132"/>
            </a:xfrm>
            <a:custGeom>
              <a:avLst/>
              <a:gdLst>
                <a:gd name="T0" fmla="*/ 260 w 260"/>
                <a:gd name="T1" fmla="*/ 227 h 263"/>
                <a:gd name="T2" fmla="*/ 40 w 260"/>
                <a:gd name="T3" fmla="*/ 227 h 263"/>
                <a:gd name="T4" fmla="*/ 40 w 260"/>
                <a:gd name="T5" fmla="*/ 227 h 263"/>
                <a:gd name="T6" fmla="*/ 38 w 260"/>
                <a:gd name="T7" fmla="*/ 226 h 263"/>
                <a:gd name="T8" fmla="*/ 36 w 260"/>
                <a:gd name="T9" fmla="*/ 224 h 263"/>
                <a:gd name="T10" fmla="*/ 36 w 260"/>
                <a:gd name="T11" fmla="*/ 0 h 263"/>
                <a:gd name="T12" fmla="*/ 0 w 260"/>
                <a:gd name="T13" fmla="*/ 0 h 263"/>
                <a:gd name="T14" fmla="*/ 0 w 260"/>
                <a:gd name="T15" fmla="*/ 224 h 263"/>
                <a:gd name="T16" fmla="*/ 0 w 260"/>
                <a:gd name="T17" fmla="*/ 224 h 263"/>
                <a:gd name="T18" fmla="*/ 1 w 260"/>
                <a:gd name="T19" fmla="*/ 232 h 263"/>
                <a:gd name="T20" fmla="*/ 3 w 260"/>
                <a:gd name="T21" fmla="*/ 239 h 263"/>
                <a:gd name="T22" fmla="*/ 7 w 260"/>
                <a:gd name="T23" fmla="*/ 246 h 263"/>
                <a:gd name="T24" fmla="*/ 12 w 260"/>
                <a:gd name="T25" fmla="*/ 252 h 263"/>
                <a:gd name="T26" fmla="*/ 18 w 260"/>
                <a:gd name="T27" fmla="*/ 257 h 263"/>
                <a:gd name="T28" fmla="*/ 25 w 260"/>
                <a:gd name="T29" fmla="*/ 260 h 263"/>
                <a:gd name="T30" fmla="*/ 32 w 260"/>
                <a:gd name="T31" fmla="*/ 262 h 263"/>
                <a:gd name="T32" fmla="*/ 40 w 260"/>
                <a:gd name="T33" fmla="*/ 263 h 263"/>
                <a:gd name="T34" fmla="*/ 260 w 260"/>
                <a:gd name="T35" fmla="*/ 263 h 263"/>
                <a:gd name="T36" fmla="*/ 260 w 260"/>
                <a:gd name="T37" fmla="*/ 227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0" h="263">
                  <a:moveTo>
                    <a:pt x="260" y="227"/>
                  </a:moveTo>
                  <a:lnTo>
                    <a:pt x="40" y="227"/>
                  </a:lnTo>
                  <a:lnTo>
                    <a:pt x="40" y="227"/>
                  </a:lnTo>
                  <a:lnTo>
                    <a:pt x="38" y="226"/>
                  </a:lnTo>
                  <a:lnTo>
                    <a:pt x="36" y="224"/>
                  </a:lnTo>
                  <a:lnTo>
                    <a:pt x="36" y="0"/>
                  </a:lnTo>
                  <a:lnTo>
                    <a:pt x="0" y="0"/>
                  </a:lnTo>
                  <a:lnTo>
                    <a:pt x="0" y="224"/>
                  </a:lnTo>
                  <a:lnTo>
                    <a:pt x="0" y="224"/>
                  </a:lnTo>
                  <a:lnTo>
                    <a:pt x="1" y="232"/>
                  </a:lnTo>
                  <a:lnTo>
                    <a:pt x="3" y="239"/>
                  </a:lnTo>
                  <a:lnTo>
                    <a:pt x="7" y="246"/>
                  </a:lnTo>
                  <a:lnTo>
                    <a:pt x="12" y="252"/>
                  </a:lnTo>
                  <a:lnTo>
                    <a:pt x="18" y="257"/>
                  </a:lnTo>
                  <a:lnTo>
                    <a:pt x="25" y="260"/>
                  </a:lnTo>
                  <a:lnTo>
                    <a:pt x="32" y="262"/>
                  </a:lnTo>
                  <a:lnTo>
                    <a:pt x="40" y="263"/>
                  </a:lnTo>
                  <a:lnTo>
                    <a:pt x="260" y="263"/>
                  </a:lnTo>
                  <a:lnTo>
                    <a:pt x="260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8" name="Group 4"/>
          <p:cNvGrpSpPr>
            <a:grpSpLocks noChangeAspect="1"/>
          </p:cNvGrpSpPr>
          <p:nvPr/>
        </p:nvGrpSpPr>
        <p:grpSpPr bwMode="auto">
          <a:xfrm>
            <a:off x="9456366" y="2767470"/>
            <a:ext cx="1192584" cy="1126330"/>
            <a:chOff x="2475" y="2315"/>
            <a:chExt cx="216" cy="204"/>
          </a:xfrm>
          <a:solidFill>
            <a:schemeClr val="bg1"/>
          </a:solidFill>
        </p:grpSpPr>
        <p:sp>
          <p:nvSpPr>
            <p:cNvPr id="19" name="Freeform 5"/>
            <p:cNvSpPr>
              <a:spLocks/>
            </p:cNvSpPr>
            <p:nvPr/>
          </p:nvSpPr>
          <p:spPr bwMode="auto">
            <a:xfrm>
              <a:off x="2475" y="2384"/>
              <a:ext cx="216" cy="135"/>
            </a:xfrm>
            <a:custGeom>
              <a:avLst/>
              <a:gdLst>
                <a:gd name="T0" fmla="*/ 385 w 432"/>
                <a:gd name="T1" fmla="*/ 191 h 269"/>
                <a:gd name="T2" fmla="*/ 229 w 432"/>
                <a:gd name="T3" fmla="*/ 131 h 269"/>
                <a:gd name="T4" fmla="*/ 320 w 432"/>
                <a:gd name="T5" fmla="*/ 93 h 269"/>
                <a:gd name="T6" fmla="*/ 320 w 432"/>
                <a:gd name="T7" fmla="*/ 34 h 269"/>
                <a:gd name="T8" fmla="*/ 317 w 432"/>
                <a:gd name="T9" fmla="*/ 21 h 269"/>
                <a:gd name="T10" fmla="*/ 310 w 432"/>
                <a:gd name="T11" fmla="*/ 10 h 269"/>
                <a:gd name="T12" fmla="*/ 299 w 432"/>
                <a:gd name="T13" fmla="*/ 3 h 269"/>
                <a:gd name="T14" fmla="*/ 286 w 432"/>
                <a:gd name="T15" fmla="*/ 0 h 269"/>
                <a:gd name="T16" fmla="*/ 112 w 432"/>
                <a:gd name="T17" fmla="*/ 61 h 269"/>
                <a:gd name="T18" fmla="*/ 113 w 432"/>
                <a:gd name="T19" fmla="*/ 67 h 269"/>
                <a:gd name="T20" fmla="*/ 118 w 432"/>
                <a:gd name="T21" fmla="*/ 79 h 269"/>
                <a:gd name="T22" fmla="*/ 127 w 432"/>
                <a:gd name="T23" fmla="*/ 88 h 269"/>
                <a:gd name="T24" fmla="*/ 139 w 432"/>
                <a:gd name="T25" fmla="*/ 93 h 269"/>
                <a:gd name="T26" fmla="*/ 203 w 432"/>
                <a:gd name="T27" fmla="*/ 93 h 269"/>
                <a:gd name="T28" fmla="*/ 47 w 432"/>
                <a:gd name="T29" fmla="*/ 131 h 269"/>
                <a:gd name="T30" fmla="*/ 0 w 432"/>
                <a:gd name="T31" fmla="*/ 191 h 269"/>
                <a:gd name="T32" fmla="*/ 0 w 432"/>
                <a:gd name="T33" fmla="*/ 243 h 269"/>
                <a:gd name="T34" fmla="*/ 2 w 432"/>
                <a:gd name="T35" fmla="*/ 253 h 269"/>
                <a:gd name="T36" fmla="*/ 7 w 432"/>
                <a:gd name="T37" fmla="*/ 262 h 269"/>
                <a:gd name="T38" fmla="*/ 16 w 432"/>
                <a:gd name="T39" fmla="*/ 267 h 269"/>
                <a:gd name="T40" fmla="*/ 26 w 432"/>
                <a:gd name="T41" fmla="*/ 269 h 269"/>
                <a:gd name="T42" fmla="*/ 121 w 432"/>
                <a:gd name="T43" fmla="*/ 217 h 269"/>
                <a:gd name="T44" fmla="*/ 121 w 432"/>
                <a:gd name="T45" fmla="*/ 212 h 269"/>
                <a:gd name="T46" fmla="*/ 117 w 432"/>
                <a:gd name="T47" fmla="*/ 202 h 269"/>
                <a:gd name="T48" fmla="*/ 110 w 432"/>
                <a:gd name="T49" fmla="*/ 196 h 269"/>
                <a:gd name="T50" fmla="*/ 100 w 432"/>
                <a:gd name="T51" fmla="*/ 191 h 269"/>
                <a:gd name="T52" fmla="*/ 73 w 432"/>
                <a:gd name="T53" fmla="*/ 191 h 269"/>
                <a:gd name="T54" fmla="*/ 203 w 432"/>
                <a:gd name="T55" fmla="*/ 157 h 269"/>
                <a:gd name="T56" fmla="*/ 155 w 432"/>
                <a:gd name="T57" fmla="*/ 191 h 269"/>
                <a:gd name="T58" fmla="*/ 155 w 432"/>
                <a:gd name="T59" fmla="*/ 243 h 269"/>
                <a:gd name="T60" fmla="*/ 158 w 432"/>
                <a:gd name="T61" fmla="*/ 253 h 269"/>
                <a:gd name="T62" fmla="*/ 163 w 432"/>
                <a:gd name="T63" fmla="*/ 262 h 269"/>
                <a:gd name="T64" fmla="*/ 172 w 432"/>
                <a:gd name="T65" fmla="*/ 267 h 269"/>
                <a:gd name="T66" fmla="*/ 181 w 432"/>
                <a:gd name="T67" fmla="*/ 269 h 269"/>
                <a:gd name="T68" fmla="*/ 277 w 432"/>
                <a:gd name="T69" fmla="*/ 217 h 269"/>
                <a:gd name="T70" fmla="*/ 275 w 432"/>
                <a:gd name="T71" fmla="*/ 212 h 269"/>
                <a:gd name="T72" fmla="*/ 272 w 432"/>
                <a:gd name="T73" fmla="*/ 202 h 269"/>
                <a:gd name="T74" fmla="*/ 265 w 432"/>
                <a:gd name="T75" fmla="*/ 196 h 269"/>
                <a:gd name="T76" fmla="*/ 256 w 432"/>
                <a:gd name="T77" fmla="*/ 191 h 269"/>
                <a:gd name="T78" fmla="*/ 229 w 432"/>
                <a:gd name="T79" fmla="*/ 191 h 269"/>
                <a:gd name="T80" fmla="*/ 359 w 432"/>
                <a:gd name="T81" fmla="*/ 157 h 269"/>
                <a:gd name="T82" fmla="*/ 311 w 432"/>
                <a:gd name="T83" fmla="*/ 191 h 269"/>
                <a:gd name="T84" fmla="*/ 311 w 432"/>
                <a:gd name="T85" fmla="*/ 243 h 269"/>
                <a:gd name="T86" fmla="*/ 313 w 432"/>
                <a:gd name="T87" fmla="*/ 253 h 269"/>
                <a:gd name="T88" fmla="*/ 319 w 432"/>
                <a:gd name="T89" fmla="*/ 262 h 269"/>
                <a:gd name="T90" fmla="*/ 326 w 432"/>
                <a:gd name="T91" fmla="*/ 267 h 269"/>
                <a:gd name="T92" fmla="*/ 337 w 432"/>
                <a:gd name="T93" fmla="*/ 269 h 269"/>
                <a:gd name="T94" fmla="*/ 432 w 432"/>
                <a:gd name="T95" fmla="*/ 217 h 269"/>
                <a:gd name="T96" fmla="*/ 431 w 432"/>
                <a:gd name="T97" fmla="*/ 212 h 269"/>
                <a:gd name="T98" fmla="*/ 427 w 432"/>
                <a:gd name="T99" fmla="*/ 202 h 269"/>
                <a:gd name="T100" fmla="*/ 420 w 432"/>
                <a:gd name="T101" fmla="*/ 196 h 269"/>
                <a:gd name="T102" fmla="*/ 411 w 432"/>
                <a:gd name="T103" fmla="*/ 191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2" h="269">
                  <a:moveTo>
                    <a:pt x="406" y="191"/>
                  </a:moveTo>
                  <a:lnTo>
                    <a:pt x="385" y="191"/>
                  </a:lnTo>
                  <a:lnTo>
                    <a:pt x="385" y="131"/>
                  </a:lnTo>
                  <a:lnTo>
                    <a:pt x="229" y="131"/>
                  </a:lnTo>
                  <a:lnTo>
                    <a:pt x="229" y="93"/>
                  </a:lnTo>
                  <a:lnTo>
                    <a:pt x="320" y="93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19" y="27"/>
                  </a:lnTo>
                  <a:lnTo>
                    <a:pt x="317" y="21"/>
                  </a:lnTo>
                  <a:lnTo>
                    <a:pt x="314" y="15"/>
                  </a:lnTo>
                  <a:lnTo>
                    <a:pt x="310" y="10"/>
                  </a:lnTo>
                  <a:lnTo>
                    <a:pt x="305" y="7"/>
                  </a:lnTo>
                  <a:lnTo>
                    <a:pt x="299" y="3"/>
                  </a:lnTo>
                  <a:lnTo>
                    <a:pt x="293" y="1"/>
                  </a:lnTo>
                  <a:lnTo>
                    <a:pt x="286" y="0"/>
                  </a:lnTo>
                  <a:lnTo>
                    <a:pt x="112" y="0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3" y="67"/>
                  </a:lnTo>
                  <a:lnTo>
                    <a:pt x="115" y="74"/>
                  </a:lnTo>
                  <a:lnTo>
                    <a:pt x="118" y="79"/>
                  </a:lnTo>
                  <a:lnTo>
                    <a:pt x="122" y="84"/>
                  </a:lnTo>
                  <a:lnTo>
                    <a:pt x="127" y="88"/>
                  </a:lnTo>
                  <a:lnTo>
                    <a:pt x="133" y="91"/>
                  </a:lnTo>
                  <a:lnTo>
                    <a:pt x="139" y="93"/>
                  </a:lnTo>
                  <a:lnTo>
                    <a:pt x="146" y="93"/>
                  </a:lnTo>
                  <a:lnTo>
                    <a:pt x="203" y="93"/>
                  </a:lnTo>
                  <a:lnTo>
                    <a:pt x="203" y="131"/>
                  </a:lnTo>
                  <a:lnTo>
                    <a:pt x="47" y="131"/>
                  </a:lnTo>
                  <a:lnTo>
                    <a:pt x="47" y="191"/>
                  </a:lnTo>
                  <a:lnTo>
                    <a:pt x="0" y="191"/>
                  </a:lnTo>
                  <a:lnTo>
                    <a:pt x="0" y="243"/>
                  </a:lnTo>
                  <a:lnTo>
                    <a:pt x="0" y="243"/>
                  </a:lnTo>
                  <a:lnTo>
                    <a:pt x="1" y="248"/>
                  </a:lnTo>
                  <a:lnTo>
                    <a:pt x="2" y="253"/>
                  </a:lnTo>
                  <a:lnTo>
                    <a:pt x="5" y="257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6" y="267"/>
                  </a:lnTo>
                  <a:lnTo>
                    <a:pt x="21" y="268"/>
                  </a:lnTo>
                  <a:lnTo>
                    <a:pt x="26" y="269"/>
                  </a:lnTo>
                  <a:lnTo>
                    <a:pt x="121" y="269"/>
                  </a:lnTo>
                  <a:lnTo>
                    <a:pt x="121" y="217"/>
                  </a:lnTo>
                  <a:lnTo>
                    <a:pt x="121" y="217"/>
                  </a:lnTo>
                  <a:lnTo>
                    <a:pt x="121" y="212"/>
                  </a:lnTo>
                  <a:lnTo>
                    <a:pt x="119" y="207"/>
                  </a:lnTo>
                  <a:lnTo>
                    <a:pt x="117" y="202"/>
                  </a:lnTo>
                  <a:lnTo>
                    <a:pt x="113" y="199"/>
                  </a:lnTo>
                  <a:lnTo>
                    <a:pt x="110" y="196"/>
                  </a:lnTo>
                  <a:lnTo>
                    <a:pt x="106" y="194"/>
                  </a:lnTo>
                  <a:lnTo>
                    <a:pt x="100" y="191"/>
                  </a:lnTo>
                  <a:lnTo>
                    <a:pt x="95" y="191"/>
                  </a:lnTo>
                  <a:lnTo>
                    <a:pt x="73" y="191"/>
                  </a:lnTo>
                  <a:lnTo>
                    <a:pt x="73" y="157"/>
                  </a:lnTo>
                  <a:lnTo>
                    <a:pt x="203" y="157"/>
                  </a:lnTo>
                  <a:lnTo>
                    <a:pt x="203" y="191"/>
                  </a:lnTo>
                  <a:lnTo>
                    <a:pt x="155" y="191"/>
                  </a:lnTo>
                  <a:lnTo>
                    <a:pt x="155" y="243"/>
                  </a:lnTo>
                  <a:lnTo>
                    <a:pt x="155" y="243"/>
                  </a:lnTo>
                  <a:lnTo>
                    <a:pt x="157" y="248"/>
                  </a:lnTo>
                  <a:lnTo>
                    <a:pt x="158" y="253"/>
                  </a:lnTo>
                  <a:lnTo>
                    <a:pt x="160" y="257"/>
                  </a:lnTo>
                  <a:lnTo>
                    <a:pt x="163" y="262"/>
                  </a:lnTo>
                  <a:lnTo>
                    <a:pt x="167" y="264"/>
                  </a:lnTo>
                  <a:lnTo>
                    <a:pt x="172" y="267"/>
                  </a:lnTo>
                  <a:lnTo>
                    <a:pt x="176" y="268"/>
                  </a:lnTo>
                  <a:lnTo>
                    <a:pt x="181" y="269"/>
                  </a:lnTo>
                  <a:lnTo>
                    <a:pt x="277" y="269"/>
                  </a:lnTo>
                  <a:lnTo>
                    <a:pt x="277" y="217"/>
                  </a:lnTo>
                  <a:lnTo>
                    <a:pt x="277" y="217"/>
                  </a:lnTo>
                  <a:lnTo>
                    <a:pt x="275" y="212"/>
                  </a:lnTo>
                  <a:lnTo>
                    <a:pt x="274" y="207"/>
                  </a:lnTo>
                  <a:lnTo>
                    <a:pt x="272" y="202"/>
                  </a:lnTo>
                  <a:lnTo>
                    <a:pt x="269" y="199"/>
                  </a:lnTo>
                  <a:lnTo>
                    <a:pt x="265" y="196"/>
                  </a:lnTo>
                  <a:lnTo>
                    <a:pt x="260" y="194"/>
                  </a:lnTo>
                  <a:lnTo>
                    <a:pt x="256" y="191"/>
                  </a:lnTo>
                  <a:lnTo>
                    <a:pt x="251" y="191"/>
                  </a:lnTo>
                  <a:lnTo>
                    <a:pt x="229" y="191"/>
                  </a:lnTo>
                  <a:lnTo>
                    <a:pt x="229" y="157"/>
                  </a:lnTo>
                  <a:lnTo>
                    <a:pt x="359" y="157"/>
                  </a:lnTo>
                  <a:lnTo>
                    <a:pt x="359" y="191"/>
                  </a:lnTo>
                  <a:lnTo>
                    <a:pt x="311" y="191"/>
                  </a:lnTo>
                  <a:lnTo>
                    <a:pt x="311" y="243"/>
                  </a:lnTo>
                  <a:lnTo>
                    <a:pt x="311" y="243"/>
                  </a:lnTo>
                  <a:lnTo>
                    <a:pt x="311" y="248"/>
                  </a:lnTo>
                  <a:lnTo>
                    <a:pt x="313" y="253"/>
                  </a:lnTo>
                  <a:lnTo>
                    <a:pt x="315" y="257"/>
                  </a:lnTo>
                  <a:lnTo>
                    <a:pt x="319" y="262"/>
                  </a:lnTo>
                  <a:lnTo>
                    <a:pt x="322" y="264"/>
                  </a:lnTo>
                  <a:lnTo>
                    <a:pt x="326" y="267"/>
                  </a:lnTo>
                  <a:lnTo>
                    <a:pt x="332" y="268"/>
                  </a:lnTo>
                  <a:lnTo>
                    <a:pt x="337" y="269"/>
                  </a:lnTo>
                  <a:lnTo>
                    <a:pt x="432" y="269"/>
                  </a:lnTo>
                  <a:lnTo>
                    <a:pt x="432" y="217"/>
                  </a:lnTo>
                  <a:lnTo>
                    <a:pt x="432" y="217"/>
                  </a:lnTo>
                  <a:lnTo>
                    <a:pt x="431" y="212"/>
                  </a:lnTo>
                  <a:lnTo>
                    <a:pt x="430" y="207"/>
                  </a:lnTo>
                  <a:lnTo>
                    <a:pt x="427" y="202"/>
                  </a:lnTo>
                  <a:lnTo>
                    <a:pt x="425" y="199"/>
                  </a:lnTo>
                  <a:lnTo>
                    <a:pt x="420" y="196"/>
                  </a:lnTo>
                  <a:lnTo>
                    <a:pt x="416" y="194"/>
                  </a:lnTo>
                  <a:lnTo>
                    <a:pt x="411" y="191"/>
                  </a:lnTo>
                  <a:lnTo>
                    <a:pt x="406" y="1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2475" y="2384"/>
              <a:ext cx="216" cy="135"/>
            </a:xfrm>
            <a:custGeom>
              <a:avLst/>
              <a:gdLst>
                <a:gd name="T0" fmla="*/ 385 w 432"/>
                <a:gd name="T1" fmla="*/ 191 h 269"/>
                <a:gd name="T2" fmla="*/ 229 w 432"/>
                <a:gd name="T3" fmla="*/ 131 h 269"/>
                <a:gd name="T4" fmla="*/ 320 w 432"/>
                <a:gd name="T5" fmla="*/ 93 h 269"/>
                <a:gd name="T6" fmla="*/ 320 w 432"/>
                <a:gd name="T7" fmla="*/ 34 h 269"/>
                <a:gd name="T8" fmla="*/ 317 w 432"/>
                <a:gd name="T9" fmla="*/ 21 h 269"/>
                <a:gd name="T10" fmla="*/ 310 w 432"/>
                <a:gd name="T11" fmla="*/ 10 h 269"/>
                <a:gd name="T12" fmla="*/ 299 w 432"/>
                <a:gd name="T13" fmla="*/ 3 h 269"/>
                <a:gd name="T14" fmla="*/ 286 w 432"/>
                <a:gd name="T15" fmla="*/ 0 h 269"/>
                <a:gd name="T16" fmla="*/ 112 w 432"/>
                <a:gd name="T17" fmla="*/ 61 h 269"/>
                <a:gd name="T18" fmla="*/ 113 w 432"/>
                <a:gd name="T19" fmla="*/ 67 h 269"/>
                <a:gd name="T20" fmla="*/ 118 w 432"/>
                <a:gd name="T21" fmla="*/ 79 h 269"/>
                <a:gd name="T22" fmla="*/ 127 w 432"/>
                <a:gd name="T23" fmla="*/ 88 h 269"/>
                <a:gd name="T24" fmla="*/ 139 w 432"/>
                <a:gd name="T25" fmla="*/ 93 h 269"/>
                <a:gd name="T26" fmla="*/ 203 w 432"/>
                <a:gd name="T27" fmla="*/ 93 h 269"/>
                <a:gd name="T28" fmla="*/ 47 w 432"/>
                <a:gd name="T29" fmla="*/ 131 h 269"/>
                <a:gd name="T30" fmla="*/ 0 w 432"/>
                <a:gd name="T31" fmla="*/ 191 h 269"/>
                <a:gd name="T32" fmla="*/ 0 w 432"/>
                <a:gd name="T33" fmla="*/ 243 h 269"/>
                <a:gd name="T34" fmla="*/ 2 w 432"/>
                <a:gd name="T35" fmla="*/ 253 h 269"/>
                <a:gd name="T36" fmla="*/ 7 w 432"/>
                <a:gd name="T37" fmla="*/ 262 h 269"/>
                <a:gd name="T38" fmla="*/ 16 w 432"/>
                <a:gd name="T39" fmla="*/ 267 h 269"/>
                <a:gd name="T40" fmla="*/ 26 w 432"/>
                <a:gd name="T41" fmla="*/ 269 h 269"/>
                <a:gd name="T42" fmla="*/ 121 w 432"/>
                <a:gd name="T43" fmla="*/ 217 h 269"/>
                <a:gd name="T44" fmla="*/ 121 w 432"/>
                <a:gd name="T45" fmla="*/ 212 h 269"/>
                <a:gd name="T46" fmla="*/ 117 w 432"/>
                <a:gd name="T47" fmla="*/ 202 h 269"/>
                <a:gd name="T48" fmla="*/ 110 w 432"/>
                <a:gd name="T49" fmla="*/ 196 h 269"/>
                <a:gd name="T50" fmla="*/ 100 w 432"/>
                <a:gd name="T51" fmla="*/ 191 h 269"/>
                <a:gd name="T52" fmla="*/ 73 w 432"/>
                <a:gd name="T53" fmla="*/ 191 h 269"/>
                <a:gd name="T54" fmla="*/ 203 w 432"/>
                <a:gd name="T55" fmla="*/ 157 h 269"/>
                <a:gd name="T56" fmla="*/ 155 w 432"/>
                <a:gd name="T57" fmla="*/ 191 h 269"/>
                <a:gd name="T58" fmla="*/ 155 w 432"/>
                <a:gd name="T59" fmla="*/ 243 h 269"/>
                <a:gd name="T60" fmla="*/ 158 w 432"/>
                <a:gd name="T61" fmla="*/ 253 h 269"/>
                <a:gd name="T62" fmla="*/ 163 w 432"/>
                <a:gd name="T63" fmla="*/ 262 h 269"/>
                <a:gd name="T64" fmla="*/ 172 w 432"/>
                <a:gd name="T65" fmla="*/ 267 h 269"/>
                <a:gd name="T66" fmla="*/ 181 w 432"/>
                <a:gd name="T67" fmla="*/ 269 h 269"/>
                <a:gd name="T68" fmla="*/ 277 w 432"/>
                <a:gd name="T69" fmla="*/ 217 h 269"/>
                <a:gd name="T70" fmla="*/ 275 w 432"/>
                <a:gd name="T71" fmla="*/ 212 h 269"/>
                <a:gd name="T72" fmla="*/ 272 w 432"/>
                <a:gd name="T73" fmla="*/ 202 h 269"/>
                <a:gd name="T74" fmla="*/ 265 w 432"/>
                <a:gd name="T75" fmla="*/ 196 h 269"/>
                <a:gd name="T76" fmla="*/ 256 w 432"/>
                <a:gd name="T77" fmla="*/ 191 h 269"/>
                <a:gd name="T78" fmla="*/ 229 w 432"/>
                <a:gd name="T79" fmla="*/ 191 h 269"/>
                <a:gd name="T80" fmla="*/ 359 w 432"/>
                <a:gd name="T81" fmla="*/ 157 h 269"/>
                <a:gd name="T82" fmla="*/ 311 w 432"/>
                <a:gd name="T83" fmla="*/ 191 h 269"/>
                <a:gd name="T84" fmla="*/ 311 w 432"/>
                <a:gd name="T85" fmla="*/ 243 h 269"/>
                <a:gd name="T86" fmla="*/ 313 w 432"/>
                <a:gd name="T87" fmla="*/ 253 h 269"/>
                <a:gd name="T88" fmla="*/ 319 w 432"/>
                <a:gd name="T89" fmla="*/ 262 h 269"/>
                <a:gd name="T90" fmla="*/ 326 w 432"/>
                <a:gd name="T91" fmla="*/ 267 h 269"/>
                <a:gd name="T92" fmla="*/ 337 w 432"/>
                <a:gd name="T93" fmla="*/ 269 h 269"/>
                <a:gd name="T94" fmla="*/ 432 w 432"/>
                <a:gd name="T95" fmla="*/ 217 h 269"/>
                <a:gd name="T96" fmla="*/ 431 w 432"/>
                <a:gd name="T97" fmla="*/ 212 h 269"/>
                <a:gd name="T98" fmla="*/ 427 w 432"/>
                <a:gd name="T99" fmla="*/ 202 h 269"/>
                <a:gd name="T100" fmla="*/ 420 w 432"/>
                <a:gd name="T101" fmla="*/ 196 h 269"/>
                <a:gd name="T102" fmla="*/ 411 w 432"/>
                <a:gd name="T103" fmla="*/ 191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2" h="269">
                  <a:moveTo>
                    <a:pt x="406" y="191"/>
                  </a:moveTo>
                  <a:lnTo>
                    <a:pt x="385" y="191"/>
                  </a:lnTo>
                  <a:lnTo>
                    <a:pt x="385" y="131"/>
                  </a:lnTo>
                  <a:lnTo>
                    <a:pt x="229" y="131"/>
                  </a:lnTo>
                  <a:lnTo>
                    <a:pt x="229" y="93"/>
                  </a:lnTo>
                  <a:lnTo>
                    <a:pt x="320" y="93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19" y="27"/>
                  </a:lnTo>
                  <a:lnTo>
                    <a:pt x="317" y="21"/>
                  </a:lnTo>
                  <a:lnTo>
                    <a:pt x="314" y="15"/>
                  </a:lnTo>
                  <a:lnTo>
                    <a:pt x="310" y="10"/>
                  </a:lnTo>
                  <a:lnTo>
                    <a:pt x="305" y="7"/>
                  </a:lnTo>
                  <a:lnTo>
                    <a:pt x="299" y="3"/>
                  </a:lnTo>
                  <a:lnTo>
                    <a:pt x="293" y="1"/>
                  </a:lnTo>
                  <a:lnTo>
                    <a:pt x="286" y="0"/>
                  </a:lnTo>
                  <a:lnTo>
                    <a:pt x="112" y="0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3" y="67"/>
                  </a:lnTo>
                  <a:lnTo>
                    <a:pt x="115" y="74"/>
                  </a:lnTo>
                  <a:lnTo>
                    <a:pt x="118" y="79"/>
                  </a:lnTo>
                  <a:lnTo>
                    <a:pt x="122" y="84"/>
                  </a:lnTo>
                  <a:lnTo>
                    <a:pt x="127" y="88"/>
                  </a:lnTo>
                  <a:lnTo>
                    <a:pt x="133" y="91"/>
                  </a:lnTo>
                  <a:lnTo>
                    <a:pt x="139" y="93"/>
                  </a:lnTo>
                  <a:lnTo>
                    <a:pt x="146" y="93"/>
                  </a:lnTo>
                  <a:lnTo>
                    <a:pt x="203" y="93"/>
                  </a:lnTo>
                  <a:lnTo>
                    <a:pt x="203" y="131"/>
                  </a:lnTo>
                  <a:lnTo>
                    <a:pt x="47" y="131"/>
                  </a:lnTo>
                  <a:lnTo>
                    <a:pt x="47" y="191"/>
                  </a:lnTo>
                  <a:lnTo>
                    <a:pt x="0" y="191"/>
                  </a:lnTo>
                  <a:lnTo>
                    <a:pt x="0" y="243"/>
                  </a:lnTo>
                  <a:lnTo>
                    <a:pt x="0" y="243"/>
                  </a:lnTo>
                  <a:lnTo>
                    <a:pt x="1" y="248"/>
                  </a:lnTo>
                  <a:lnTo>
                    <a:pt x="2" y="253"/>
                  </a:lnTo>
                  <a:lnTo>
                    <a:pt x="5" y="257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6" y="267"/>
                  </a:lnTo>
                  <a:lnTo>
                    <a:pt x="21" y="268"/>
                  </a:lnTo>
                  <a:lnTo>
                    <a:pt x="26" y="269"/>
                  </a:lnTo>
                  <a:lnTo>
                    <a:pt x="121" y="269"/>
                  </a:lnTo>
                  <a:lnTo>
                    <a:pt x="121" y="217"/>
                  </a:lnTo>
                  <a:lnTo>
                    <a:pt x="121" y="217"/>
                  </a:lnTo>
                  <a:lnTo>
                    <a:pt x="121" y="212"/>
                  </a:lnTo>
                  <a:lnTo>
                    <a:pt x="119" y="207"/>
                  </a:lnTo>
                  <a:lnTo>
                    <a:pt x="117" y="202"/>
                  </a:lnTo>
                  <a:lnTo>
                    <a:pt x="113" y="199"/>
                  </a:lnTo>
                  <a:lnTo>
                    <a:pt x="110" y="196"/>
                  </a:lnTo>
                  <a:lnTo>
                    <a:pt x="106" y="194"/>
                  </a:lnTo>
                  <a:lnTo>
                    <a:pt x="100" y="191"/>
                  </a:lnTo>
                  <a:lnTo>
                    <a:pt x="95" y="191"/>
                  </a:lnTo>
                  <a:lnTo>
                    <a:pt x="73" y="191"/>
                  </a:lnTo>
                  <a:lnTo>
                    <a:pt x="73" y="157"/>
                  </a:lnTo>
                  <a:lnTo>
                    <a:pt x="203" y="157"/>
                  </a:lnTo>
                  <a:lnTo>
                    <a:pt x="203" y="191"/>
                  </a:lnTo>
                  <a:lnTo>
                    <a:pt x="155" y="191"/>
                  </a:lnTo>
                  <a:lnTo>
                    <a:pt x="155" y="243"/>
                  </a:lnTo>
                  <a:lnTo>
                    <a:pt x="155" y="243"/>
                  </a:lnTo>
                  <a:lnTo>
                    <a:pt x="157" y="248"/>
                  </a:lnTo>
                  <a:lnTo>
                    <a:pt x="158" y="253"/>
                  </a:lnTo>
                  <a:lnTo>
                    <a:pt x="160" y="257"/>
                  </a:lnTo>
                  <a:lnTo>
                    <a:pt x="163" y="262"/>
                  </a:lnTo>
                  <a:lnTo>
                    <a:pt x="167" y="264"/>
                  </a:lnTo>
                  <a:lnTo>
                    <a:pt x="172" y="267"/>
                  </a:lnTo>
                  <a:lnTo>
                    <a:pt x="176" y="268"/>
                  </a:lnTo>
                  <a:lnTo>
                    <a:pt x="181" y="269"/>
                  </a:lnTo>
                  <a:lnTo>
                    <a:pt x="277" y="269"/>
                  </a:lnTo>
                  <a:lnTo>
                    <a:pt x="277" y="217"/>
                  </a:lnTo>
                  <a:lnTo>
                    <a:pt x="277" y="217"/>
                  </a:lnTo>
                  <a:lnTo>
                    <a:pt x="275" y="212"/>
                  </a:lnTo>
                  <a:lnTo>
                    <a:pt x="274" y="207"/>
                  </a:lnTo>
                  <a:lnTo>
                    <a:pt x="272" y="202"/>
                  </a:lnTo>
                  <a:lnTo>
                    <a:pt x="269" y="199"/>
                  </a:lnTo>
                  <a:lnTo>
                    <a:pt x="265" y="196"/>
                  </a:lnTo>
                  <a:lnTo>
                    <a:pt x="260" y="194"/>
                  </a:lnTo>
                  <a:lnTo>
                    <a:pt x="256" y="191"/>
                  </a:lnTo>
                  <a:lnTo>
                    <a:pt x="251" y="191"/>
                  </a:lnTo>
                  <a:lnTo>
                    <a:pt x="229" y="191"/>
                  </a:lnTo>
                  <a:lnTo>
                    <a:pt x="229" y="157"/>
                  </a:lnTo>
                  <a:lnTo>
                    <a:pt x="359" y="157"/>
                  </a:lnTo>
                  <a:lnTo>
                    <a:pt x="359" y="191"/>
                  </a:lnTo>
                  <a:lnTo>
                    <a:pt x="311" y="191"/>
                  </a:lnTo>
                  <a:lnTo>
                    <a:pt x="311" y="243"/>
                  </a:lnTo>
                  <a:lnTo>
                    <a:pt x="311" y="243"/>
                  </a:lnTo>
                  <a:lnTo>
                    <a:pt x="311" y="248"/>
                  </a:lnTo>
                  <a:lnTo>
                    <a:pt x="313" y="253"/>
                  </a:lnTo>
                  <a:lnTo>
                    <a:pt x="315" y="257"/>
                  </a:lnTo>
                  <a:lnTo>
                    <a:pt x="319" y="262"/>
                  </a:lnTo>
                  <a:lnTo>
                    <a:pt x="322" y="264"/>
                  </a:lnTo>
                  <a:lnTo>
                    <a:pt x="326" y="267"/>
                  </a:lnTo>
                  <a:lnTo>
                    <a:pt x="332" y="268"/>
                  </a:lnTo>
                  <a:lnTo>
                    <a:pt x="337" y="269"/>
                  </a:lnTo>
                  <a:lnTo>
                    <a:pt x="432" y="269"/>
                  </a:lnTo>
                  <a:lnTo>
                    <a:pt x="432" y="217"/>
                  </a:lnTo>
                  <a:lnTo>
                    <a:pt x="432" y="217"/>
                  </a:lnTo>
                  <a:lnTo>
                    <a:pt x="431" y="212"/>
                  </a:lnTo>
                  <a:lnTo>
                    <a:pt x="430" y="207"/>
                  </a:lnTo>
                  <a:lnTo>
                    <a:pt x="427" y="202"/>
                  </a:lnTo>
                  <a:lnTo>
                    <a:pt x="425" y="199"/>
                  </a:lnTo>
                  <a:lnTo>
                    <a:pt x="420" y="196"/>
                  </a:lnTo>
                  <a:lnTo>
                    <a:pt x="416" y="194"/>
                  </a:lnTo>
                  <a:lnTo>
                    <a:pt x="411" y="191"/>
                  </a:lnTo>
                  <a:lnTo>
                    <a:pt x="406" y="19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7"/>
            <p:cNvSpPr>
              <a:spLocks/>
            </p:cNvSpPr>
            <p:nvPr/>
          </p:nvSpPr>
          <p:spPr bwMode="auto">
            <a:xfrm>
              <a:off x="2555" y="2315"/>
              <a:ext cx="56" cy="61"/>
            </a:xfrm>
            <a:custGeom>
              <a:avLst/>
              <a:gdLst>
                <a:gd name="T0" fmla="*/ 56 w 112"/>
                <a:gd name="T1" fmla="*/ 121 h 121"/>
                <a:gd name="T2" fmla="*/ 56 w 112"/>
                <a:gd name="T3" fmla="*/ 121 h 121"/>
                <a:gd name="T4" fmla="*/ 70 w 112"/>
                <a:gd name="T5" fmla="*/ 120 h 121"/>
                <a:gd name="T6" fmla="*/ 82 w 112"/>
                <a:gd name="T7" fmla="*/ 117 h 121"/>
                <a:gd name="T8" fmla="*/ 92 w 112"/>
                <a:gd name="T9" fmla="*/ 112 h 121"/>
                <a:gd name="T10" fmla="*/ 96 w 112"/>
                <a:gd name="T11" fmla="*/ 110 h 121"/>
                <a:gd name="T12" fmla="*/ 99 w 112"/>
                <a:gd name="T13" fmla="*/ 107 h 121"/>
                <a:gd name="T14" fmla="*/ 102 w 112"/>
                <a:gd name="T15" fmla="*/ 102 h 121"/>
                <a:gd name="T16" fmla="*/ 106 w 112"/>
                <a:gd name="T17" fmla="*/ 98 h 121"/>
                <a:gd name="T18" fmla="*/ 110 w 112"/>
                <a:gd name="T19" fmla="*/ 87 h 121"/>
                <a:gd name="T20" fmla="*/ 112 w 112"/>
                <a:gd name="T21" fmla="*/ 75 h 121"/>
                <a:gd name="T22" fmla="*/ 112 w 112"/>
                <a:gd name="T23" fmla="*/ 60 h 121"/>
                <a:gd name="T24" fmla="*/ 112 w 112"/>
                <a:gd name="T25" fmla="*/ 60 h 121"/>
                <a:gd name="T26" fmla="*/ 112 w 112"/>
                <a:gd name="T27" fmla="*/ 45 h 121"/>
                <a:gd name="T28" fmla="*/ 110 w 112"/>
                <a:gd name="T29" fmla="*/ 33 h 121"/>
                <a:gd name="T30" fmla="*/ 106 w 112"/>
                <a:gd name="T31" fmla="*/ 22 h 121"/>
                <a:gd name="T32" fmla="*/ 102 w 112"/>
                <a:gd name="T33" fmla="*/ 18 h 121"/>
                <a:gd name="T34" fmla="*/ 99 w 112"/>
                <a:gd name="T35" fmla="*/ 14 h 121"/>
                <a:gd name="T36" fmla="*/ 96 w 112"/>
                <a:gd name="T37" fmla="*/ 11 h 121"/>
                <a:gd name="T38" fmla="*/ 92 w 112"/>
                <a:gd name="T39" fmla="*/ 8 h 121"/>
                <a:gd name="T40" fmla="*/ 82 w 112"/>
                <a:gd name="T41" fmla="*/ 4 h 121"/>
                <a:gd name="T42" fmla="*/ 70 w 112"/>
                <a:gd name="T43" fmla="*/ 1 h 121"/>
                <a:gd name="T44" fmla="*/ 56 w 112"/>
                <a:gd name="T45" fmla="*/ 0 h 121"/>
                <a:gd name="T46" fmla="*/ 56 w 112"/>
                <a:gd name="T47" fmla="*/ 0 h 121"/>
                <a:gd name="T48" fmla="*/ 42 w 112"/>
                <a:gd name="T49" fmla="*/ 1 h 121"/>
                <a:gd name="T50" fmla="*/ 30 w 112"/>
                <a:gd name="T51" fmla="*/ 4 h 121"/>
                <a:gd name="T52" fmla="*/ 20 w 112"/>
                <a:gd name="T53" fmla="*/ 8 h 121"/>
                <a:gd name="T54" fmla="*/ 16 w 112"/>
                <a:gd name="T55" fmla="*/ 11 h 121"/>
                <a:gd name="T56" fmla="*/ 13 w 112"/>
                <a:gd name="T57" fmla="*/ 14 h 121"/>
                <a:gd name="T58" fmla="*/ 10 w 112"/>
                <a:gd name="T59" fmla="*/ 18 h 121"/>
                <a:gd name="T60" fmla="*/ 6 w 112"/>
                <a:gd name="T61" fmla="*/ 22 h 121"/>
                <a:gd name="T62" fmla="*/ 3 w 112"/>
                <a:gd name="T63" fmla="*/ 33 h 121"/>
                <a:gd name="T64" fmla="*/ 0 w 112"/>
                <a:gd name="T65" fmla="*/ 45 h 121"/>
                <a:gd name="T66" fmla="*/ 0 w 112"/>
                <a:gd name="T67" fmla="*/ 60 h 121"/>
                <a:gd name="T68" fmla="*/ 0 w 112"/>
                <a:gd name="T69" fmla="*/ 60 h 121"/>
                <a:gd name="T70" fmla="*/ 0 w 112"/>
                <a:gd name="T71" fmla="*/ 75 h 121"/>
                <a:gd name="T72" fmla="*/ 3 w 112"/>
                <a:gd name="T73" fmla="*/ 87 h 121"/>
                <a:gd name="T74" fmla="*/ 6 w 112"/>
                <a:gd name="T75" fmla="*/ 98 h 121"/>
                <a:gd name="T76" fmla="*/ 10 w 112"/>
                <a:gd name="T77" fmla="*/ 102 h 121"/>
                <a:gd name="T78" fmla="*/ 13 w 112"/>
                <a:gd name="T79" fmla="*/ 107 h 121"/>
                <a:gd name="T80" fmla="*/ 16 w 112"/>
                <a:gd name="T81" fmla="*/ 110 h 121"/>
                <a:gd name="T82" fmla="*/ 20 w 112"/>
                <a:gd name="T83" fmla="*/ 112 h 121"/>
                <a:gd name="T84" fmla="*/ 30 w 112"/>
                <a:gd name="T85" fmla="*/ 117 h 121"/>
                <a:gd name="T86" fmla="*/ 42 w 112"/>
                <a:gd name="T87" fmla="*/ 120 h 121"/>
                <a:gd name="T88" fmla="*/ 56 w 112"/>
                <a:gd name="T8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2" h="121">
                  <a:moveTo>
                    <a:pt x="56" y="121"/>
                  </a:moveTo>
                  <a:lnTo>
                    <a:pt x="56" y="121"/>
                  </a:lnTo>
                  <a:lnTo>
                    <a:pt x="70" y="120"/>
                  </a:lnTo>
                  <a:lnTo>
                    <a:pt x="82" y="117"/>
                  </a:lnTo>
                  <a:lnTo>
                    <a:pt x="92" y="112"/>
                  </a:lnTo>
                  <a:lnTo>
                    <a:pt x="96" y="110"/>
                  </a:lnTo>
                  <a:lnTo>
                    <a:pt x="99" y="107"/>
                  </a:lnTo>
                  <a:lnTo>
                    <a:pt x="102" y="102"/>
                  </a:lnTo>
                  <a:lnTo>
                    <a:pt x="106" y="98"/>
                  </a:lnTo>
                  <a:lnTo>
                    <a:pt x="110" y="87"/>
                  </a:lnTo>
                  <a:lnTo>
                    <a:pt x="112" y="75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45"/>
                  </a:lnTo>
                  <a:lnTo>
                    <a:pt x="110" y="33"/>
                  </a:lnTo>
                  <a:lnTo>
                    <a:pt x="106" y="22"/>
                  </a:lnTo>
                  <a:lnTo>
                    <a:pt x="102" y="18"/>
                  </a:lnTo>
                  <a:lnTo>
                    <a:pt x="99" y="14"/>
                  </a:lnTo>
                  <a:lnTo>
                    <a:pt x="96" y="11"/>
                  </a:lnTo>
                  <a:lnTo>
                    <a:pt x="92" y="8"/>
                  </a:lnTo>
                  <a:lnTo>
                    <a:pt x="82" y="4"/>
                  </a:lnTo>
                  <a:lnTo>
                    <a:pt x="70" y="1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42" y="1"/>
                  </a:lnTo>
                  <a:lnTo>
                    <a:pt x="30" y="4"/>
                  </a:lnTo>
                  <a:lnTo>
                    <a:pt x="20" y="8"/>
                  </a:lnTo>
                  <a:lnTo>
                    <a:pt x="16" y="11"/>
                  </a:lnTo>
                  <a:lnTo>
                    <a:pt x="13" y="14"/>
                  </a:lnTo>
                  <a:lnTo>
                    <a:pt x="10" y="18"/>
                  </a:lnTo>
                  <a:lnTo>
                    <a:pt x="6" y="22"/>
                  </a:lnTo>
                  <a:lnTo>
                    <a:pt x="3" y="33"/>
                  </a:lnTo>
                  <a:lnTo>
                    <a:pt x="0" y="45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75"/>
                  </a:lnTo>
                  <a:lnTo>
                    <a:pt x="3" y="87"/>
                  </a:lnTo>
                  <a:lnTo>
                    <a:pt x="6" y="98"/>
                  </a:lnTo>
                  <a:lnTo>
                    <a:pt x="10" y="102"/>
                  </a:lnTo>
                  <a:lnTo>
                    <a:pt x="13" y="107"/>
                  </a:lnTo>
                  <a:lnTo>
                    <a:pt x="16" y="110"/>
                  </a:lnTo>
                  <a:lnTo>
                    <a:pt x="20" y="112"/>
                  </a:lnTo>
                  <a:lnTo>
                    <a:pt x="30" y="117"/>
                  </a:lnTo>
                  <a:lnTo>
                    <a:pt x="42" y="120"/>
                  </a:lnTo>
                  <a:lnTo>
                    <a:pt x="56" y="1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8"/>
            <p:cNvSpPr>
              <a:spLocks/>
            </p:cNvSpPr>
            <p:nvPr/>
          </p:nvSpPr>
          <p:spPr bwMode="auto">
            <a:xfrm>
              <a:off x="2555" y="2315"/>
              <a:ext cx="56" cy="61"/>
            </a:xfrm>
            <a:custGeom>
              <a:avLst/>
              <a:gdLst>
                <a:gd name="T0" fmla="*/ 56 w 112"/>
                <a:gd name="T1" fmla="*/ 121 h 121"/>
                <a:gd name="T2" fmla="*/ 56 w 112"/>
                <a:gd name="T3" fmla="*/ 121 h 121"/>
                <a:gd name="T4" fmla="*/ 70 w 112"/>
                <a:gd name="T5" fmla="*/ 120 h 121"/>
                <a:gd name="T6" fmla="*/ 82 w 112"/>
                <a:gd name="T7" fmla="*/ 117 h 121"/>
                <a:gd name="T8" fmla="*/ 92 w 112"/>
                <a:gd name="T9" fmla="*/ 112 h 121"/>
                <a:gd name="T10" fmla="*/ 96 w 112"/>
                <a:gd name="T11" fmla="*/ 110 h 121"/>
                <a:gd name="T12" fmla="*/ 99 w 112"/>
                <a:gd name="T13" fmla="*/ 107 h 121"/>
                <a:gd name="T14" fmla="*/ 102 w 112"/>
                <a:gd name="T15" fmla="*/ 102 h 121"/>
                <a:gd name="T16" fmla="*/ 106 w 112"/>
                <a:gd name="T17" fmla="*/ 98 h 121"/>
                <a:gd name="T18" fmla="*/ 110 w 112"/>
                <a:gd name="T19" fmla="*/ 87 h 121"/>
                <a:gd name="T20" fmla="*/ 112 w 112"/>
                <a:gd name="T21" fmla="*/ 75 h 121"/>
                <a:gd name="T22" fmla="*/ 112 w 112"/>
                <a:gd name="T23" fmla="*/ 60 h 121"/>
                <a:gd name="T24" fmla="*/ 112 w 112"/>
                <a:gd name="T25" fmla="*/ 60 h 121"/>
                <a:gd name="T26" fmla="*/ 112 w 112"/>
                <a:gd name="T27" fmla="*/ 45 h 121"/>
                <a:gd name="T28" fmla="*/ 110 w 112"/>
                <a:gd name="T29" fmla="*/ 33 h 121"/>
                <a:gd name="T30" fmla="*/ 106 w 112"/>
                <a:gd name="T31" fmla="*/ 22 h 121"/>
                <a:gd name="T32" fmla="*/ 102 w 112"/>
                <a:gd name="T33" fmla="*/ 18 h 121"/>
                <a:gd name="T34" fmla="*/ 99 w 112"/>
                <a:gd name="T35" fmla="*/ 14 h 121"/>
                <a:gd name="T36" fmla="*/ 96 w 112"/>
                <a:gd name="T37" fmla="*/ 11 h 121"/>
                <a:gd name="T38" fmla="*/ 92 w 112"/>
                <a:gd name="T39" fmla="*/ 8 h 121"/>
                <a:gd name="T40" fmla="*/ 82 w 112"/>
                <a:gd name="T41" fmla="*/ 4 h 121"/>
                <a:gd name="T42" fmla="*/ 70 w 112"/>
                <a:gd name="T43" fmla="*/ 1 h 121"/>
                <a:gd name="T44" fmla="*/ 56 w 112"/>
                <a:gd name="T45" fmla="*/ 0 h 121"/>
                <a:gd name="T46" fmla="*/ 56 w 112"/>
                <a:gd name="T47" fmla="*/ 0 h 121"/>
                <a:gd name="T48" fmla="*/ 42 w 112"/>
                <a:gd name="T49" fmla="*/ 1 h 121"/>
                <a:gd name="T50" fmla="*/ 30 w 112"/>
                <a:gd name="T51" fmla="*/ 4 h 121"/>
                <a:gd name="T52" fmla="*/ 20 w 112"/>
                <a:gd name="T53" fmla="*/ 8 h 121"/>
                <a:gd name="T54" fmla="*/ 16 w 112"/>
                <a:gd name="T55" fmla="*/ 11 h 121"/>
                <a:gd name="T56" fmla="*/ 13 w 112"/>
                <a:gd name="T57" fmla="*/ 14 h 121"/>
                <a:gd name="T58" fmla="*/ 10 w 112"/>
                <a:gd name="T59" fmla="*/ 18 h 121"/>
                <a:gd name="T60" fmla="*/ 6 w 112"/>
                <a:gd name="T61" fmla="*/ 22 h 121"/>
                <a:gd name="T62" fmla="*/ 3 w 112"/>
                <a:gd name="T63" fmla="*/ 33 h 121"/>
                <a:gd name="T64" fmla="*/ 0 w 112"/>
                <a:gd name="T65" fmla="*/ 45 h 121"/>
                <a:gd name="T66" fmla="*/ 0 w 112"/>
                <a:gd name="T67" fmla="*/ 60 h 121"/>
                <a:gd name="T68" fmla="*/ 0 w 112"/>
                <a:gd name="T69" fmla="*/ 60 h 121"/>
                <a:gd name="T70" fmla="*/ 0 w 112"/>
                <a:gd name="T71" fmla="*/ 75 h 121"/>
                <a:gd name="T72" fmla="*/ 3 w 112"/>
                <a:gd name="T73" fmla="*/ 87 h 121"/>
                <a:gd name="T74" fmla="*/ 6 w 112"/>
                <a:gd name="T75" fmla="*/ 98 h 121"/>
                <a:gd name="T76" fmla="*/ 10 w 112"/>
                <a:gd name="T77" fmla="*/ 102 h 121"/>
                <a:gd name="T78" fmla="*/ 13 w 112"/>
                <a:gd name="T79" fmla="*/ 107 h 121"/>
                <a:gd name="T80" fmla="*/ 16 w 112"/>
                <a:gd name="T81" fmla="*/ 110 h 121"/>
                <a:gd name="T82" fmla="*/ 20 w 112"/>
                <a:gd name="T83" fmla="*/ 112 h 121"/>
                <a:gd name="T84" fmla="*/ 30 w 112"/>
                <a:gd name="T85" fmla="*/ 117 h 121"/>
                <a:gd name="T86" fmla="*/ 42 w 112"/>
                <a:gd name="T87" fmla="*/ 120 h 121"/>
                <a:gd name="T88" fmla="*/ 56 w 112"/>
                <a:gd name="T8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2" h="121">
                  <a:moveTo>
                    <a:pt x="56" y="121"/>
                  </a:moveTo>
                  <a:lnTo>
                    <a:pt x="56" y="121"/>
                  </a:lnTo>
                  <a:lnTo>
                    <a:pt x="70" y="120"/>
                  </a:lnTo>
                  <a:lnTo>
                    <a:pt x="82" y="117"/>
                  </a:lnTo>
                  <a:lnTo>
                    <a:pt x="92" y="112"/>
                  </a:lnTo>
                  <a:lnTo>
                    <a:pt x="96" y="110"/>
                  </a:lnTo>
                  <a:lnTo>
                    <a:pt x="99" y="107"/>
                  </a:lnTo>
                  <a:lnTo>
                    <a:pt x="102" y="102"/>
                  </a:lnTo>
                  <a:lnTo>
                    <a:pt x="106" y="98"/>
                  </a:lnTo>
                  <a:lnTo>
                    <a:pt x="110" y="87"/>
                  </a:lnTo>
                  <a:lnTo>
                    <a:pt x="112" y="75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45"/>
                  </a:lnTo>
                  <a:lnTo>
                    <a:pt x="110" y="33"/>
                  </a:lnTo>
                  <a:lnTo>
                    <a:pt x="106" y="22"/>
                  </a:lnTo>
                  <a:lnTo>
                    <a:pt x="102" y="18"/>
                  </a:lnTo>
                  <a:lnTo>
                    <a:pt x="99" y="14"/>
                  </a:lnTo>
                  <a:lnTo>
                    <a:pt x="96" y="11"/>
                  </a:lnTo>
                  <a:lnTo>
                    <a:pt x="92" y="8"/>
                  </a:lnTo>
                  <a:lnTo>
                    <a:pt x="82" y="4"/>
                  </a:lnTo>
                  <a:lnTo>
                    <a:pt x="70" y="1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42" y="1"/>
                  </a:lnTo>
                  <a:lnTo>
                    <a:pt x="30" y="4"/>
                  </a:lnTo>
                  <a:lnTo>
                    <a:pt x="20" y="8"/>
                  </a:lnTo>
                  <a:lnTo>
                    <a:pt x="16" y="11"/>
                  </a:lnTo>
                  <a:lnTo>
                    <a:pt x="13" y="14"/>
                  </a:lnTo>
                  <a:lnTo>
                    <a:pt x="10" y="18"/>
                  </a:lnTo>
                  <a:lnTo>
                    <a:pt x="6" y="22"/>
                  </a:lnTo>
                  <a:lnTo>
                    <a:pt x="3" y="33"/>
                  </a:lnTo>
                  <a:lnTo>
                    <a:pt x="0" y="45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75"/>
                  </a:lnTo>
                  <a:lnTo>
                    <a:pt x="3" y="87"/>
                  </a:lnTo>
                  <a:lnTo>
                    <a:pt x="6" y="98"/>
                  </a:lnTo>
                  <a:lnTo>
                    <a:pt x="10" y="102"/>
                  </a:lnTo>
                  <a:lnTo>
                    <a:pt x="13" y="107"/>
                  </a:lnTo>
                  <a:lnTo>
                    <a:pt x="16" y="110"/>
                  </a:lnTo>
                  <a:lnTo>
                    <a:pt x="20" y="112"/>
                  </a:lnTo>
                  <a:lnTo>
                    <a:pt x="30" y="117"/>
                  </a:lnTo>
                  <a:lnTo>
                    <a:pt x="42" y="120"/>
                  </a:lnTo>
                  <a:lnTo>
                    <a:pt x="56" y="12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23" name="Group 4"/>
          <p:cNvGrpSpPr>
            <a:grpSpLocks noChangeAspect="1"/>
          </p:cNvGrpSpPr>
          <p:nvPr/>
        </p:nvGrpSpPr>
        <p:grpSpPr bwMode="auto">
          <a:xfrm>
            <a:off x="4259068" y="2689818"/>
            <a:ext cx="1036092" cy="1281634"/>
            <a:chOff x="4276" y="1183"/>
            <a:chExt cx="173" cy="214"/>
          </a:xfrm>
          <a:solidFill>
            <a:schemeClr val="bg1"/>
          </a:solidFill>
        </p:grpSpPr>
        <p:sp>
          <p:nvSpPr>
            <p:cNvPr id="24" name="Freeform 5"/>
            <p:cNvSpPr>
              <a:spLocks/>
            </p:cNvSpPr>
            <p:nvPr/>
          </p:nvSpPr>
          <p:spPr bwMode="auto">
            <a:xfrm>
              <a:off x="4276" y="1204"/>
              <a:ext cx="114" cy="193"/>
            </a:xfrm>
            <a:custGeom>
              <a:avLst/>
              <a:gdLst>
                <a:gd name="T0" fmla="*/ 154 w 227"/>
                <a:gd name="T1" fmla="*/ 263 h 385"/>
                <a:gd name="T2" fmla="*/ 149 w 227"/>
                <a:gd name="T3" fmla="*/ 260 h 385"/>
                <a:gd name="T4" fmla="*/ 143 w 227"/>
                <a:gd name="T5" fmla="*/ 260 h 385"/>
                <a:gd name="T6" fmla="*/ 138 w 227"/>
                <a:gd name="T7" fmla="*/ 264 h 385"/>
                <a:gd name="T8" fmla="*/ 134 w 227"/>
                <a:gd name="T9" fmla="*/ 271 h 385"/>
                <a:gd name="T10" fmla="*/ 134 w 227"/>
                <a:gd name="T11" fmla="*/ 299 h 385"/>
                <a:gd name="T12" fmla="*/ 76 w 227"/>
                <a:gd name="T13" fmla="*/ 299 h 385"/>
                <a:gd name="T14" fmla="*/ 64 w 227"/>
                <a:gd name="T15" fmla="*/ 296 h 385"/>
                <a:gd name="T16" fmla="*/ 54 w 227"/>
                <a:gd name="T17" fmla="*/ 289 h 385"/>
                <a:gd name="T18" fmla="*/ 48 w 227"/>
                <a:gd name="T19" fmla="*/ 280 h 385"/>
                <a:gd name="T20" fmla="*/ 45 w 227"/>
                <a:gd name="T21" fmla="*/ 268 h 385"/>
                <a:gd name="T22" fmla="*/ 45 w 227"/>
                <a:gd name="T23" fmla="*/ 76 h 385"/>
                <a:gd name="T24" fmla="*/ 48 w 227"/>
                <a:gd name="T25" fmla="*/ 64 h 385"/>
                <a:gd name="T26" fmla="*/ 54 w 227"/>
                <a:gd name="T27" fmla="*/ 55 h 385"/>
                <a:gd name="T28" fmla="*/ 64 w 227"/>
                <a:gd name="T29" fmla="*/ 48 h 385"/>
                <a:gd name="T30" fmla="*/ 76 w 227"/>
                <a:gd name="T31" fmla="*/ 45 h 385"/>
                <a:gd name="T32" fmla="*/ 95 w 227"/>
                <a:gd name="T33" fmla="*/ 0 h 385"/>
                <a:gd name="T34" fmla="*/ 76 w 227"/>
                <a:gd name="T35" fmla="*/ 0 h 385"/>
                <a:gd name="T36" fmla="*/ 61 w 227"/>
                <a:gd name="T37" fmla="*/ 1 h 385"/>
                <a:gd name="T38" fmla="*/ 46 w 227"/>
                <a:gd name="T39" fmla="*/ 6 h 385"/>
                <a:gd name="T40" fmla="*/ 33 w 227"/>
                <a:gd name="T41" fmla="*/ 12 h 385"/>
                <a:gd name="T42" fmla="*/ 22 w 227"/>
                <a:gd name="T43" fmla="*/ 22 h 385"/>
                <a:gd name="T44" fmla="*/ 12 w 227"/>
                <a:gd name="T45" fmla="*/ 33 h 385"/>
                <a:gd name="T46" fmla="*/ 6 w 227"/>
                <a:gd name="T47" fmla="*/ 46 h 385"/>
                <a:gd name="T48" fmla="*/ 1 w 227"/>
                <a:gd name="T49" fmla="*/ 61 h 385"/>
                <a:gd name="T50" fmla="*/ 0 w 227"/>
                <a:gd name="T51" fmla="*/ 76 h 385"/>
                <a:gd name="T52" fmla="*/ 0 w 227"/>
                <a:gd name="T53" fmla="*/ 268 h 385"/>
                <a:gd name="T54" fmla="*/ 1 w 227"/>
                <a:gd name="T55" fmla="*/ 283 h 385"/>
                <a:gd name="T56" fmla="*/ 5 w 227"/>
                <a:gd name="T57" fmla="*/ 297 h 385"/>
                <a:gd name="T58" fmla="*/ 12 w 227"/>
                <a:gd name="T59" fmla="*/ 310 h 385"/>
                <a:gd name="T60" fmla="*/ 21 w 227"/>
                <a:gd name="T61" fmla="*/ 321 h 385"/>
                <a:gd name="T62" fmla="*/ 32 w 227"/>
                <a:gd name="T63" fmla="*/ 330 h 385"/>
                <a:gd name="T64" fmla="*/ 45 w 227"/>
                <a:gd name="T65" fmla="*/ 338 h 385"/>
                <a:gd name="T66" fmla="*/ 59 w 227"/>
                <a:gd name="T67" fmla="*/ 342 h 385"/>
                <a:gd name="T68" fmla="*/ 74 w 227"/>
                <a:gd name="T69" fmla="*/ 344 h 385"/>
                <a:gd name="T70" fmla="*/ 134 w 227"/>
                <a:gd name="T71" fmla="*/ 344 h 385"/>
                <a:gd name="T72" fmla="*/ 134 w 227"/>
                <a:gd name="T73" fmla="*/ 370 h 385"/>
                <a:gd name="T74" fmla="*/ 136 w 227"/>
                <a:gd name="T75" fmla="*/ 378 h 385"/>
                <a:gd name="T76" fmla="*/ 140 w 227"/>
                <a:gd name="T77" fmla="*/ 383 h 385"/>
                <a:gd name="T78" fmla="*/ 146 w 227"/>
                <a:gd name="T79" fmla="*/ 385 h 385"/>
                <a:gd name="T80" fmla="*/ 154 w 227"/>
                <a:gd name="T81" fmla="*/ 383 h 385"/>
                <a:gd name="T82" fmla="*/ 219 w 227"/>
                <a:gd name="T83" fmla="*/ 333 h 385"/>
                <a:gd name="T84" fmla="*/ 225 w 227"/>
                <a:gd name="T85" fmla="*/ 328 h 385"/>
                <a:gd name="T86" fmla="*/ 227 w 227"/>
                <a:gd name="T87" fmla="*/ 322 h 385"/>
                <a:gd name="T88" fmla="*/ 225 w 227"/>
                <a:gd name="T89" fmla="*/ 316 h 385"/>
                <a:gd name="T90" fmla="*/ 219 w 227"/>
                <a:gd name="T91" fmla="*/ 31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7" h="385">
                  <a:moveTo>
                    <a:pt x="219" y="312"/>
                  </a:moveTo>
                  <a:lnTo>
                    <a:pt x="154" y="263"/>
                  </a:lnTo>
                  <a:lnTo>
                    <a:pt x="154" y="263"/>
                  </a:lnTo>
                  <a:lnTo>
                    <a:pt x="149" y="260"/>
                  </a:lnTo>
                  <a:lnTo>
                    <a:pt x="146" y="260"/>
                  </a:lnTo>
                  <a:lnTo>
                    <a:pt x="143" y="260"/>
                  </a:lnTo>
                  <a:lnTo>
                    <a:pt x="140" y="261"/>
                  </a:lnTo>
                  <a:lnTo>
                    <a:pt x="138" y="264"/>
                  </a:lnTo>
                  <a:lnTo>
                    <a:pt x="135" y="267"/>
                  </a:lnTo>
                  <a:lnTo>
                    <a:pt x="134" y="271"/>
                  </a:lnTo>
                  <a:lnTo>
                    <a:pt x="134" y="275"/>
                  </a:lnTo>
                  <a:lnTo>
                    <a:pt x="134" y="299"/>
                  </a:lnTo>
                  <a:lnTo>
                    <a:pt x="76" y="299"/>
                  </a:lnTo>
                  <a:lnTo>
                    <a:pt x="76" y="299"/>
                  </a:lnTo>
                  <a:lnTo>
                    <a:pt x="70" y="298"/>
                  </a:lnTo>
                  <a:lnTo>
                    <a:pt x="64" y="296"/>
                  </a:lnTo>
                  <a:lnTo>
                    <a:pt x="59" y="294"/>
                  </a:lnTo>
                  <a:lnTo>
                    <a:pt x="54" y="289"/>
                  </a:lnTo>
                  <a:lnTo>
                    <a:pt x="50" y="285"/>
                  </a:lnTo>
                  <a:lnTo>
                    <a:pt x="48" y="280"/>
                  </a:lnTo>
                  <a:lnTo>
                    <a:pt x="46" y="274"/>
                  </a:lnTo>
                  <a:lnTo>
                    <a:pt x="45" y="268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6" y="70"/>
                  </a:lnTo>
                  <a:lnTo>
                    <a:pt x="48" y="64"/>
                  </a:lnTo>
                  <a:lnTo>
                    <a:pt x="50" y="59"/>
                  </a:lnTo>
                  <a:lnTo>
                    <a:pt x="54" y="55"/>
                  </a:lnTo>
                  <a:lnTo>
                    <a:pt x="59" y="50"/>
                  </a:lnTo>
                  <a:lnTo>
                    <a:pt x="64" y="48"/>
                  </a:lnTo>
                  <a:lnTo>
                    <a:pt x="70" y="46"/>
                  </a:lnTo>
                  <a:lnTo>
                    <a:pt x="76" y="45"/>
                  </a:lnTo>
                  <a:lnTo>
                    <a:pt x="95" y="45"/>
                  </a:lnTo>
                  <a:lnTo>
                    <a:pt x="95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69" y="0"/>
                  </a:lnTo>
                  <a:lnTo>
                    <a:pt x="61" y="1"/>
                  </a:lnTo>
                  <a:lnTo>
                    <a:pt x="53" y="3"/>
                  </a:lnTo>
                  <a:lnTo>
                    <a:pt x="46" y="6"/>
                  </a:lnTo>
                  <a:lnTo>
                    <a:pt x="39" y="8"/>
                  </a:lnTo>
                  <a:lnTo>
                    <a:pt x="33" y="12"/>
                  </a:lnTo>
                  <a:lnTo>
                    <a:pt x="28" y="17"/>
                  </a:lnTo>
                  <a:lnTo>
                    <a:pt x="22" y="22"/>
                  </a:lnTo>
                  <a:lnTo>
                    <a:pt x="17" y="28"/>
                  </a:lnTo>
                  <a:lnTo>
                    <a:pt x="12" y="33"/>
                  </a:lnTo>
                  <a:lnTo>
                    <a:pt x="8" y="39"/>
                  </a:lnTo>
                  <a:lnTo>
                    <a:pt x="6" y="46"/>
                  </a:lnTo>
                  <a:lnTo>
                    <a:pt x="3" y="53"/>
                  </a:lnTo>
                  <a:lnTo>
                    <a:pt x="1" y="61"/>
                  </a:lnTo>
                  <a:lnTo>
                    <a:pt x="0" y="69"/>
                  </a:lnTo>
                  <a:lnTo>
                    <a:pt x="0" y="7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75"/>
                  </a:lnTo>
                  <a:lnTo>
                    <a:pt x="1" y="283"/>
                  </a:lnTo>
                  <a:lnTo>
                    <a:pt x="3" y="291"/>
                  </a:lnTo>
                  <a:lnTo>
                    <a:pt x="5" y="297"/>
                  </a:lnTo>
                  <a:lnTo>
                    <a:pt x="8" y="304"/>
                  </a:lnTo>
                  <a:lnTo>
                    <a:pt x="12" y="310"/>
                  </a:lnTo>
                  <a:lnTo>
                    <a:pt x="17" y="316"/>
                  </a:lnTo>
                  <a:lnTo>
                    <a:pt x="21" y="321"/>
                  </a:lnTo>
                  <a:lnTo>
                    <a:pt x="26" y="326"/>
                  </a:lnTo>
                  <a:lnTo>
                    <a:pt x="32" y="330"/>
                  </a:lnTo>
                  <a:lnTo>
                    <a:pt x="38" y="335"/>
                  </a:lnTo>
                  <a:lnTo>
                    <a:pt x="45" y="338"/>
                  </a:lnTo>
                  <a:lnTo>
                    <a:pt x="51" y="340"/>
                  </a:lnTo>
                  <a:lnTo>
                    <a:pt x="59" y="342"/>
                  </a:lnTo>
                  <a:lnTo>
                    <a:pt x="66" y="343"/>
                  </a:lnTo>
                  <a:lnTo>
                    <a:pt x="74" y="344"/>
                  </a:lnTo>
                  <a:lnTo>
                    <a:pt x="74" y="344"/>
                  </a:lnTo>
                  <a:lnTo>
                    <a:pt x="134" y="344"/>
                  </a:lnTo>
                  <a:lnTo>
                    <a:pt x="134" y="370"/>
                  </a:lnTo>
                  <a:lnTo>
                    <a:pt x="134" y="370"/>
                  </a:lnTo>
                  <a:lnTo>
                    <a:pt x="135" y="375"/>
                  </a:lnTo>
                  <a:lnTo>
                    <a:pt x="136" y="378"/>
                  </a:lnTo>
                  <a:lnTo>
                    <a:pt x="138" y="381"/>
                  </a:lnTo>
                  <a:lnTo>
                    <a:pt x="140" y="383"/>
                  </a:lnTo>
                  <a:lnTo>
                    <a:pt x="143" y="384"/>
                  </a:lnTo>
                  <a:lnTo>
                    <a:pt x="146" y="385"/>
                  </a:lnTo>
                  <a:lnTo>
                    <a:pt x="149" y="384"/>
                  </a:lnTo>
                  <a:lnTo>
                    <a:pt x="154" y="383"/>
                  </a:lnTo>
                  <a:lnTo>
                    <a:pt x="219" y="333"/>
                  </a:lnTo>
                  <a:lnTo>
                    <a:pt x="219" y="333"/>
                  </a:lnTo>
                  <a:lnTo>
                    <a:pt x="223" y="330"/>
                  </a:lnTo>
                  <a:lnTo>
                    <a:pt x="225" y="328"/>
                  </a:lnTo>
                  <a:lnTo>
                    <a:pt x="227" y="325"/>
                  </a:lnTo>
                  <a:lnTo>
                    <a:pt x="227" y="322"/>
                  </a:lnTo>
                  <a:lnTo>
                    <a:pt x="227" y="320"/>
                  </a:lnTo>
                  <a:lnTo>
                    <a:pt x="225" y="316"/>
                  </a:lnTo>
                  <a:lnTo>
                    <a:pt x="223" y="314"/>
                  </a:lnTo>
                  <a:lnTo>
                    <a:pt x="219" y="312"/>
                  </a:lnTo>
                  <a:lnTo>
                    <a:pt x="219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4333" y="1183"/>
              <a:ext cx="116" cy="193"/>
            </a:xfrm>
            <a:custGeom>
              <a:avLst/>
              <a:gdLst>
                <a:gd name="T0" fmla="*/ 154 w 232"/>
                <a:gd name="T1" fmla="*/ 41 h 385"/>
                <a:gd name="T2" fmla="*/ 92 w 232"/>
                <a:gd name="T3" fmla="*/ 41 h 385"/>
                <a:gd name="T4" fmla="*/ 92 w 232"/>
                <a:gd name="T5" fmla="*/ 15 h 385"/>
                <a:gd name="T6" fmla="*/ 91 w 232"/>
                <a:gd name="T7" fmla="*/ 7 h 385"/>
                <a:gd name="T8" fmla="*/ 87 w 232"/>
                <a:gd name="T9" fmla="*/ 2 h 385"/>
                <a:gd name="T10" fmla="*/ 81 w 232"/>
                <a:gd name="T11" fmla="*/ 0 h 385"/>
                <a:gd name="T12" fmla="*/ 73 w 232"/>
                <a:gd name="T13" fmla="*/ 2 h 385"/>
                <a:gd name="T14" fmla="*/ 7 w 232"/>
                <a:gd name="T15" fmla="*/ 52 h 385"/>
                <a:gd name="T16" fmla="*/ 2 w 232"/>
                <a:gd name="T17" fmla="*/ 57 h 385"/>
                <a:gd name="T18" fmla="*/ 0 w 232"/>
                <a:gd name="T19" fmla="*/ 63 h 385"/>
                <a:gd name="T20" fmla="*/ 2 w 232"/>
                <a:gd name="T21" fmla="*/ 69 h 385"/>
                <a:gd name="T22" fmla="*/ 7 w 232"/>
                <a:gd name="T23" fmla="*/ 73 h 385"/>
                <a:gd name="T24" fmla="*/ 74 w 232"/>
                <a:gd name="T25" fmla="*/ 122 h 385"/>
                <a:gd name="T26" fmla="*/ 81 w 232"/>
                <a:gd name="T27" fmla="*/ 125 h 385"/>
                <a:gd name="T28" fmla="*/ 87 w 232"/>
                <a:gd name="T29" fmla="*/ 124 h 385"/>
                <a:gd name="T30" fmla="*/ 91 w 232"/>
                <a:gd name="T31" fmla="*/ 118 h 385"/>
                <a:gd name="T32" fmla="*/ 92 w 232"/>
                <a:gd name="T33" fmla="*/ 110 h 385"/>
                <a:gd name="T34" fmla="*/ 155 w 232"/>
                <a:gd name="T35" fmla="*/ 86 h 385"/>
                <a:gd name="T36" fmla="*/ 161 w 232"/>
                <a:gd name="T37" fmla="*/ 87 h 385"/>
                <a:gd name="T38" fmla="*/ 172 w 232"/>
                <a:gd name="T39" fmla="*/ 91 h 385"/>
                <a:gd name="T40" fmla="*/ 181 w 232"/>
                <a:gd name="T41" fmla="*/ 100 h 385"/>
                <a:gd name="T42" fmla="*/ 185 w 232"/>
                <a:gd name="T43" fmla="*/ 111 h 385"/>
                <a:gd name="T44" fmla="*/ 186 w 232"/>
                <a:gd name="T45" fmla="*/ 309 h 385"/>
                <a:gd name="T46" fmla="*/ 185 w 232"/>
                <a:gd name="T47" fmla="*/ 315 h 385"/>
                <a:gd name="T48" fmla="*/ 181 w 232"/>
                <a:gd name="T49" fmla="*/ 326 h 385"/>
                <a:gd name="T50" fmla="*/ 172 w 232"/>
                <a:gd name="T51" fmla="*/ 335 h 385"/>
                <a:gd name="T52" fmla="*/ 161 w 232"/>
                <a:gd name="T53" fmla="*/ 339 h 385"/>
                <a:gd name="T54" fmla="*/ 132 w 232"/>
                <a:gd name="T55" fmla="*/ 340 h 385"/>
                <a:gd name="T56" fmla="*/ 155 w 232"/>
                <a:gd name="T57" fmla="*/ 385 h 385"/>
                <a:gd name="T58" fmla="*/ 163 w 232"/>
                <a:gd name="T59" fmla="*/ 385 h 385"/>
                <a:gd name="T60" fmla="*/ 178 w 232"/>
                <a:gd name="T61" fmla="*/ 382 h 385"/>
                <a:gd name="T62" fmla="*/ 192 w 232"/>
                <a:gd name="T63" fmla="*/ 377 h 385"/>
                <a:gd name="T64" fmla="*/ 203 w 232"/>
                <a:gd name="T65" fmla="*/ 368 h 385"/>
                <a:gd name="T66" fmla="*/ 214 w 232"/>
                <a:gd name="T67" fmla="*/ 357 h 385"/>
                <a:gd name="T68" fmla="*/ 223 w 232"/>
                <a:gd name="T69" fmla="*/ 346 h 385"/>
                <a:gd name="T70" fmla="*/ 228 w 232"/>
                <a:gd name="T71" fmla="*/ 332 h 385"/>
                <a:gd name="T72" fmla="*/ 232 w 232"/>
                <a:gd name="T73" fmla="*/ 316 h 385"/>
                <a:gd name="T74" fmla="*/ 232 w 232"/>
                <a:gd name="T75" fmla="*/ 117 h 385"/>
                <a:gd name="T76" fmla="*/ 232 w 232"/>
                <a:gd name="T77" fmla="*/ 110 h 385"/>
                <a:gd name="T78" fmla="*/ 228 w 232"/>
                <a:gd name="T79" fmla="*/ 94 h 385"/>
                <a:gd name="T80" fmla="*/ 223 w 232"/>
                <a:gd name="T81" fmla="*/ 80 h 385"/>
                <a:gd name="T82" fmla="*/ 214 w 232"/>
                <a:gd name="T83" fmla="*/ 69 h 385"/>
                <a:gd name="T84" fmla="*/ 203 w 232"/>
                <a:gd name="T85" fmla="*/ 58 h 385"/>
                <a:gd name="T86" fmla="*/ 192 w 232"/>
                <a:gd name="T87" fmla="*/ 49 h 385"/>
                <a:gd name="T88" fmla="*/ 178 w 232"/>
                <a:gd name="T89" fmla="*/ 44 h 385"/>
                <a:gd name="T90" fmla="*/ 163 w 232"/>
                <a:gd name="T91" fmla="*/ 41 h 385"/>
                <a:gd name="T92" fmla="*/ 155 w 232"/>
                <a:gd name="T93" fmla="*/ 41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2" h="385">
                  <a:moveTo>
                    <a:pt x="155" y="41"/>
                  </a:moveTo>
                  <a:lnTo>
                    <a:pt x="154" y="41"/>
                  </a:lnTo>
                  <a:lnTo>
                    <a:pt x="154" y="41"/>
                  </a:lnTo>
                  <a:lnTo>
                    <a:pt x="92" y="41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0"/>
                  </a:lnTo>
                  <a:lnTo>
                    <a:pt x="91" y="7"/>
                  </a:lnTo>
                  <a:lnTo>
                    <a:pt x="89" y="4"/>
                  </a:lnTo>
                  <a:lnTo>
                    <a:pt x="87" y="2"/>
                  </a:lnTo>
                  <a:lnTo>
                    <a:pt x="84" y="1"/>
                  </a:lnTo>
                  <a:lnTo>
                    <a:pt x="81" y="0"/>
                  </a:lnTo>
                  <a:lnTo>
                    <a:pt x="77" y="1"/>
                  </a:lnTo>
                  <a:lnTo>
                    <a:pt x="73" y="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4" y="55"/>
                  </a:lnTo>
                  <a:lnTo>
                    <a:pt x="2" y="57"/>
                  </a:lnTo>
                  <a:lnTo>
                    <a:pt x="0" y="60"/>
                  </a:lnTo>
                  <a:lnTo>
                    <a:pt x="0" y="63"/>
                  </a:lnTo>
                  <a:lnTo>
                    <a:pt x="0" y="65"/>
                  </a:lnTo>
                  <a:lnTo>
                    <a:pt x="2" y="69"/>
                  </a:lnTo>
                  <a:lnTo>
                    <a:pt x="4" y="71"/>
                  </a:lnTo>
                  <a:lnTo>
                    <a:pt x="7" y="73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7" y="125"/>
                  </a:lnTo>
                  <a:lnTo>
                    <a:pt x="81" y="125"/>
                  </a:lnTo>
                  <a:lnTo>
                    <a:pt x="84" y="125"/>
                  </a:lnTo>
                  <a:lnTo>
                    <a:pt x="87" y="124"/>
                  </a:lnTo>
                  <a:lnTo>
                    <a:pt x="89" y="121"/>
                  </a:lnTo>
                  <a:lnTo>
                    <a:pt x="91" y="118"/>
                  </a:lnTo>
                  <a:lnTo>
                    <a:pt x="92" y="114"/>
                  </a:lnTo>
                  <a:lnTo>
                    <a:pt x="92" y="110"/>
                  </a:lnTo>
                  <a:lnTo>
                    <a:pt x="92" y="86"/>
                  </a:lnTo>
                  <a:lnTo>
                    <a:pt x="155" y="86"/>
                  </a:lnTo>
                  <a:lnTo>
                    <a:pt x="155" y="86"/>
                  </a:lnTo>
                  <a:lnTo>
                    <a:pt x="161" y="87"/>
                  </a:lnTo>
                  <a:lnTo>
                    <a:pt x="167" y="89"/>
                  </a:lnTo>
                  <a:lnTo>
                    <a:pt x="172" y="91"/>
                  </a:lnTo>
                  <a:lnTo>
                    <a:pt x="177" y="96"/>
                  </a:lnTo>
                  <a:lnTo>
                    <a:pt x="181" y="100"/>
                  </a:lnTo>
                  <a:lnTo>
                    <a:pt x="183" y="105"/>
                  </a:lnTo>
                  <a:lnTo>
                    <a:pt x="185" y="111"/>
                  </a:lnTo>
                  <a:lnTo>
                    <a:pt x="186" y="117"/>
                  </a:lnTo>
                  <a:lnTo>
                    <a:pt x="186" y="309"/>
                  </a:lnTo>
                  <a:lnTo>
                    <a:pt x="186" y="309"/>
                  </a:lnTo>
                  <a:lnTo>
                    <a:pt x="185" y="315"/>
                  </a:lnTo>
                  <a:lnTo>
                    <a:pt x="183" y="321"/>
                  </a:lnTo>
                  <a:lnTo>
                    <a:pt x="181" y="326"/>
                  </a:lnTo>
                  <a:lnTo>
                    <a:pt x="177" y="330"/>
                  </a:lnTo>
                  <a:lnTo>
                    <a:pt x="172" y="335"/>
                  </a:lnTo>
                  <a:lnTo>
                    <a:pt x="167" y="337"/>
                  </a:lnTo>
                  <a:lnTo>
                    <a:pt x="161" y="339"/>
                  </a:lnTo>
                  <a:lnTo>
                    <a:pt x="155" y="340"/>
                  </a:lnTo>
                  <a:lnTo>
                    <a:pt x="132" y="340"/>
                  </a:lnTo>
                  <a:lnTo>
                    <a:pt x="132" y="385"/>
                  </a:lnTo>
                  <a:lnTo>
                    <a:pt x="155" y="385"/>
                  </a:lnTo>
                  <a:lnTo>
                    <a:pt x="155" y="385"/>
                  </a:lnTo>
                  <a:lnTo>
                    <a:pt x="163" y="385"/>
                  </a:lnTo>
                  <a:lnTo>
                    <a:pt x="170" y="384"/>
                  </a:lnTo>
                  <a:lnTo>
                    <a:pt x="178" y="382"/>
                  </a:lnTo>
                  <a:lnTo>
                    <a:pt x="185" y="379"/>
                  </a:lnTo>
                  <a:lnTo>
                    <a:pt x="192" y="377"/>
                  </a:lnTo>
                  <a:lnTo>
                    <a:pt x="198" y="373"/>
                  </a:lnTo>
                  <a:lnTo>
                    <a:pt x="203" y="368"/>
                  </a:lnTo>
                  <a:lnTo>
                    <a:pt x="209" y="363"/>
                  </a:lnTo>
                  <a:lnTo>
                    <a:pt x="214" y="357"/>
                  </a:lnTo>
                  <a:lnTo>
                    <a:pt x="219" y="352"/>
                  </a:lnTo>
                  <a:lnTo>
                    <a:pt x="223" y="346"/>
                  </a:lnTo>
                  <a:lnTo>
                    <a:pt x="225" y="339"/>
                  </a:lnTo>
                  <a:lnTo>
                    <a:pt x="228" y="332"/>
                  </a:lnTo>
                  <a:lnTo>
                    <a:pt x="230" y="324"/>
                  </a:lnTo>
                  <a:lnTo>
                    <a:pt x="232" y="316"/>
                  </a:lnTo>
                  <a:lnTo>
                    <a:pt x="232" y="309"/>
                  </a:lnTo>
                  <a:lnTo>
                    <a:pt x="232" y="117"/>
                  </a:lnTo>
                  <a:lnTo>
                    <a:pt x="232" y="117"/>
                  </a:lnTo>
                  <a:lnTo>
                    <a:pt x="232" y="110"/>
                  </a:lnTo>
                  <a:lnTo>
                    <a:pt x="230" y="102"/>
                  </a:lnTo>
                  <a:lnTo>
                    <a:pt x="228" y="94"/>
                  </a:lnTo>
                  <a:lnTo>
                    <a:pt x="225" y="87"/>
                  </a:lnTo>
                  <a:lnTo>
                    <a:pt x="223" y="80"/>
                  </a:lnTo>
                  <a:lnTo>
                    <a:pt x="219" y="74"/>
                  </a:lnTo>
                  <a:lnTo>
                    <a:pt x="214" y="69"/>
                  </a:lnTo>
                  <a:lnTo>
                    <a:pt x="209" y="63"/>
                  </a:lnTo>
                  <a:lnTo>
                    <a:pt x="203" y="58"/>
                  </a:lnTo>
                  <a:lnTo>
                    <a:pt x="198" y="53"/>
                  </a:lnTo>
                  <a:lnTo>
                    <a:pt x="192" y="49"/>
                  </a:lnTo>
                  <a:lnTo>
                    <a:pt x="185" y="47"/>
                  </a:lnTo>
                  <a:lnTo>
                    <a:pt x="178" y="44"/>
                  </a:lnTo>
                  <a:lnTo>
                    <a:pt x="170" y="42"/>
                  </a:lnTo>
                  <a:lnTo>
                    <a:pt x="163" y="41"/>
                  </a:lnTo>
                  <a:lnTo>
                    <a:pt x="155" y="41"/>
                  </a:lnTo>
                  <a:lnTo>
                    <a:pt x="15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5973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 Diagonal Corner Rectangle 8"/>
          <p:cNvSpPr/>
          <p:nvPr/>
        </p:nvSpPr>
        <p:spPr>
          <a:xfrm flipH="1">
            <a:off x="823576" y="3840480"/>
            <a:ext cx="2588594" cy="559398"/>
          </a:xfrm>
          <a:prstGeom prst="round2DiagRect">
            <a:avLst/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 smtClean="0">
                <a:solidFill>
                  <a:prstClr val="white"/>
                </a:solidFill>
              </a:rPr>
              <a:t>Ubiquitous</a:t>
            </a:r>
            <a:endParaRPr lang="en-US" sz="2000" b="1" dirty="0">
              <a:solidFill>
                <a:prstClr val="white"/>
              </a:solidFill>
            </a:endParaRPr>
          </a:p>
        </p:txBody>
      </p:sp>
      <p:sp>
        <p:nvSpPr>
          <p:cNvPr id="11" name="Round Diagonal Corner Rectangle 10"/>
          <p:cNvSpPr/>
          <p:nvPr/>
        </p:nvSpPr>
        <p:spPr>
          <a:xfrm flipH="1">
            <a:off x="3489829" y="3840480"/>
            <a:ext cx="2588594" cy="559398"/>
          </a:xfrm>
          <a:prstGeom prst="round2DiagRect">
            <a:avLst/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 smtClean="0">
                <a:solidFill>
                  <a:prstClr val="white"/>
                </a:solidFill>
              </a:rPr>
              <a:t>Emerging</a:t>
            </a:r>
            <a:endParaRPr lang="en-US" sz="2000" b="1" dirty="0">
              <a:solidFill>
                <a:prstClr val="white"/>
              </a:solidFill>
            </a:endParaRPr>
          </a:p>
        </p:txBody>
      </p:sp>
      <p:sp>
        <p:nvSpPr>
          <p:cNvPr id="13" name="Round Diagonal Corner Rectangle 12"/>
          <p:cNvSpPr/>
          <p:nvPr/>
        </p:nvSpPr>
        <p:spPr>
          <a:xfrm flipH="1">
            <a:off x="6156081" y="3840480"/>
            <a:ext cx="2588594" cy="559398"/>
          </a:xfrm>
          <a:prstGeom prst="round2DiagRect">
            <a:avLst/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 smtClean="0">
                <a:solidFill>
                  <a:prstClr val="white"/>
                </a:solidFill>
              </a:rPr>
              <a:t>Research</a:t>
            </a:r>
            <a:endParaRPr lang="en-US" sz="2000" b="1" dirty="0">
              <a:solidFill>
                <a:prstClr val="white"/>
              </a:solidFill>
            </a:endParaRPr>
          </a:p>
        </p:txBody>
      </p:sp>
      <p:sp>
        <p:nvSpPr>
          <p:cNvPr id="15" name="Round Diagonal Corner Rectangle 14"/>
          <p:cNvSpPr/>
          <p:nvPr/>
        </p:nvSpPr>
        <p:spPr>
          <a:xfrm flipH="1">
            <a:off x="8822336" y="3840480"/>
            <a:ext cx="2588594" cy="559398"/>
          </a:xfrm>
          <a:prstGeom prst="round2DiagRect">
            <a:avLst/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 smtClean="0">
                <a:solidFill>
                  <a:prstClr val="white"/>
                </a:solidFill>
              </a:rPr>
              <a:t>New</a:t>
            </a:r>
            <a:endParaRPr lang="en-US" sz="20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echnology</a:t>
            </a:r>
            <a:endParaRPr lang="hi-IN" dirty="0"/>
          </a:p>
        </p:txBody>
      </p:sp>
      <p:sp>
        <p:nvSpPr>
          <p:cNvPr id="17" name="Left-Right Arrow 16"/>
          <p:cNvSpPr/>
          <p:nvPr/>
        </p:nvSpPr>
        <p:spPr>
          <a:xfrm>
            <a:off x="668069" y="4159848"/>
            <a:ext cx="10906141" cy="480060"/>
          </a:xfrm>
          <a:prstGeom prst="left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TextBox 2"/>
          <p:cNvSpPr txBox="1"/>
          <p:nvPr/>
        </p:nvSpPr>
        <p:spPr>
          <a:xfrm>
            <a:off x="1393973" y="4654476"/>
            <a:ext cx="1447800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 smtClean="0">
                <a:solidFill>
                  <a:prstClr val="black"/>
                </a:solidFill>
              </a:rPr>
              <a:t>Access control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945926" y="4654476"/>
            <a:ext cx="1676400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 smtClean="0">
                <a:solidFill>
                  <a:prstClr val="black"/>
                </a:solidFill>
              </a:rPr>
              <a:t>Disk encrypt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31372" y="4654476"/>
            <a:ext cx="2238012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 smtClean="0">
                <a:solidFill>
                  <a:prstClr val="black"/>
                </a:solidFill>
              </a:rPr>
              <a:t>Firmware protection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997627" y="4654476"/>
            <a:ext cx="2238012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 smtClean="0">
                <a:solidFill>
                  <a:prstClr val="black"/>
                </a:solidFill>
              </a:rPr>
              <a:t>Hardware isolation</a:t>
            </a:r>
          </a:p>
        </p:txBody>
      </p:sp>
      <p:grpSp>
        <p:nvGrpSpPr>
          <p:cNvPr id="16" name="Group 4"/>
          <p:cNvGrpSpPr>
            <a:grpSpLocks noChangeAspect="1"/>
          </p:cNvGrpSpPr>
          <p:nvPr/>
        </p:nvGrpSpPr>
        <p:grpSpPr bwMode="auto">
          <a:xfrm>
            <a:off x="4081849" y="2416935"/>
            <a:ext cx="1404552" cy="1254292"/>
            <a:chOff x="4221" y="1152"/>
            <a:chExt cx="215" cy="192"/>
          </a:xfrm>
        </p:grpSpPr>
        <p:sp>
          <p:nvSpPr>
            <p:cNvPr id="18" name="Freeform 5"/>
            <p:cNvSpPr>
              <a:spLocks noEditPoints="1"/>
            </p:cNvSpPr>
            <p:nvPr/>
          </p:nvSpPr>
          <p:spPr bwMode="auto">
            <a:xfrm>
              <a:off x="4221" y="1196"/>
              <a:ext cx="200" cy="148"/>
            </a:xfrm>
            <a:custGeom>
              <a:avLst/>
              <a:gdLst>
                <a:gd name="T0" fmla="*/ 58 w 399"/>
                <a:gd name="T1" fmla="*/ 204 h 296"/>
                <a:gd name="T2" fmla="*/ 81 w 399"/>
                <a:gd name="T3" fmla="*/ 224 h 296"/>
                <a:gd name="T4" fmla="*/ 143 w 399"/>
                <a:gd name="T5" fmla="*/ 143 h 296"/>
                <a:gd name="T6" fmla="*/ 231 w 399"/>
                <a:gd name="T7" fmla="*/ 219 h 296"/>
                <a:gd name="T8" fmla="*/ 310 w 399"/>
                <a:gd name="T9" fmla="*/ 126 h 296"/>
                <a:gd name="T10" fmla="*/ 310 w 399"/>
                <a:gd name="T11" fmla="*/ 126 h 296"/>
                <a:gd name="T12" fmla="*/ 294 w 399"/>
                <a:gd name="T13" fmla="*/ 122 h 296"/>
                <a:gd name="T14" fmla="*/ 279 w 399"/>
                <a:gd name="T15" fmla="*/ 116 h 296"/>
                <a:gd name="T16" fmla="*/ 230 w 399"/>
                <a:gd name="T17" fmla="*/ 174 h 296"/>
                <a:gd name="T18" fmla="*/ 140 w 399"/>
                <a:gd name="T19" fmla="*/ 93 h 296"/>
                <a:gd name="T20" fmla="*/ 58 w 399"/>
                <a:gd name="T21" fmla="*/ 204 h 296"/>
                <a:gd name="T22" fmla="*/ 399 w 399"/>
                <a:gd name="T23" fmla="*/ 105 h 296"/>
                <a:gd name="T24" fmla="*/ 399 w 399"/>
                <a:gd name="T25" fmla="*/ 105 h 296"/>
                <a:gd name="T26" fmla="*/ 386 w 399"/>
                <a:gd name="T27" fmla="*/ 113 h 296"/>
                <a:gd name="T28" fmla="*/ 373 w 399"/>
                <a:gd name="T29" fmla="*/ 119 h 296"/>
                <a:gd name="T30" fmla="*/ 373 w 399"/>
                <a:gd name="T31" fmla="*/ 270 h 296"/>
                <a:gd name="T32" fmla="*/ 26 w 399"/>
                <a:gd name="T33" fmla="*/ 270 h 296"/>
                <a:gd name="T34" fmla="*/ 26 w 399"/>
                <a:gd name="T35" fmla="*/ 25 h 296"/>
                <a:gd name="T36" fmla="*/ 214 w 399"/>
                <a:gd name="T37" fmla="*/ 25 h 296"/>
                <a:gd name="T38" fmla="*/ 214 w 399"/>
                <a:gd name="T39" fmla="*/ 25 h 296"/>
                <a:gd name="T40" fmla="*/ 213 w 399"/>
                <a:gd name="T41" fmla="*/ 10 h 296"/>
                <a:gd name="T42" fmla="*/ 213 w 399"/>
                <a:gd name="T43" fmla="*/ 10 h 296"/>
                <a:gd name="T44" fmla="*/ 213 w 399"/>
                <a:gd name="T45" fmla="*/ 0 h 296"/>
                <a:gd name="T46" fmla="*/ 0 w 399"/>
                <a:gd name="T47" fmla="*/ 0 h 296"/>
                <a:gd name="T48" fmla="*/ 0 w 399"/>
                <a:gd name="T49" fmla="*/ 270 h 296"/>
                <a:gd name="T50" fmla="*/ 0 w 399"/>
                <a:gd name="T51" fmla="*/ 270 h 296"/>
                <a:gd name="T52" fmla="*/ 0 w 399"/>
                <a:gd name="T53" fmla="*/ 275 h 296"/>
                <a:gd name="T54" fmla="*/ 3 w 399"/>
                <a:gd name="T55" fmla="*/ 280 h 296"/>
                <a:gd name="T56" fmla="*/ 5 w 399"/>
                <a:gd name="T57" fmla="*/ 284 h 296"/>
                <a:gd name="T58" fmla="*/ 8 w 399"/>
                <a:gd name="T59" fmla="*/ 288 h 296"/>
                <a:gd name="T60" fmla="*/ 11 w 399"/>
                <a:gd name="T61" fmla="*/ 291 h 296"/>
                <a:gd name="T62" fmla="*/ 16 w 399"/>
                <a:gd name="T63" fmla="*/ 294 h 296"/>
                <a:gd name="T64" fmla="*/ 21 w 399"/>
                <a:gd name="T65" fmla="*/ 295 h 296"/>
                <a:gd name="T66" fmla="*/ 26 w 399"/>
                <a:gd name="T67" fmla="*/ 296 h 296"/>
                <a:gd name="T68" fmla="*/ 399 w 399"/>
                <a:gd name="T69" fmla="*/ 296 h 296"/>
                <a:gd name="T70" fmla="*/ 399 w 399"/>
                <a:gd name="T71" fmla="*/ 105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9" h="296">
                  <a:moveTo>
                    <a:pt x="58" y="204"/>
                  </a:moveTo>
                  <a:lnTo>
                    <a:pt x="81" y="224"/>
                  </a:lnTo>
                  <a:lnTo>
                    <a:pt x="143" y="143"/>
                  </a:lnTo>
                  <a:lnTo>
                    <a:pt x="231" y="219"/>
                  </a:lnTo>
                  <a:lnTo>
                    <a:pt x="310" y="126"/>
                  </a:lnTo>
                  <a:lnTo>
                    <a:pt x="310" y="126"/>
                  </a:lnTo>
                  <a:lnTo>
                    <a:pt x="294" y="122"/>
                  </a:lnTo>
                  <a:lnTo>
                    <a:pt x="279" y="116"/>
                  </a:lnTo>
                  <a:lnTo>
                    <a:pt x="230" y="174"/>
                  </a:lnTo>
                  <a:lnTo>
                    <a:pt x="140" y="93"/>
                  </a:lnTo>
                  <a:lnTo>
                    <a:pt x="58" y="204"/>
                  </a:lnTo>
                  <a:close/>
                  <a:moveTo>
                    <a:pt x="399" y="105"/>
                  </a:moveTo>
                  <a:lnTo>
                    <a:pt x="399" y="105"/>
                  </a:lnTo>
                  <a:lnTo>
                    <a:pt x="386" y="113"/>
                  </a:lnTo>
                  <a:lnTo>
                    <a:pt x="373" y="119"/>
                  </a:lnTo>
                  <a:lnTo>
                    <a:pt x="373" y="270"/>
                  </a:lnTo>
                  <a:lnTo>
                    <a:pt x="26" y="270"/>
                  </a:lnTo>
                  <a:lnTo>
                    <a:pt x="26" y="25"/>
                  </a:lnTo>
                  <a:lnTo>
                    <a:pt x="214" y="25"/>
                  </a:lnTo>
                  <a:lnTo>
                    <a:pt x="214" y="25"/>
                  </a:lnTo>
                  <a:lnTo>
                    <a:pt x="213" y="10"/>
                  </a:lnTo>
                  <a:lnTo>
                    <a:pt x="213" y="10"/>
                  </a:lnTo>
                  <a:lnTo>
                    <a:pt x="213" y="0"/>
                  </a:lnTo>
                  <a:lnTo>
                    <a:pt x="0" y="0"/>
                  </a:lnTo>
                  <a:lnTo>
                    <a:pt x="0" y="270"/>
                  </a:lnTo>
                  <a:lnTo>
                    <a:pt x="0" y="270"/>
                  </a:lnTo>
                  <a:lnTo>
                    <a:pt x="0" y="275"/>
                  </a:lnTo>
                  <a:lnTo>
                    <a:pt x="3" y="280"/>
                  </a:lnTo>
                  <a:lnTo>
                    <a:pt x="5" y="284"/>
                  </a:lnTo>
                  <a:lnTo>
                    <a:pt x="8" y="288"/>
                  </a:lnTo>
                  <a:lnTo>
                    <a:pt x="11" y="291"/>
                  </a:lnTo>
                  <a:lnTo>
                    <a:pt x="16" y="294"/>
                  </a:lnTo>
                  <a:lnTo>
                    <a:pt x="21" y="295"/>
                  </a:lnTo>
                  <a:lnTo>
                    <a:pt x="26" y="296"/>
                  </a:lnTo>
                  <a:lnTo>
                    <a:pt x="399" y="296"/>
                  </a:lnTo>
                  <a:lnTo>
                    <a:pt x="399" y="105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6"/>
            <p:cNvSpPr>
              <a:spLocks noEditPoints="1"/>
            </p:cNvSpPr>
            <p:nvPr/>
          </p:nvSpPr>
          <p:spPr bwMode="auto">
            <a:xfrm>
              <a:off x="4336" y="1152"/>
              <a:ext cx="100" cy="100"/>
            </a:xfrm>
            <a:custGeom>
              <a:avLst/>
              <a:gdLst>
                <a:gd name="T0" fmla="*/ 99 w 200"/>
                <a:gd name="T1" fmla="*/ 0 h 201"/>
                <a:gd name="T2" fmla="*/ 80 w 200"/>
                <a:gd name="T3" fmla="*/ 2 h 201"/>
                <a:gd name="T4" fmla="*/ 60 w 200"/>
                <a:gd name="T5" fmla="*/ 9 h 201"/>
                <a:gd name="T6" fmla="*/ 44 w 200"/>
                <a:gd name="T7" fmla="*/ 17 h 201"/>
                <a:gd name="T8" fmla="*/ 29 w 200"/>
                <a:gd name="T9" fmla="*/ 30 h 201"/>
                <a:gd name="T10" fmla="*/ 17 w 200"/>
                <a:gd name="T11" fmla="*/ 44 h 201"/>
                <a:gd name="T12" fmla="*/ 8 w 200"/>
                <a:gd name="T13" fmla="*/ 61 h 201"/>
                <a:gd name="T14" fmla="*/ 2 w 200"/>
                <a:gd name="T15" fmla="*/ 80 h 201"/>
                <a:gd name="T16" fmla="*/ 0 w 200"/>
                <a:gd name="T17" fmla="*/ 100 h 201"/>
                <a:gd name="T18" fmla="*/ 0 w 200"/>
                <a:gd name="T19" fmla="*/ 111 h 201"/>
                <a:gd name="T20" fmla="*/ 4 w 200"/>
                <a:gd name="T21" fmla="*/ 130 h 201"/>
                <a:gd name="T22" fmla="*/ 12 w 200"/>
                <a:gd name="T23" fmla="*/ 148 h 201"/>
                <a:gd name="T24" fmla="*/ 23 w 200"/>
                <a:gd name="T25" fmla="*/ 164 h 201"/>
                <a:gd name="T26" fmla="*/ 37 w 200"/>
                <a:gd name="T27" fmla="*/ 178 h 201"/>
                <a:gd name="T28" fmla="*/ 52 w 200"/>
                <a:gd name="T29" fmla="*/ 189 h 201"/>
                <a:gd name="T30" fmla="*/ 70 w 200"/>
                <a:gd name="T31" fmla="*/ 196 h 201"/>
                <a:gd name="T32" fmla="*/ 90 w 200"/>
                <a:gd name="T33" fmla="*/ 199 h 201"/>
                <a:gd name="T34" fmla="*/ 99 w 200"/>
                <a:gd name="T35" fmla="*/ 201 h 201"/>
                <a:gd name="T36" fmla="*/ 120 w 200"/>
                <a:gd name="T37" fmla="*/ 198 h 201"/>
                <a:gd name="T38" fmla="*/ 139 w 200"/>
                <a:gd name="T39" fmla="*/ 192 h 201"/>
                <a:gd name="T40" fmla="*/ 155 w 200"/>
                <a:gd name="T41" fmla="*/ 183 h 201"/>
                <a:gd name="T42" fmla="*/ 170 w 200"/>
                <a:gd name="T43" fmla="*/ 171 h 201"/>
                <a:gd name="T44" fmla="*/ 182 w 200"/>
                <a:gd name="T45" fmla="*/ 156 h 201"/>
                <a:gd name="T46" fmla="*/ 192 w 200"/>
                <a:gd name="T47" fmla="*/ 139 h 201"/>
                <a:gd name="T48" fmla="*/ 197 w 200"/>
                <a:gd name="T49" fmla="*/ 121 h 201"/>
                <a:gd name="T50" fmla="*/ 200 w 200"/>
                <a:gd name="T51" fmla="*/ 100 h 201"/>
                <a:gd name="T52" fmla="*/ 200 w 200"/>
                <a:gd name="T53" fmla="*/ 91 h 201"/>
                <a:gd name="T54" fmla="*/ 195 w 200"/>
                <a:gd name="T55" fmla="*/ 71 h 201"/>
                <a:gd name="T56" fmla="*/ 188 w 200"/>
                <a:gd name="T57" fmla="*/ 53 h 201"/>
                <a:gd name="T58" fmla="*/ 177 w 200"/>
                <a:gd name="T59" fmla="*/ 37 h 201"/>
                <a:gd name="T60" fmla="*/ 163 w 200"/>
                <a:gd name="T61" fmla="*/ 24 h 201"/>
                <a:gd name="T62" fmla="*/ 148 w 200"/>
                <a:gd name="T63" fmla="*/ 13 h 201"/>
                <a:gd name="T64" fmla="*/ 129 w 200"/>
                <a:gd name="T65" fmla="*/ 5 h 201"/>
                <a:gd name="T66" fmla="*/ 110 w 200"/>
                <a:gd name="T67" fmla="*/ 1 h 201"/>
                <a:gd name="T68" fmla="*/ 99 w 200"/>
                <a:gd name="T69" fmla="*/ 0 h 201"/>
                <a:gd name="T70" fmla="*/ 99 w 200"/>
                <a:gd name="T71" fmla="*/ 136 h 201"/>
                <a:gd name="T72" fmla="*/ 66 w 200"/>
                <a:gd name="T73" fmla="*/ 111 h 201"/>
                <a:gd name="T74" fmla="*/ 79 w 200"/>
                <a:gd name="T75" fmla="*/ 72 h 201"/>
                <a:gd name="T76" fmla="*/ 121 w 200"/>
                <a:gd name="T77" fmla="*/ 72 h 201"/>
                <a:gd name="T78" fmla="*/ 134 w 200"/>
                <a:gd name="T79" fmla="*/ 11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0" h="201">
                  <a:moveTo>
                    <a:pt x="99" y="0"/>
                  </a:moveTo>
                  <a:lnTo>
                    <a:pt x="99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0" y="9"/>
                  </a:lnTo>
                  <a:lnTo>
                    <a:pt x="52" y="13"/>
                  </a:lnTo>
                  <a:lnTo>
                    <a:pt x="44" y="17"/>
                  </a:lnTo>
                  <a:lnTo>
                    <a:pt x="37" y="24"/>
                  </a:lnTo>
                  <a:lnTo>
                    <a:pt x="29" y="30"/>
                  </a:lnTo>
                  <a:lnTo>
                    <a:pt x="23" y="37"/>
                  </a:lnTo>
                  <a:lnTo>
                    <a:pt x="17" y="44"/>
                  </a:lnTo>
                  <a:lnTo>
                    <a:pt x="12" y="53"/>
                  </a:lnTo>
                  <a:lnTo>
                    <a:pt x="8" y="61"/>
                  </a:lnTo>
                  <a:lnTo>
                    <a:pt x="4" y="71"/>
                  </a:lnTo>
                  <a:lnTo>
                    <a:pt x="2" y="80"/>
                  </a:lnTo>
                  <a:lnTo>
                    <a:pt x="0" y="91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111"/>
                  </a:lnTo>
                  <a:lnTo>
                    <a:pt x="2" y="121"/>
                  </a:lnTo>
                  <a:lnTo>
                    <a:pt x="4" y="130"/>
                  </a:lnTo>
                  <a:lnTo>
                    <a:pt x="8" y="139"/>
                  </a:lnTo>
                  <a:lnTo>
                    <a:pt x="12" y="148"/>
                  </a:lnTo>
                  <a:lnTo>
                    <a:pt x="17" y="156"/>
                  </a:lnTo>
                  <a:lnTo>
                    <a:pt x="23" y="164"/>
                  </a:lnTo>
                  <a:lnTo>
                    <a:pt x="29" y="171"/>
                  </a:lnTo>
                  <a:lnTo>
                    <a:pt x="37" y="178"/>
                  </a:lnTo>
                  <a:lnTo>
                    <a:pt x="44" y="183"/>
                  </a:lnTo>
                  <a:lnTo>
                    <a:pt x="52" y="189"/>
                  </a:lnTo>
                  <a:lnTo>
                    <a:pt x="60" y="192"/>
                  </a:lnTo>
                  <a:lnTo>
                    <a:pt x="70" y="196"/>
                  </a:lnTo>
                  <a:lnTo>
                    <a:pt x="80" y="198"/>
                  </a:lnTo>
                  <a:lnTo>
                    <a:pt x="90" y="199"/>
                  </a:lnTo>
                  <a:lnTo>
                    <a:pt x="99" y="201"/>
                  </a:lnTo>
                  <a:lnTo>
                    <a:pt x="99" y="201"/>
                  </a:lnTo>
                  <a:lnTo>
                    <a:pt x="110" y="199"/>
                  </a:lnTo>
                  <a:lnTo>
                    <a:pt x="120" y="198"/>
                  </a:lnTo>
                  <a:lnTo>
                    <a:pt x="129" y="196"/>
                  </a:lnTo>
                  <a:lnTo>
                    <a:pt x="139" y="192"/>
                  </a:lnTo>
                  <a:lnTo>
                    <a:pt x="148" y="189"/>
                  </a:lnTo>
                  <a:lnTo>
                    <a:pt x="155" y="183"/>
                  </a:lnTo>
                  <a:lnTo>
                    <a:pt x="163" y="178"/>
                  </a:lnTo>
                  <a:lnTo>
                    <a:pt x="170" y="171"/>
                  </a:lnTo>
                  <a:lnTo>
                    <a:pt x="177" y="164"/>
                  </a:lnTo>
                  <a:lnTo>
                    <a:pt x="182" y="156"/>
                  </a:lnTo>
                  <a:lnTo>
                    <a:pt x="188" y="148"/>
                  </a:lnTo>
                  <a:lnTo>
                    <a:pt x="192" y="139"/>
                  </a:lnTo>
                  <a:lnTo>
                    <a:pt x="195" y="130"/>
                  </a:lnTo>
                  <a:lnTo>
                    <a:pt x="197" y="121"/>
                  </a:lnTo>
                  <a:lnTo>
                    <a:pt x="200" y="111"/>
                  </a:lnTo>
                  <a:lnTo>
                    <a:pt x="200" y="100"/>
                  </a:lnTo>
                  <a:lnTo>
                    <a:pt x="200" y="100"/>
                  </a:lnTo>
                  <a:lnTo>
                    <a:pt x="200" y="91"/>
                  </a:lnTo>
                  <a:lnTo>
                    <a:pt x="197" y="80"/>
                  </a:lnTo>
                  <a:lnTo>
                    <a:pt x="195" y="71"/>
                  </a:lnTo>
                  <a:lnTo>
                    <a:pt x="192" y="61"/>
                  </a:lnTo>
                  <a:lnTo>
                    <a:pt x="188" y="53"/>
                  </a:lnTo>
                  <a:lnTo>
                    <a:pt x="182" y="44"/>
                  </a:lnTo>
                  <a:lnTo>
                    <a:pt x="177" y="37"/>
                  </a:lnTo>
                  <a:lnTo>
                    <a:pt x="170" y="30"/>
                  </a:lnTo>
                  <a:lnTo>
                    <a:pt x="163" y="24"/>
                  </a:lnTo>
                  <a:lnTo>
                    <a:pt x="155" y="17"/>
                  </a:lnTo>
                  <a:lnTo>
                    <a:pt x="148" y="13"/>
                  </a:lnTo>
                  <a:lnTo>
                    <a:pt x="139" y="9"/>
                  </a:lnTo>
                  <a:lnTo>
                    <a:pt x="129" y="5"/>
                  </a:lnTo>
                  <a:lnTo>
                    <a:pt x="120" y="2"/>
                  </a:lnTo>
                  <a:lnTo>
                    <a:pt x="110" y="1"/>
                  </a:lnTo>
                  <a:lnTo>
                    <a:pt x="99" y="0"/>
                  </a:lnTo>
                  <a:lnTo>
                    <a:pt x="99" y="0"/>
                  </a:lnTo>
                  <a:close/>
                  <a:moveTo>
                    <a:pt x="141" y="157"/>
                  </a:moveTo>
                  <a:lnTo>
                    <a:pt x="99" y="136"/>
                  </a:lnTo>
                  <a:lnTo>
                    <a:pt x="58" y="157"/>
                  </a:lnTo>
                  <a:lnTo>
                    <a:pt x="66" y="111"/>
                  </a:lnTo>
                  <a:lnTo>
                    <a:pt x="32" y="79"/>
                  </a:lnTo>
                  <a:lnTo>
                    <a:pt x="79" y="72"/>
                  </a:lnTo>
                  <a:lnTo>
                    <a:pt x="99" y="30"/>
                  </a:lnTo>
                  <a:lnTo>
                    <a:pt x="121" y="72"/>
                  </a:lnTo>
                  <a:lnTo>
                    <a:pt x="167" y="79"/>
                  </a:lnTo>
                  <a:lnTo>
                    <a:pt x="134" y="111"/>
                  </a:lnTo>
                  <a:lnTo>
                    <a:pt x="141" y="157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0" name="Freeform 12"/>
          <p:cNvSpPr>
            <a:spLocks noEditPoints="1"/>
          </p:cNvSpPr>
          <p:nvPr/>
        </p:nvSpPr>
        <p:spPr bwMode="auto">
          <a:xfrm>
            <a:off x="6890231" y="2486543"/>
            <a:ext cx="1120294" cy="1115076"/>
          </a:xfrm>
          <a:custGeom>
            <a:avLst/>
            <a:gdLst>
              <a:gd name="T0" fmla="*/ 239 w 430"/>
              <a:gd name="T1" fmla="*/ 299 h 426"/>
              <a:gd name="T2" fmla="*/ 219 w 430"/>
              <a:gd name="T3" fmla="*/ 309 h 426"/>
              <a:gd name="T4" fmla="*/ 189 w 430"/>
              <a:gd name="T5" fmla="*/ 319 h 426"/>
              <a:gd name="T6" fmla="*/ 159 w 430"/>
              <a:gd name="T7" fmla="*/ 322 h 426"/>
              <a:gd name="T8" fmla="*/ 127 w 430"/>
              <a:gd name="T9" fmla="*/ 319 h 426"/>
              <a:gd name="T10" fmla="*/ 83 w 430"/>
              <a:gd name="T11" fmla="*/ 302 h 426"/>
              <a:gd name="T12" fmla="*/ 47 w 430"/>
              <a:gd name="T13" fmla="*/ 274 h 426"/>
              <a:gd name="T14" fmla="*/ 19 w 430"/>
              <a:gd name="T15" fmla="*/ 237 h 426"/>
              <a:gd name="T16" fmla="*/ 4 w 430"/>
              <a:gd name="T17" fmla="*/ 193 h 426"/>
              <a:gd name="T18" fmla="*/ 0 w 430"/>
              <a:gd name="T19" fmla="*/ 160 h 426"/>
              <a:gd name="T20" fmla="*/ 7 w 430"/>
              <a:gd name="T21" fmla="*/ 113 h 426"/>
              <a:gd name="T22" fmla="*/ 27 w 430"/>
              <a:gd name="T23" fmla="*/ 71 h 426"/>
              <a:gd name="T24" fmla="*/ 58 w 430"/>
              <a:gd name="T25" fmla="*/ 36 h 426"/>
              <a:gd name="T26" fmla="*/ 96 w 430"/>
              <a:gd name="T27" fmla="*/ 13 h 426"/>
              <a:gd name="T28" fmla="*/ 143 w 430"/>
              <a:gd name="T29" fmla="*/ 1 h 426"/>
              <a:gd name="T30" fmla="*/ 175 w 430"/>
              <a:gd name="T31" fmla="*/ 1 h 426"/>
              <a:gd name="T32" fmla="*/ 220 w 430"/>
              <a:gd name="T33" fmla="*/ 13 h 426"/>
              <a:gd name="T34" fmla="*/ 259 w 430"/>
              <a:gd name="T35" fmla="*/ 36 h 426"/>
              <a:gd name="T36" fmla="*/ 289 w 430"/>
              <a:gd name="T37" fmla="*/ 71 h 426"/>
              <a:gd name="T38" fmla="*/ 310 w 430"/>
              <a:gd name="T39" fmla="*/ 113 h 426"/>
              <a:gd name="T40" fmla="*/ 316 w 430"/>
              <a:gd name="T41" fmla="*/ 160 h 426"/>
              <a:gd name="T42" fmla="*/ 315 w 430"/>
              <a:gd name="T43" fmla="*/ 182 h 426"/>
              <a:gd name="T44" fmla="*/ 308 w 430"/>
              <a:gd name="T45" fmla="*/ 213 h 426"/>
              <a:gd name="T46" fmla="*/ 295 w 430"/>
              <a:gd name="T47" fmla="*/ 242 h 426"/>
              <a:gd name="T48" fmla="*/ 397 w 430"/>
              <a:gd name="T49" fmla="*/ 419 h 426"/>
              <a:gd name="T50" fmla="*/ 390 w 430"/>
              <a:gd name="T51" fmla="*/ 424 h 426"/>
              <a:gd name="T52" fmla="*/ 380 w 430"/>
              <a:gd name="T53" fmla="*/ 426 h 426"/>
              <a:gd name="T54" fmla="*/ 366 w 430"/>
              <a:gd name="T55" fmla="*/ 422 h 426"/>
              <a:gd name="T56" fmla="*/ 45 w 430"/>
              <a:gd name="T57" fmla="*/ 160 h 426"/>
              <a:gd name="T58" fmla="*/ 47 w 430"/>
              <a:gd name="T59" fmla="*/ 184 h 426"/>
              <a:gd name="T60" fmla="*/ 58 w 430"/>
              <a:gd name="T61" fmla="*/ 216 h 426"/>
              <a:gd name="T62" fmla="*/ 78 w 430"/>
              <a:gd name="T63" fmla="*/ 243 h 426"/>
              <a:gd name="T64" fmla="*/ 104 w 430"/>
              <a:gd name="T65" fmla="*/ 263 h 426"/>
              <a:gd name="T66" fmla="*/ 135 w 430"/>
              <a:gd name="T67" fmla="*/ 274 h 426"/>
              <a:gd name="T68" fmla="*/ 159 w 430"/>
              <a:gd name="T69" fmla="*/ 277 h 426"/>
              <a:gd name="T70" fmla="*/ 191 w 430"/>
              <a:gd name="T71" fmla="*/ 271 h 426"/>
              <a:gd name="T72" fmla="*/ 212 w 430"/>
              <a:gd name="T73" fmla="*/ 263 h 426"/>
              <a:gd name="T74" fmla="*/ 239 w 430"/>
              <a:gd name="T75" fmla="*/ 243 h 426"/>
              <a:gd name="T76" fmla="*/ 259 w 430"/>
              <a:gd name="T77" fmla="*/ 216 h 426"/>
              <a:gd name="T78" fmla="*/ 268 w 430"/>
              <a:gd name="T79" fmla="*/ 195 h 426"/>
              <a:gd name="T80" fmla="*/ 272 w 430"/>
              <a:gd name="T81" fmla="*/ 160 h 426"/>
              <a:gd name="T82" fmla="*/ 270 w 430"/>
              <a:gd name="T83" fmla="*/ 138 h 426"/>
              <a:gd name="T84" fmla="*/ 259 w 430"/>
              <a:gd name="T85" fmla="*/ 105 h 426"/>
              <a:gd name="T86" fmla="*/ 239 w 430"/>
              <a:gd name="T87" fmla="*/ 78 h 426"/>
              <a:gd name="T88" fmla="*/ 213 w 430"/>
              <a:gd name="T89" fmla="*/ 59 h 426"/>
              <a:gd name="T90" fmla="*/ 182 w 430"/>
              <a:gd name="T91" fmla="*/ 47 h 426"/>
              <a:gd name="T92" fmla="*/ 159 w 430"/>
              <a:gd name="T93" fmla="*/ 45 h 426"/>
              <a:gd name="T94" fmla="*/ 124 w 430"/>
              <a:gd name="T95" fmla="*/ 50 h 426"/>
              <a:gd name="T96" fmla="*/ 94 w 430"/>
              <a:gd name="T97" fmla="*/ 64 h 426"/>
              <a:gd name="T98" fmla="*/ 71 w 430"/>
              <a:gd name="T99" fmla="*/ 87 h 426"/>
              <a:gd name="T100" fmla="*/ 53 w 430"/>
              <a:gd name="T101" fmla="*/ 116 h 426"/>
              <a:gd name="T102" fmla="*/ 45 w 430"/>
              <a:gd name="T103" fmla="*/ 148 h 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30" h="426">
                <a:moveTo>
                  <a:pt x="362" y="419"/>
                </a:moveTo>
                <a:lnTo>
                  <a:pt x="242" y="297"/>
                </a:lnTo>
                <a:lnTo>
                  <a:pt x="239" y="299"/>
                </a:lnTo>
                <a:lnTo>
                  <a:pt x="239" y="299"/>
                </a:lnTo>
                <a:lnTo>
                  <a:pt x="229" y="305"/>
                </a:lnTo>
                <a:lnTo>
                  <a:pt x="219" y="309"/>
                </a:lnTo>
                <a:lnTo>
                  <a:pt x="210" y="312"/>
                </a:lnTo>
                <a:lnTo>
                  <a:pt x="200" y="315"/>
                </a:lnTo>
                <a:lnTo>
                  <a:pt x="189" y="319"/>
                </a:lnTo>
                <a:lnTo>
                  <a:pt x="179" y="320"/>
                </a:lnTo>
                <a:lnTo>
                  <a:pt x="169" y="321"/>
                </a:lnTo>
                <a:lnTo>
                  <a:pt x="159" y="322"/>
                </a:lnTo>
                <a:lnTo>
                  <a:pt x="159" y="322"/>
                </a:lnTo>
                <a:lnTo>
                  <a:pt x="143" y="321"/>
                </a:lnTo>
                <a:lnTo>
                  <a:pt x="127" y="319"/>
                </a:lnTo>
                <a:lnTo>
                  <a:pt x="112" y="314"/>
                </a:lnTo>
                <a:lnTo>
                  <a:pt x="96" y="309"/>
                </a:lnTo>
                <a:lnTo>
                  <a:pt x="83" y="302"/>
                </a:lnTo>
                <a:lnTo>
                  <a:pt x="69" y="294"/>
                </a:lnTo>
                <a:lnTo>
                  <a:pt x="58" y="285"/>
                </a:lnTo>
                <a:lnTo>
                  <a:pt x="47" y="274"/>
                </a:lnTo>
                <a:lnTo>
                  <a:pt x="36" y="263"/>
                </a:lnTo>
                <a:lnTo>
                  <a:pt x="27" y="251"/>
                </a:lnTo>
                <a:lnTo>
                  <a:pt x="19" y="237"/>
                </a:lnTo>
                <a:lnTo>
                  <a:pt x="12" y="223"/>
                </a:lnTo>
                <a:lnTo>
                  <a:pt x="7" y="209"/>
                </a:lnTo>
                <a:lnTo>
                  <a:pt x="4" y="193"/>
                </a:lnTo>
                <a:lnTo>
                  <a:pt x="0" y="177"/>
                </a:lnTo>
                <a:lnTo>
                  <a:pt x="0" y="160"/>
                </a:lnTo>
                <a:lnTo>
                  <a:pt x="0" y="160"/>
                </a:lnTo>
                <a:lnTo>
                  <a:pt x="0" y="144"/>
                </a:lnTo>
                <a:lnTo>
                  <a:pt x="4" y="128"/>
                </a:lnTo>
                <a:lnTo>
                  <a:pt x="7" y="113"/>
                </a:lnTo>
                <a:lnTo>
                  <a:pt x="12" y="98"/>
                </a:lnTo>
                <a:lnTo>
                  <a:pt x="19" y="84"/>
                </a:lnTo>
                <a:lnTo>
                  <a:pt x="27" y="71"/>
                </a:lnTo>
                <a:lnTo>
                  <a:pt x="36" y="59"/>
                </a:lnTo>
                <a:lnTo>
                  <a:pt x="47" y="47"/>
                </a:lnTo>
                <a:lnTo>
                  <a:pt x="58" y="36"/>
                </a:lnTo>
                <a:lnTo>
                  <a:pt x="69" y="28"/>
                </a:lnTo>
                <a:lnTo>
                  <a:pt x="83" y="19"/>
                </a:lnTo>
                <a:lnTo>
                  <a:pt x="96" y="13"/>
                </a:lnTo>
                <a:lnTo>
                  <a:pt x="112" y="7"/>
                </a:lnTo>
                <a:lnTo>
                  <a:pt x="127" y="3"/>
                </a:lnTo>
                <a:lnTo>
                  <a:pt x="143" y="1"/>
                </a:lnTo>
                <a:lnTo>
                  <a:pt x="159" y="0"/>
                </a:lnTo>
                <a:lnTo>
                  <a:pt x="159" y="0"/>
                </a:lnTo>
                <a:lnTo>
                  <a:pt x="175" y="1"/>
                </a:lnTo>
                <a:lnTo>
                  <a:pt x="190" y="3"/>
                </a:lnTo>
                <a:lnTo>
                  <a:pt x="205" y="7"/>
                </a:lnTo>
                <a:lnTo>
                  <a:pt x="220" y="13"/>
                </a:lnTo>
                <a:lnTo>
                  <a:pt x="233" y="19"/>
                </a:lnTo>
                <a:lnTo>
                  <a:pt x="247" y="28"/>
                </a:lnTo>
                <a:lnTo>
                  <a:pt x="259" y="36"/>
                </a:lnTo>
                <a:lnTo>
                  <a:pt x="270" y="47"/>
                </a:lnTo>
                <a:lnTo>
                  <a:pt x="281" y="59"/>
                </a:lnTo>
                <a:lnTo>
                  <a:pt x="289" y="71"/>
                </a:lnTo>
                <a:lnTo>
                  <a:pt x="298" y="84"/>
                </a:lnTo>
                <a:lnTo>
                  <a:pt x="304" y="98"/>
                </a:lnTo>
                <a:lnTo>
                  <a:pt x="310" y="113"/>
                </a:lnTo>
                <a:lnTo>
                  <a:pt x="313" y="128"/>
                </a:lnTo>
                <a:lnTo>
                  <a:pt x="316" y="144"/>
                </a:lnTo>
                <a:lnTo>
                  <a:pt x="316" y="160"/>
                </a:lnTo>
                <a:lnTo>
                  <a:pt x="316" y="160"/>
                </a:lnTo>
                <a:lnTo>
                  <a:pt x="316" y="171"/>
                </a:lnTo>
                <a:lnTo>
                  <a:pt x="315" y="182"/>
                </a:lnTo>
                <a:lnTo>
                  <a:pt x="313" y="193"/>
                </a:lnTo>
                <a:lnTo>
                  <a:pt x="311" y="203"/>
                </a:lnTo>
                <a:lnTo>
                  <a:pt x="308" y="213"/>
                </a:lnTo>
                <a:lnTo>
                  <a:pt x="304" y="223"/>
                </a:lnTo>
                <a:lnTo>
                  <a:pt x="300" y="232"/>
                </a:lnTo>
                <a:lnTo>
                  <a:pt x="295" y="242"/>
                </a:lnTo>
                <a:lnTo>
                  <a:pt x="293" y="246"/>
                </a:lnTo>
                <a:lnTo>
                  <a:pt x="430" y="385"/>
                </a:lnTo>
                <a:lnTo>
                  <a:pt x="397" y="419"/>
                </a:lnTo>
                <a:lnTo>
                  <a:pt x="397" y="419"/>
                </a:lnTo>
                <a:lnTo>
                  <a:pt x="394" y="422"/>
                </a:lnTo>
                <a:lnTo>
                  <a:pt x="390" y="424"/>
                </a:lnTo>
                <a:lnTo>
                  <a:pt x="384" y="425"/>
                </a:lnTo>
                <a:lnTo>
                  <a:pt x="380" y="426"/>
                </a:lnTo>
                <a:lnTo>
                  <a:pt x="380" y="426"/>
                </a:lnTo>
                <a:lnTo>
                  <a:pt x="375" y="425"/>
                </a:lnTo>
                <a:lnTo>
                  <a:pt x="370" y="424"/>
                </a:lnTo>
                <a:lnTo>
                  <a:pt x="366" y="422"/>
                </a:lnTo>
                <a:lnTo>
                  <a:pt x="362" y="419"/>
                </a:lnTo>
                <a:lnTo>
                  <a:pt x="362" y="419"/>
                </a:lnTo>
                <a:close/>
                <a:moveTo>
                  <a:pt x="45" y="160"/>
                </a:moveTo>
                <a:lnTo>
                  <a:pt x="45" y="160"/>
                </a:lnTo>
                <a:lnTo>
                  <a:pt x="45" y="172"/>
                </a:lnTo>
                <a:lnTo>
                  <a:pt x="47" y="184"/>
                </a:lnTo>
                <a:lnTo>
                  <a:pt x="49" y="195"/>
                </a:lnTo>
                <a:lnTo>
                  <a:pt x="53" y="205"/>
                </a:lnTo>
                <a:lnTo>
                  <a:pt x="58" y="216"/>
                </a:lnTo>
                <a:lnTo>
                  <a:pt x="64" y="226"/>
                </a:lnTo>
                <a:lnTo>
                  <a:pt x="71" y="235"/>
                </a:lnTo>
                <a:lnTo>
                  <a:pt x="78" y="243"/>
                </a:lnTo>
                <a:lnTo>
                  <a:pt x="86" y="250"/>
                </a:lnTo>
                <a:lnTo>
                  <a:pt x="94" y="257"/>
                </a:lnTo>
                <a:lnTo>
                  <a:pt x="104" y="263"/>
                </a:lnTo>
                <a:lnTo>
                  <a:pt x="114" y="268"/>
                </a:lnTo>
                <a:lnTo>
                  <a:pt x="124" y="271"/>
                </a:lnTo>
                <a:lnTo>
                  <a:pt x="135" y="274"/>
                </a:lnTo>
                <a:lnTo>
                  <a:pt x="147" y="277"/>
                </a:lnTo>
                <a:lnTo>
                  <a:pt x="159" y="277"/>
                </a:lnTo>
                <a:lnTo>
                  <a:pt x="159" y="277"/>
                </a:lnTo>
                <a:lnTo>
                  <a:pt x="170" y="277"/>
                </a:lnTo>
                <a:lnTo>
                  <a:pt x="181" y="274"/>
                </a:lnTo>
                <a:lnTo>
                  <a:pt x="191" y="271"/>
                </a:lnTo>
                <a:lnTo>
                  <a:pt x="202" y="268"/>
                </a:lnTo>
                <a:lnTo>
                  <a:pt x="202" y="268"/>
                </a:lnTo>
                <a:lnTo>
                  <a:pt x="212" y="263"/>
                </a:lnTo>
                <a:lnTo>
                  <a:pt x="221" y="257"/>
                </a:lnTo>
                <a:lnTo>
                  <a:pt x="231" y="251"/>
                </a:lnTo>
                <a:lnTo>
                  <a:pt x="239" y="243"/>
                </a:lnTo>
                <a:lnTo>
                  <a:pt x="246" y="235"/>
                </a:lnTo>
                <a:lnTo>
                  <a:pt x="253" y="226"/>
                </a:lnTo>
                <a:lnTo>
                  <a:pt x="259" y="216"/>
                </a:lnTo>
                <a:lnTo>
                  <a:pt x="264" y="205"/>
                </a:lnTo>
                <a:lnTo>
                  <a:pt x="264" y="205"/>
                </a:lnTo>
                <a:lnTo>
                  <a:pt x="268" y="195"/>
                </a:lnTo>
                <a:lnTo>
                  <a:pt x="270" y="184"/>
                </a:lnTo>
                <a:lnTo>
                  <a:pt x="272" y="172"/>
                </a:lnTo>
                <a:lnTo>
                  <a:pt x="272" y="160"/>
                </a:lnTo>
                <a:lnTo>
                  <a:pt x="272" y="160"/>
                </a:lnTo>
                <a:lnTo>
                  <a:pt x="272" y="148"/>
                </a:lnTo>
                <a:lnTo>
                  <a:pt x="270" y="138"/>
                </a:lnTo>
                <a:lnTo>
                  <a:pt x="268" y="126"/>
                </a:lnTo>
                <a:lnTo>
                  <a:pt x="264" y="116"/>
                </a:lnTo>
                <a:lnTo>
                  <a:pt x="259" y="105"/>
                </a:lnTo>
                <a:lnTo>
                  <a:pt x="253" y="96"/>
                </a:lnTo>
                <a:lnTo>
                  <a:pt x="246" y="87"/>
                </a:lnTo>
                <a:lnTo>
                  <a:pt x="239" y="78"/>
                </a:lnTo>
                <a:lnTo>
                  <a:pt x="231" y="71"/>
                </a:lnTo>
                <a:lnTo>
                  <a:pt x="223" y="64"/>
                </a:lnTo>
                <a:lnTo>
                  <a:pt x="213" y="59"/>
                </a:lnTo>
                <a:lnTo>
                  <a:pt x="203" y="53"/>
                </a:lnTo>
                <a:lnTo>
                  <a:pt x="192" y="50"/>
                </a:lnTo>
                <a:lnTo>
                  <a:pt x="182" y="47"/>
                </a:lnTo>
                <a:lnTo>
                  <a:pt x="170" y="45"/>
                </a:lnTo>
                <a:lnTo>
                  <a:pt x="159" y="45"/>
                </a:lnTo>
                <a:lnTo>
                  <a:pt x="159" y="45"/>
                </a:lnTo>
                <a:lnTo>
                  <a:pt x="147" y="45"/>
                </a:lnTo>
                <a:lnTo>
                  <a:pt x="135" y="47"/>
                </a:lnTo>
                <a:lnTo>
                  <a:pt x="124" y="50"/>
                </a:lnTo>
                <a:lnTo>
                  <a:pt x="114" y="53"/>
                </a:lnTo>
                <a:lnTo>
                  <a:pt x="104" y="59"/>
                </a:lnTo>
                <a:lnTo>
                  <a:pt x="94" y="64"/>
                </a:lnTo>
                <a:lnTo>
                  <a:pt x="86" y="71"/>
                </a:lnTo>
                <a:lnTo>
                  <a:pt x="78" y="78"/>
                </a:lnTo>
                <a:lnTo>
                  <a:pt x="71" y="87"/>
                </a:lnTo>
                <a:lnTo>
                  <a:pt x="64" y="96"/>
                </a:lnTo>
                <a:lnTo>
                  <a:pt x="58" y="105"/>
                </a:lnTo>
                <a:lnTo>
                  <a:pt x="53" y="116"/>
                </a:lnTo>
                <a:lnTo>
                  <a:pt x="49" y="126"/>
                </a:lnTo>
                <a:lnTo>
                  <a:pt x="47" y="138"/>
                </a:lnTo>
                <a:lnTo>
                  <a:pt x="45" y="148"/>
                </a:lnTo>
                <a:lnTo>
                  <a:pt x="45" y="160"/>
                </a:lnTo>
                <a:lnTo>
                  <a:pt x="45" y="160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21" name="Group 4"/>
          <p:cNvGrpSpPr>
            <a:grpSpLocks noChangeAspect="1"/>
          </p:cNvGrpSpPr>
          <p:nvPr/>
        </p:nvGrpSpPr>
        <p:grpSpPr bwMode="auto">
          <a:xfrm>
            <a:off x="9603364" y="2430477"/>
            <a:ext cx="1026536" cy="1227208"/>
            <a:chOff x="3639" y="620"/>
            <a:chExt cx="133" cy="159"/>
          </a:xfrm>
        </p:grpSpPr>
        <p:sp>
          <p:nvSpPr>
            <p:cNvPr id="22" name="Freeform 5"/>
            <p:cNvSpPr>
              <a:spLocks/>
            </p:cNvSpPr>
            <p:nvPr/>
          </p:nvSpPr>
          <p:spPr bwMode="auto">
            <a:xfrm>
              <a:off x="3639" y="764"/>
              <a:ext cx="133" cy="15"/>
            </a:xfrm>
            <a:custGeom>
              <a:avLst/>
              <a:gdLst>
                <a:gd name="T0" fmla="*/ 0 w 401"/>
                <a:gd name="T1" fmla="*/ 0 h 45"/>
                <a:gd name="T2" fmla="*/ 0 w 401"/>
                <a:gd name="T3" fmla="*/ 13 h 45"/>
                <a:gd name="T4" fmla="*/ 0 w 401"/>
                <a:gd name="T5" fmla="*/ 13 h 45"/>
                <a:gd name="T6" fmla="*/ 0 w 401"/>
                <a:gd name="T7" fmla="*/ 20 h 45"/>
                <a:gd name="T8" fmla="*/ 3 w 401"/>
                <a:gd name="T9" fmla="*/ 25 h 45"/>
                <a:gd name="T10" fmla="*/ 5 w 401"/>
                <a:gd name="T11" fmla="*/ 30 h 45"/>
                <a:gd name="T12" fmla="*/ 9 w 401"/>
                <a:gd name="T13" fmla="*/ 36 h 45"/>
                <a:gd name="T14" fmla="*/ 15 w 401"/>
                <a:gd name="T15" fmla="*/ 40 h 45"/>
                <a:gd name="T16" fmla="*/ 20 w 401"/>
                <a:gd name="T17" fmla="*/ 42 h 45"/>
                <a:gd name="T18" fmla="*/ 25 w 401"/>
                <a:gd name="T19" fmla="*/ 44 h 45"/>
                <a:gd name="T20" fmla="*/ 32 w 401"/>
                <a:gd name="T21" fmla="*/ 45 h 45"/>
                <a:gd name="T22" fmla="*/ 401 w 401"/>
                <a:gd name="T23" fmla="*/ 45 h 45"/>
                <a:gd name="T24" fmla="*/ 401 w 401"/>
                <a:gd name="T25" fmla="*/ 0 h 45"/>
                <a:gd name="T26" fmla="*/ 0 w 401"/>
                <a:gd name="T2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1" h="45">
                  <a:moveTo>
                    <a:pt x="0" y="0"/>
                  </a:moveTo>
                  <a:lnTo>
                    <a:pt x="0" y="13"/>
                  </a:lnTo>
                  <a:lnTo>
                    <a:pt x="0" y="13"/>
                  </a:lnTo>
                  <a:lnTo>
                    <a:pt x="0" y="20"/>
                  </a:lnTo>
                  <a:lnTo>
                    <a:pt x="3" y="25"/>
                  </a:lnTo>
                  <a:lnTo>
                    <a:pt x="5" y="30"/>
                  </a:lnTo>
                  <a:lnTo>
                    <a:pt x="9" y="36"/>
                  </a:lnTo>
                  <a:lnTo>
                    <a:pt x="15" y="40"/>
                  </a:lnTo>
                  <a:lnTo>
                    <a:pt x="20" y="42"/>
                  </a:lnTo>
                  <a:lnTo>
                    <a:pt x="25" y="44"/>
                  </a:lnTo>
                  <a:lnTo>
                    <a:pt x="32" y="45"/>
                  </a:lnTo>
                  <a:lnTo>
                    <a:pt x="401" y="45"/>
                  </a:lnTo>
                  <a:lnTo>
                    <a:pt x="40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6"/>
            <p:cNvSpPr>
              <a:spLocks/>
            </p:cNvSpPr>
            <p:nvPr/>
          </p:nvSpPr>
          <p:spPr bwMode="auto">
            <a:xfrm>
              <a:off x="3654" y="620"/>
              <a:ext cx="103" cy="103"/>
            </a:xfrm>
            <a:custGeom>
              <a:avLst/>
              <a:gdLst>
                <a:gd name="T0" fmla="*/ 155 w 309"/>
                <a:gd name="T1" fmla="*/ 310 h 310"/>
                <a:gd name="T2" fmla="*/ 215 w 309"/>
                <a:gd name="T3" fmla="*/ 217 h 310"/>
                <a:gd name="T4" fmla="*/ 309 w 309"/>
                <a:gd name="T5" fmla="*/ 155 h 310"/>
                <a:gd name="T6" fmla="*/ 217 w 309"/>
                <a:gd name="T7" fmla="*/ 94 h 310"/>
                <a:gd name="T8" fmla="*/ 155 w 309"/>
                <a:gd name="T9" fmla="*/ 0 h 310"/>
                <a:gd name="T10" fmla="*/ 93 w 309"/>
                <a:gd name="T11" fmla="*/ 94 h 310"/>
                <a:gd name="T12" fmla="*/ 0 w 309"/>
                <a:gd name="T13" fmla="*/ 155 h 310"/>
                <a:gd name="T14" fmla="*/ 94 w 309"/>
                <a:gd name="T15" fmla="*/ 214 h 310"/>
                <a:gd name="T16" fmla="*/ 155 w 309"/>
                <a:gd name="T17" fmla="*/ 31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9" h="310">
                  <a:moveTo>
                    <a:pt x="155" y="310"/>
                  </a:moveTo>
                  <a:lnTo>
                    <a:pt x="215" y="217"/>
                  </a:lnTo>
                  <a:lnTo>
                    <a:pt x="309" y="155"/>
                  </a:lnTo>
                  <a:lnTo>
                    <a:pt x="217" y="94"/>
                  </a:lnTo>
                  <a:lnTo>
                    <a:pt x="155" y="0"/>
                  </a:lnTo>
                  <a:lnTo>
                    <a:pt x="93" y="94"/>
                  </a:lnTo>
                  <a:lnTo>
                    <a:pt x="0" y="155"/>
                  </a:lnTo>
                  <a:lnTo>
                    <a:pt x="94" y="214"/>
                  </a:lnTo>
                  <a:lnTo>
                    <a:pt x="155" y="31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auto">
            <a:xfrm>
              <a:off x="3663" y="742"/>
              <a:ext cx="86" cy="15"/>
            </a:xfrm>
            <a:prstGeom prst="rect">
              <a:avLst/>
            </a:pr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5" name="Freeform 18"/>
          <p:cNvSpPr>
            <a:spLocks noEditPoints="1"/>
          </p:cNvSpPr>
          <p:nvPr/>
        </p:nvSpPr>
        <p:spPr bwMode="auto">
          <a:xfrm>
            <a:off x="1557727" y="2486565"/>
            <a:ext cx="1120292" cy="1115032"/>
          </a:xfrm>
          <a:custGeom>
            <a:avLst/>
            <a:gdLst>
              <a:gd name="T0" fmla="*/ 326 w 424"/>
              <a:gd name="T1" fmla="*/ 263 h 424"/>
              <a:gd name="T2" fmla="*/ 396 w 424"/>
              <a:gd name="T3" fmla="*/ 225 h 424"/>
              <a:gd name="T4" fmla="*/ 376 w 424"/>
              <a:gd name="T5" fmla="*/ 298 h 424"/>
              <a:gd name="T6" fmla="*/ 275 w 424"/>
              <a:gd name="T7" fmla="*/ 376 h 424"/>
              <a:gd name="T8" fmla="*/ 359 w 424"/>
              <a:gd name="T9" fmla="*/ 325 h 424"/>
              <a:gd name="T10" fmla="*/ 328 w 424"/>
              <a:gd name="T11" fmla="*/ 356 h 424"/>
              <a:gd name="T12" fmla="*/ 277 w 424"/>
              <a:gd name="T13" fmla="*/ 386 h 424"/>
              <a:gd name="T14" fmla="*/ 117 w 424"/>
              <a:gd name="T15" fmla="*/ 325 h 424"/>
              <a:gd name="T16" fmla="*/ 161 w 424"/>
              <a:gd name="T17" fmla="*/ 390 h 424"/>
              <a:gd name="T18" fmla="*/ 120 w 424"/>
              <a:gd name="T19" fmla="*/ 372 h 424"/>
              <a:gd name="T20" fmla="*/ 75 w 424"/>
              <a:gd name="T21" fmla="*/ 335 h 424"/>
              <a:gd name="T22" fmla="*/ 41 w 424"/>
              <a:gd name="T23" fmla="*/ 281 h 424"/>
              <a:gd name="T24" fmla="*/ 93 w 424"/>
              <a:gd name="T25" fmla="*/ 225 h 424"/>
              <a:gd name="T26" fmla="*/ 102 w 424"/>
              <a:gd name="T27" fmla="*/ 281 h 424"/>
              <a:gd name="T28" fmla="*/ 106 w 424"/>
              <a:gd name="T29" fmla="*/ 127 h 424"/>
              <a:gd name="T30" fmla="*/ 94 w 424"/>
              <a:gd name="T31" fmla="*/ 180 h 424"/>
              <a:gd name="T32" fmla="*/ 30 w 424"/>
              <a:gd name="T33" fmla="*/ 180 h 424"/>
              <a:gd name="T34" fmla="*/ 161 w 424"/>
              <a:gd name="T35" fmla="*/ 34 h 424"/>
              <a:gd name="T36" fmla="*/ 125 w 424"/>
              <a:gd name="T37" fmla="*/ 82 h 424"/>
              <a:gd name="T38" fmla="*/ 75 w 424"/>
              <a:gd name="T39" fmla="*/ 88 h 424"/>
              <a:gd name="T40" fmla="*/ 120 w 424"/>
              <a:gd name="T41" fmla="*/ 52 h 424"/>
              <a:gd name="T42" fmla="*/ 359 w 424"/>
              <a:gd name="T43" fmla="*/ 100 h 424"/>
              <a:gd name="T44" fmla="*/ 287 w 424"/>
              <a:gd name="T45" fmla="*/ 64 h 424"/>
              <a:gd name="T46" fmla="*/ 276 w 424"/>
              <a:gd name="T47" fmla="*/ 39 h 424"/>
              <a:gd name="T48" fmla="*/ 328 w 424"/>
              <a:gd name="T49" fmla="*/ 69 h 424"/>
              <a:gd name="T50" fmla="*/ 225 w 424"/>
              <a:gd name="T51" fmla="*/ 199 h 424"/>
              <a:gd name="T52" fmla="*/ 295 w 424"/>
              <a:gd name="T53" fmla="*/ 144 h 424"/>
              <a:gd name="T54" fmla="*/ 225 w 424"/>
              <a:gd name="T55" fmla="*/ 199 h 424"/>
              <a:gd name="T56" fmla="*/ 304 w 424"/>
              <a:gd name="T57" fmla="*/ 225 h 424"/>
              <a:gd name="T58" fmla="*/ 289 w 424"/>
              <a:gd name="T59" fmla="*/ 298 h 424"/>
              <a:gd name="T60" fmla="*/ 277 w 424"/>
              <a:gd name="T61" fmla="*/ 325 h 424"/>
              <a:gd name="T62" fmla="*/ 241 w 424"/>
              <a:gd name="T63" fmla="*/ 375 h 424"/>
              <a:gd name="T64" fmla="*/ 199 w 424"/>
              <a:gd name="T65" fmla="*/ 388 h 424"/>
              <a:gd name="T66" fmla="*/ 157 w 424"/>
              <a:gd name="T67" fmla="*/ 343 h 424"/>
              <a:gd name="T68" fmla="*/ 199 w 424"/>
              <a:gd name="T69" fmla="*/ 298 h 424"/>
              <a:gd name="T70" fmla="*/ 124 w 424"/>
              <a:gd name="T71" fmla="*/ 263 h 424"/>
              <a:gd name="T72" fmla="*/ 199 w 424"/>
              <a:gd name="T73" fmla="*/ 127 h 424"/>
              <a:gd name="T74" fmla="*/ 121 w 424"/>
              <a:gd name="T75" fmla="*/ 180 h 424"/>
              <a:gd name="T76" fmla="*/ 199 w 424"/>
              <a:gd name="T77" fmla="*/ 127 h 424"/>
              <a:gd name="T78" fmla="*/ 146 w 424"/>
              <a:gd name="T79" fmla="*/ 100 h 424"/>
              <a:gd name="T80" fmla="*/ 199 w 424"/>
              <a:gd name="T81" fmla="*/ 37 h 424"/>
              <a:gd name="T82" fmla="*/ 225 w 424"/>
              <a:gd name="T83" fmla="*/ 38 h 424"/>
              <a:gd name="T84" fmla="*/ 277 w 424"/>
              <a:gd name="T85" fmla="*/ 100 h 424"/>
              <a:gd name="T86" fmla="*/ 390 w 424"/>
              <a:gd name="T87" fmla="*/ 161 h 424"/>
              <a:gd name="T88" fmla="*/ 330 w 424"/>
              <a:gd name="T89" fmla="*/ 199 h 424"/>
              <a:gd name="T90" fmla="*/ 317 w 424"/>
              <a:gd name="T91" fmla="*/ 127 h 424"/>
              <a:gd name="T92" fmla="*/ 191 w 424"/>
              <a:gd name="T93" fmla="*/ 2 h 424"/>
              <a:gd name="T94" fmla="*/ 111 w 424"/>
              <a:gd name="T95" fmla="*/ 26 h 424"/>
              <a:gd name="T96" fmla="*/ 49 w 424"/>
              <a:gd name="T97" fmla="*/ 77 h 424"/>
              <a:gd name="T98" fmla="*/ 9 w 424"/>
              <a:gd name="T99" fmla="*/ 149 h 424"/>
              <a:gd name="T100" fmla="*/ 0 w 424"/>
              <a:gd name="T101" fmla="*/ 212 h 424"/>
              <a:gd name="T102" fmla="*/ 17 w 424"/>
              <a:gd name="T103" fmla="*/ 295 h 424"/>
              <a:gd name="T104" fmla="*/ 62 w 424"/>
              <a:gd name="T105" fmla="*/ 362 h 424"/>
              <a:gd name="T106" fmla="*/ 129 w 424"/>
              <a:gd name="T107" fmla="*/ 407 h 424"/>
              <a:gd name="T108" fmla="*/ 212 w 424"/>
              <a:gd name="T109" fmla="*/ 424 h 424"/>
              <a:gd name="T110" fmla="*/ 275 w 424"/>
              <a:gd name="T111" fmla="*/ 415 h 424"/>
              <a:gd name="T112" fmla="*/ 347 w 424"/>
              <a:gd name="T113" fmla="*/ 375 h 424"/>
              <a:gd name="T114" fmla="*/ 399 w 424"/>
              <a:gd name="T115" fmla="*/ 313 h 424"/>
              <a:gd name="T116" fmla="*/ 422 w 424"/>
              <a:gd name="T117" fmla="*/ 234 h 424"/>
              <a:gd name="T118" fmla="*/ 419 w 424"/>
              <a:gd name="T119" fmla="*/ 169 h 424"/>
              <a:gd name="T120" fmla="*/ 388 w 424"/>
              <a:gd name="T121" fmla="*/ 94 h 424"/>
              <a:gd name="T122" fmla="*/ 330 w 424"/>
              <a:gd name="T123" fmla="*/ 37 h 424"/>
              <a:gd name="T124" fmla="*/ 255 w 424"/>
              <a:gd name="T125" fmla="*/ 5 h 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24" h="424">
                <a:moveTo>
                  <a:pt x="317" y="298"/>
                </a:moveTo>
                <a:lnTo>
                  <a:pt x="317" y="298"/>
                </a:lnTo>
                <a:lnTo>
                  <a:pt x="322" y="281"/>
                </a:lnTo>
                <a:lnTo>
                  <a:pt x="326" y="263"/>
                </a:lnTo>
                <a:lnTo>
                  <a:pt x="329" y="244"/>
                </a:lnTo>
                <a:lnTo>
                  <a:pt x="330" y="225"/>
                </a:lnTo>
                <a:lnTo>
                  <a:pt x="396" y="225"/>
                </a:lnTo>
                <a:lnTo>
                  <a:pt x="396" y="225"/>
                </a:lnTo>
                <a:lnTo>
                  <a:pt x="394" y="244"/>
                </a:lnTo>
                <a:lnTo>
                  <a:pt x="390" y="264"/>
                </a:lnTo>
                <a:lnTo>
                  <a:pt x="384" y="281"/>
                </a:lnTo>
                <a:lnTo>
                  <a:pt x="376" y="298"/>
                </a:lnTo>
                <a:lnTo>
                  <a:pt x="317" y="298"/>
                </a:lnTo>
                <a:close/>
                <a:moveTo>
                  <a:pt x="262" y="390"/>
                </a:moveTo>
                <a:lnTo>
                  <a:pt x="262" y="390"/>
                </a:lnTo>
                <a:lnTo>
                  <a:pt x="275" y="376"/>
                </a:lnTo>
                <a:lnTo>
                  <a:pt x="287" y="360"/>
                </a:lnTo>
                <a:lnTo>
                  <a:pt x="298" y="343"/>
                </a:lnTo>
                <a:lnTo>
                  <a:pt x="307" y="325"/>
                </a:lnTo>
                <a:lnTo>
                  <a:pt x="359" y="325"/>
                </a:lnTo>
                <a:lnTo>
                  <a:pt x="359" y="325"/>
                </a:lnTo>
                <a:lnTo>
                  <a:pt x="349" y="335"/>
                </a:lnTo>
                <a:lnTo>
                  <a:pt x="340" y="346"/>
                </a:lnTo>
                <a:lnTo>
                  <a:pt x="328" y="356"/>
                </a:lnTo>
                <a:lnTo>
                  <a:pt x="316" y="364"/>
                </a:lnTo>
                <a:lnTo>
                  <a:pt x="304" y="373"/>
                </a:lnTo>
                <a:lnTo>
                  <a:pt x="290" y="379"/>
                </a:lnTo>
                <a:lnTo>
                  <a:pt x="277" y="386"/>
                </a:lnTo>
                <a:lnTo>
                  <a:pt x="262" y="390"/>
                </a:lnTo>
                <a:close/>
                <a:moveTo>
                  <a:pt x="65" y="325"/>
                </a:moveTo>
                <a:lnTo>
                  <a:pt x="117" y="325"/>
                </a:lnTo>
                <a:lnTo>
                  <a:pt x="117" y="325"/>
                </a:lnTo>
                <a:lnTo>
                  <a:pt x="125" y="343"/>
                </a:lnTo>
                <a:lnTo>
                  <a:pt x="136" y="360"/>
                </a:lnTo>
                <a:lnTo>
                  <a:pt x="148" y="375"/>
                </a:lnTo>
                <a:lnTo>
                  <a:pt x="161" y="390"/>
                </a:lnTo>
                <a:lnTo>
                  <a:pt x="161" y="390"/>
                </a:lnTo>
                <a:lnTo>
                  <a:pt x="147" y="385"/>
                </a:lnTo>
                <a:lnTo>
                  <a:pt x="133" y="379"/>
                </a:lnTo>
                <a:lnTo>
                  <a:pt x="120" y="372"/>
                </a:lnTo>
                <a:lnTo>
                  <a:pt x="107" y="364"/>
                </a:lnTo>
                <a:lnTo>
                  <a:pt x="95" y="356"/>
                </a:lnTo>
                <a:lnTo>
                  <a:pt x="84" y="346"/>
                </a:lnTo>
                <a:lnTo>
                  <a:pt x="75" y="335"/>
                </a:lnTo>
                <a:lnTo>
                  <a:pt x="65" y="325"/>
                </a:lnTo>
                <a:close/>
                <a:moveTo>
                  <a:pt x="48" y="298"/>
                </a:moveTo>
                <a:lnTo>
                  <a:pt x="48" y="298"/>
                </a:lnTo>
                <a:lnTo>
                  <a:pt x="41" y="281"/>
                </a:lnTo>
                <a:lnTo>
                  <a:pt x="34" y="264"/>
                </a:lnTo>
                <a:lnTo>
                  <a:pt x="30" y="244"/>
                </a:lnTo>
                <a:lnTo>
                  <a:pt x="28" y="225"/>
                </a:lnTo>
                <a:lnTo>
                  <a:pt x="93" y="225"/>
                </a:lnTo>
                <a:lnTo>
                  <a:pt x="93" y="225"/>
                </a:lnTo>
                <a:lnTo>
                  <a:pt x="94" y="244"/>
                </a:lnTo>
                <a:lnTo>
                  <a:pt x="97" y="263"/>
                </a:lnTo>
                <a:lnTo>
                  <a:pt x="102" y="281"/>
                </a:lnTo>
                <a:lnTo>
                  <a:pt x="106" y="298"/>
                </a:lnTo>
                <a:lnTo>
                  <a:pt x="48" y="298"/>
                </a:lnTo>
                <a:close/>
                <a:moveTo>
                  <a:pt x="48" y="127"/>
                </a:moveTo>
                <a:lnTo>
                  <a:pt x="106" y="127"/>
                </a:lnTo>
                <a:lnTo>
                  <a:pt x="106" y="127"/>
                </a:lnTo>
                <a:lnTo>
                  <a:pt x="102" y="144"/>
                </a:lnTo>
                <a:lnTo>
                  <a:pt x="97" y="162"/>
                </a:lnTo>
                <a:lnTo>
                  <a:pt x="94" y="180"/>
                </a:lnTo>
                <a:lnTo>
                  <a:pt x="93" y="199"/>
                </a:lnTo>
                <a:lnTo>
                  <a:pt x="28" y="199"/>
                </a:lnTo>
                <a:lnTo>
                  <a:pt x="28" y="199"/>
                </a:lnTo>
                <a:lnTo>
                  <a:pt x="30" y="180"/>
                </a:lnTo>
                <a:lnTo>
                  <a:pt x="34" y="161"/>
                </a:lnTo>
                <a:lnTo>
                  <a:pt x="41" y="143"/>
                </a:lnTo>
                <a:lnTo>
                  <a:pt x="48" y="127"/>
                </a:lnTo>
                <a:close/>
                <a:moveTo>
                  <a:pt x="161" y="34"/>
                </a:moveTo>
                <a:lnTo>
                  <a:pt x="161" y="34"/>
                </a:lnTo>
                <a:lnTo>
                  <a:pt x="148" y="49"/>
                </a:lnTo>
                <a:lnTo>
                  <a:pt x="136" y="64"/>
                </a:lnTo>
                <a:lnTo>
                  <a:pt x="125" y="82"/>
                </a:lnTo>
                <a:lnTo>
                  <a:pt x="117" y="100"/>
                </a:lnTo>
                <a:lnTo>
                  <a:pt x="65" y="100"/>
                </a:lnTo>
                <a:lnTo>
                  <a:pt x="65" y="100"/>
                </a:lnTo>
                <a:lnTo>
                  <a:pt x="75" y="88"/>
                </a:lnTo>
                <a:lnTo>
                  <a:pt x="84" y="78"/>
                </a:lnTo>
                <a:lnTo>
                  <a:pt x="96" y="69"/>
                </a:lnTo>
                <a:lnTo>
                  <a:pt x="107" y="60"/>
                </a:lnTo>
                <a:lnTo>
                  <a:pt x="120" y="52"/>
                </a:lnTo>
                <a:lnTo>
                  <a:pt x="133" y="45"/>
                </a:lnTo>
                <a:lnTo>
                  <a:pt x="147" y="40"/>
                </a:lnTo>
                <a:lnTo>
                  <a:pt x="161" y="34"/>
                </a:lnTo>
                <a:close/>
                <a:moveTo>
                  <a:pt x="359" y="100"/>
                </a:moveTo>
                <a:lnTo>
                  <a:pt x="307" y="100"/>
                </a:lnTo>
                <a:lnTo>
                  <a:pt x="307" y="100"/>
                </a:lnTo>
                <a:lnTo>
                  <a:pt x="298" y="82"/>
                </a:lnTo>
                <a:lnTo>
                  <a:pt x="287" y="64"/>
                </a:lnTo>
                <a:lnTo>
                  <a:pt x="275" y="48"/>
                </a:lnTo>
                <a:lnTo>
                  <a:pt x="262" y="34"/>
                </a:lnTo>
                <a:lnTo>
                  <a:pt x="262" y="34"/>
                </a:lnTo>
                <a:lnTo>
                  <a:pt x="276" y="39"/>
                </a:lnTo>
                <a:lnTo>
                  <a:pt x="290" y="45"/>
                </a:lnTo>
                <a:lnTo>
                  <a:pt x="303" y="52"/>
                </a:lnTo>
                <a:lnTo>
                  <a:pt x="316" y="59"/>
                </a:lnTo>
                <a:lnTo>
                  <a:pt x="328" y="69"/>
                </a:lnTo>
                <a:lnTo>
                  <a:pt x="338" y="78"/>
                </a:lnTo>
                <a:lnTo>
                  <a:pt x="349" y="88"/>
                </a:lnTo>
                <a:lnTo>
                  <a:pt x="359" y="100"/>
                </a:lnTo>
                <a:close/>
                <a:moveTo>
                  <a:pt x="225" y="199"/>
                </a:moveTo>
                <a:lnTo>
                  <a:pt x="225" y="127"/>
                </a:lnTo>
                <a:lnTo>
                  <a:pt x="289" y="127"/>
                </a:lnTo>
                <a:lnTo>
                  <a:pt x="289" y="127"/>
                </a:lnTo>
                <a:lnTo>
                  <a:pt x="295" y="144"/>
                </a:lnTo>
                <a:lnTo>
                  <a:pt x="299" y="161"/>
                </a:lnTo>
                <a:lnTo>
                  <a:pt x="302" y="180"/>
                </a:lnTo>
                <a:lnTo>
                  <a:pt x="304" y="199"/>
                </a:lnTo>
                <a:lnTo>
                  <a:pt x="225" y="199"/>
                </a:lnTo>
                <a:close/>
                <a:moveTo>
                  <a:pt x="225" y="298"/>
                </a:moveTo>
                <a:lnTo>
                  <a:pt x="225" y="225"/>
                </a:lnTo>
                <a:lnTo>
                  <a:pt x="304" y="225"/>
                </a:lnTo>
                <a:lnTo>
                  <a:pt x="304" y="225"/>
                </a:lnTo>
                <a:lnTo>
                  <a:pt x="302" y="244"/>
                </a:lnTo>
                <a:lnTo>
                  <a:pt x="299" y="263"/>
                </a:lnTo>
                <a:lnTo>
                  <a:pt x="295" y="281"/>
                </a:lnTo>
                <a:lnTo>
                  <a:pt x="289" y="298"/>
                </a:lnTo>
                <a:lnTo>
                  <a:pt x="225" y="298"/>
                </a:lnTo>
                <a:close/>
                <a:moveTo>
                  <a:pt x="225" y="387"/>
                </a:moveTo>
                <a:lnTo>
                  <a:pt x="225" y="325"/>
                </a:lnTo>
                <a:lnTo>
                  <a:pt x="277" y="325"/>
                </a:lnTo>
                <a:lnTo>
                  <a:pt x="277" y="325"/>
                </a:lnTo>
                <a:lnTo>
                  <a:pt x="267" y="343"/>
                </a:lnTo>
                <a:lnTo>
                  <a:pt x="254" y="360"/>
                </a:lnTo>
                <a:lnTo>
                  <a:pt x="241" y="375"/>
                </a:lnTo>
                <a:lnTo>
                  <a:pt x="225" y="387"/>
                </a:lnTo>
                <a:close/>
                <a:moveTo>
                  <a:pt x="199" y="325"/>
                </a:moveTo>
                <a:lnTo>
                  <a:pt x="199" y="388"/>
                </a:lnTo>
                <a:lnTo>
                  <a:pt x="199" y="388"/>
                </a:lnTo>
                <a:lnTo>
                  <a:pt x="191" y="381"/>
                </a:lnTo>
                <a:lnTo>
                  <a:pt x="183" y="375"/>
                </a:lnTo>
                <a:lnTo>
                  <a:pt x="169" y="360"/>
                </a:lnTo>
                <a:lnTo>
                  <a:pt x="157" y="343"/>
                </a:lnTo>
                <a:lnTo>
                  <a:pt x="146" y="325"/>
                </a:lnTo>
                <a:lnTo>
                  <a:pt x="199" y="325"/>
                </a:lnTo>
                <a:close/>
                <a:moveTo>
                  <a:pt x="199" y="225"/>
                </a:moveTo>
                <a:lnTo>
                  <a:pt x="199" y="298"/>
                </a:lnTo>
                <a:lnTo>
                  <a:pt x="134" y="298"/>
                </a:lnTo>
                <a:lnTo>
                  <a:pt x="134" y="298"/>
                </a:lnTo>
                <a:lnTo>
                  <a:pt x="128" y="281"/>
                </a:lnTo>
                <a:lnTo>
                  <a:pt x="124" y="263"/>
                </a:lnTo>
                <a:lnTo>
                  <a:pt x="121" y="244"/>
                </a:lnTo>
                <a:lnTo>
                  <a:pt x="120" y="225"/>
                </a:lnTo>
                <a:lnTo>
                  <a:pt x="199" y="225"/>
                </a:lnTo>
                <a:close/>
                <a:moveTo>
                  <a:pt x="199" y="127"/>
                </a:moveTo>
                <a:lnTo>
                  <a:pt x="199" y="199"/>
                </a:lnTo>
                <a:lnTo>
                  <a:pt x="120" y="199"/>
                </a:lnTo>
                <a:lnTo>
                  <a:pt x="120" y="199"/>
                </a:lnTo>
                <a:lnTo>
                  <a:pt x="121" y="180"/>
                </a:lnTo>
                <a:lnTo>
                  <a:pt x="124" y="162"/>
                </a:lnTo>
                <a:lnTo>
                  <a:pt x="128" y="144"/>
                </a:lnTo>
                <a:lnTo>
                  <a:pt x="135" y="127"/>
                </a:lnTo>
                <a:lnTo>
                  <a:pt x="199" y="127"/>
                </a:lnTo>
                <a:close/>
                <a:moveTo>
                  <a:pt x="199" y="37"/>
                </a:moveTo>
                <a:lnTo>
                  <a:pt x="199" y="100"/>
                </a:lnTo>
                <a:lnTo>
                  <a:pt x="146" y="100"/>
                </a:lnTo>
                <a:lnTo>
                  <a:pt x="146" y="100"/>
                </a:lnTo>
                <a:lnTo>
                  <a:pt x="157" y="82"/>
                </a:lnTo>
                <a:lnTo>
                  <a:pt x="169" y="64"/>
                </a:lnTo>
                <a:lnTo>
                  <a:pt x="183" y="49"/>
                </a:lnTo>
                <a:lnTo>
                  <a:pt x="199" y="37"/>
                </a:lnTo>
                <a:close/>
                <a:moveTo>
                  <a:pt x="277" y="100"/>
                </a:moveTo>
                <a:lnTo>
                  <a:pt x="225" y="100"/>
                </a:lnTo>
                <a:lnTo>
                  <a:pt x="225" y="38"/>
                </a:lnTo>
                <a:lnTo>
                  <a:pt x="225" y="38"/>
                </a:lnTo>
                <a:lnTo>
                  <a:pt x="240" y="50"/>
                </a:lnTo>
                <a:lnTo>
                  <a:pt x="254" y="64"/>
                </a:lnTo>
                <a:lnTo>
                  <a:pt x="267" y="82"/>
                </a:lnTo>
                <a:lnTo>
                  <a:pt x="277" y="100"/>
                </a:lnTo>
                <a:close/>
                <a:moveTo>
                  <a:pt x="376" y="127"/>
                </a:moveTo>
                <a:lnTo>
                  <a:pt x="376" y="127"/>
                </a:lnTo>
                <a:lnTo>
                  <a:pt x="384" y="143"/>
                </a:lnTo>
                <a:lnTo>
                  <a:pt x="390" y="161"/>
                </a:lnTo>
                <a:lnTo>
                  <a:pt x="394" y="180"/>
                </a:lnTo>
                <a:lnTo>
                  <a:pt x="396" y="199"/>
                </a:lnTo>
                <a:lnTo>
                  <a:pt x="330" y="199"/>
                </a:lnTo>
                <a:lnTo>
                  <a:pt x="330" y="199"/>
                </a:lnTo>
                <a:lnTo>
                  <a:pt x="329" y="180"/>
                </a:lnTo>
                <a:lnTo>
                  <a:pt x="326" y="162"/>
                </a:lnTo>
                <a:lnTo>
                  <a:pt x="322" y="144"/>
                </a:lnTo>
                <a:lnTo>
                  <a:pt x="317" y="127"/>
                </a:lnTo>
                <a:lnTo>
                  <a:pt x="376" y="127"/>
                </a:lnTo>
                <a:close/>
                <a:moveTo>
                  <a:pt x="212" y="0"/>
                </a:moveTo>
                <a:lnTo>
                  <a:pt x="212" y="0"/>
                </a:lnTo>
                <a:lnTo>
                  <a:pt x="191" y="2"/>
                </a:lnTo>
                <a:lnTo>
                  <a:pt x="169" y="5"/>
                </a:lnTo>
                <a:lnTo>
                  <a:pt x="149" y="10"/>
                </a:lnTo>
                <a:lnTo>
                  <a:pt x="129" y="17"/>
                </a:lnTo>
                <a:lnTo>
                  <a:pt x="111" y="26"/>
                </a:lnTo>
                <a:lnTo>
                  <a:pt x="94" y="37"/>
                </a:lnTo>
                <a:lnTo>
                  <a:pt x="77" y="49"/>
                </a:lnTo>
                <a:lnTo>
                  <a:pt x="62" y="62"/>
                </a:lnTo>
                <a:lnTo>
                  <a:pt x="49" y="77"/>
                </a:lnTo>
                <a:lnTo>
                  <a:pt x="36" y="94"/>
                </a:lnTo>
                <a:lnTo>
                  <a:pt x="25" y="112"/>
                </a:lnTo>
                <a:lnTo>
                  <a:pt x="17" y="130"/>
                </a:lnTo>
                <a:lnTo>
                  <a:pt x="9" y="149"/>
                </a:lnTo>
                <a:lnTo>
                  <a:pt x="5" y="169"/>
                </a:lnTo>
                <a:lnTo>
                  <a:pt x="2" y="191"/>
                </a:lnTo>
                <a:lnTo>
                  <a:pt x="0" y="212"/>
                </a:lnTo>
                <a:lnTo>
                  <a:pt x="0" y="212"/>
                </a:lnTo>
                <a:lnTo>
                  <a:pt x="2" y="234"/>
                </a:lnTo>
                <a:lnTo>
                  <a:pt x="5" y="255"/>
                </a:lnTo>
                <a:lnTo>
                  <a:pt x="9" y="275"/>
                </a:lnTo>
                <a:lnTo>
                  <a:pt x="17" y="295"/>
                </a:lnTo>
                <a:lnTo>
                  <a:pt x="25" y="313"/>
                </a:lnTo>
                <a:lnTo>
                  <a:pt x="36" y="330"/>
                </a:lnTo>
                <a:lnTo>
                  <a:pt x="49" y="347"/>
                </a:lnTo>
                <a:lnTo>
                  <a:pt x="62" y="362"/>
                </a:lnTo>
                <a:lnTo>
                  <a:pt x="77" y="375"/>
                </a:lnTo>
                <a:lnTo>
                  <a:pt x="94" y="388"/>
                </a:lnTo>
                <a:lnTo>
                  <a:pt x="111" y="399"/>
                </a:lnTo>
                <a:lnTo>
                  <a:pt x="129" y="407"/>
                </a:lnTo>
                <a:lnTo>
                  <a:pt x="149" y="415"/>
                </a:lnTo>
                <a:lnTo>
                  <a:pt x="169" y="419"/>
                </a:lnTo>
                <a:lnTo>
                  <a:pt x="191" y="422"/>
                </a:lnTo>
                <a:lnTo>
                  <a:pt x="212" y="424"/>
                </a:lnTo>
                <a:lnTo>
                  <a:pt x="212" y="424"/>
                </a:lnTo>
                <a:lnTo>
                  <a:pt x="233" y="422"/>
                </a:lnTo>
                <a:lnTo>
                  <a:pt x="255" y="419"/>
                </a:lnTo>
                <a:lnTo>
                  <a:pt x="275" y="415"/>
                </a:lnTo>
                <a:lnTo>
                  <a:pt x="295" y="407"/>
                </a:lnTo>
                <a:lnTo>
                  <a:pt x="313" y="399"/>
                </a:lnTo>
                <a:lnTo>
                  <a:pt x="330" y="388"/>
                </a:lnTo>
                <a:lnTo>
                  <a:pt x="347" y="375"/>
                </a:lnTo>
                <a:lnTo>
                  <a:pt x="362" y="362"/>
                </a:lnTo>
                <a:lnTo>
                  <a:pt x="375" y="347"/>
                </a:lnTo>
                <a:lnTo>
                  <a:pt x="388" y="330"/>
                </a:lnTo>
                <a:lnTo>
                  <a:pt x="399" y="313"/>
                </a:lnTo>
                <a:lnTo>
                  <a:pt x="407" y="295"/>
                </a:lnTo>
                <a:lnTo>
                  <a:pt x="415" y="275"/>
                </a:lnTo>
                <a:lnTo>
                  <a:pt x="419" y="255"/>
                </a:lnTo>
                <a:lnTo>
                  <a:pt x="422" y="234"/>
                </a:lnTo>
                <a:lnTo>
                  <a:pt x="424" y="212"/>
                </a:lnTo>
                <a:lnTo>
                  <a:pt x="424" y="212"/>
                </a:lnTo>
                <a:lnTo>
                  <a:pt x="422" y="191"/>
                </a:lnTo>
                <a:lnTo>
                  <a:pt x="419" y="169"/>
                </a:lnTo>
                <a:lnTo>
                  <a:pt x="415" y="149"/>
                </a:lnTo>
                <a:lnTo>
                  <a:pt x="407" y="130"/>
                </a:lnTo>
                <a:lnTo>
                  <a:pt x="399" y="112"/>
                </a:lnTo>
                <a:lnTo>
                  <a:pt x="388" y="94"/>
                </a:lnTo>
                <a:lnTo>
                  <a:pt x="375" y="77"/>
                </a:lnTo>
                <a:lnTo>
                  <a:pt x="362" y="62"/>
                </a:lnTo>
                <a:lnTo>
                  <a:pt x="347" y="49"/>
                </a:lnTo>
                <a:lnTo>
                  <a:pt x="330" y="37"/>
                </a:lnTo>
                <a:lnTo>
                  <a:pt x="313" y="26"/>
                </a:lnTo>
                <a:lnTo>
                  <a:pt x="295" y="17"/>
                </a:lnTo>
                <a:lnTo>
                  <a:pt x="275" y="10"/>
                </a:lnTo>
                <a:lnTo>
                  <a:pt x="255" y="5"/>
                </a:lnTo>
                <a:lnTo>
                  <a:pt x="233" y="2"/>
                </a:lnTo>
                <a:lnTo>
                  <a:pt x="21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735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 txBox="1">
            <a:spLocks/>
          </p:cNvSpPr>
          <p:nvPr/>
        </p:nvSpPr>
        <p:spPr>
          <a:xfrm flipH="1">
            <a:off x="876300" y="2447926"/>
            <a:ext cx="2526084" cy="2181224"/>
          </a:xfrm>
          <a:prstGeom prst="round2DiagRect">
            <a:avLst>
              <a:gd name="adj1" fmla="val 6284"/>
              <a:gd name="adj2" fmla="val 0"/>
            </a:avLst>
          </a:prstGeom>
          <a:solidFill>
            <a:schemeClr val="bg2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b="1" dirty="0">
                <a:solidFill>
                  <a:srgbClr val="0096D6"/>
                </a:solidFill>
              </a:rPr>
              <a:t>Integrity protection: </a:t>
            </a:r>
            <a:r>
              <a:rPr lang="en-US" sz="1600" dirty="0">
                <a:solidFill>
                  <a:prstClr val="black"/>
                </a:solidFill>
              </a:rPr>
              <a:t>secure boot and </a:t>
            </a:r>
            <a:r>
              <a:rPr lang="en-US" sz="1600" dirty="0" smtClean="0">
                <a:solidFill>
                  <a:prstClr val="black"/>
                </a:solidFill>
              </a:rPr>
              <a:t>firmware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 flipH="1">
            <a:off x="3514072" y="2447926"/>
            <a:ext cx="2526084" cy="2181224"/>
          </a:xfrm>
          <a:prstGeom prst="round2DiagRect">
            <a:avLst>
              <a:gd name="adj1" fmla="val 5738"/>
              <a:gd name="adj2" fmla="val 0"/>
            </a:avLst>
          </a:prstGeom>
          <a:solidFill>
            <a:schemeClr val="bg2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b="1" dirty="0">
                <a:solidFill>
                  <a:srgbClr val="0096D6"/>
                </a:solidFill>
              </a:rPr>
              <a:t>Run time</a:t>
            </a:r>
            <a:br>
              <a:rPr lang="en-US" b="1" dirty="0">
                <a:solidFill>
                  <a:srgbClr val="0096D6"/>
                </a:solidFill>
              </a:rPr>
            </a:br>
            <a:r>
              <a:rPr lang="en-US" b="1" dirty="0">
                <a:solidFill>
                  <a:srgbClr val="0096D6"/>
                </a:solidFill>
              </a:rPr>
              <a:t>monitoring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 flipH="1">
            <a:off x="6151844" y="2447926"/>
            <a:ext cx="2526084" cy="2181224"/>
          </a:xfrm>
          <a:prstGeom prst="round2DiagRect">
            <a:avLst>
              <a:gd name="adj1" fmla="val 5738"/>
              <a:gd name="adj2" fmla="val 0"/>
            </a:avLst>
          </a:prstGeom>
          <a:solidFill>
            <a:schemeClr val="bg2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b="1" dirty="0">
                <a:solidFill>
                  <a:srgbClr val="0096D6"/>
                </a:solidFill>
              </a:rPr>
              <a:t>Access</a:t>
            </a:r>
            <a:br>
              <a:rPr lang="en-US" b="1" dirty="0">
                <a:solidFill>
                  <a:srgbClr val="0096D6"/>
                </a:solidFill>
              </a:rPr>
            </a:br>
            <a:r>
              <a:rPr lang="en-US" b="1" dirty="0">
                <a:solidFill>
                  <a:srgbClr val="0096D6"/>
                </a:solidFill>
              </a:rPr>
              <a:t>control</a:t>
            </a: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 flipH="1">
            <a:off x="8789616" y="2447926"/>
            <a:ext cx="2526084" cy="2181224"/>
          </a:xfrm>
          <a:prstGeom prst="round2DiagRect">
            <a:avLst>
              <a:gd name="adj1" fmla="val 6284"/>
              <a:gd name="adj2" fmla="val 0"/>
            </a:avLst>
          </a:prstGeom>
          <a:solidFill>
            <a:schemeClr val="bg2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b="1" dirty="0">
                <a:solidFill>
                  <a:srgbClr val="0096D6"/>
                </a:solidFill>
              </a:rPr>
              <a:t>Data protection:</a:t>
            </a:r>
            <a:br>
              <a:rPr lang="en-US" b="1" dirty="0">
                <a:solidFill>
                  <a:srgbClr val="0096D6"/>
                </a:solidFill>
              </a:rPr>
            </a:br>
            <a:r>
              <a:rPr lang="en-US" sz="1600" dirty="0" smtClean="0">
                <a:solidFill>
                  <a:prstClr val="black"/>
                </a:solidFill>
              </a:rPr>
              <a:t>low </a:t>
            </a:r>
            <a:r>
              <a:rPr lang="en-US" sz="1600" dirty="0">
                <a:solidFill>
                  <a:prstClr val="black"/>
                </a:solidFill>
              </a:rPr>
              <a:t>energy encry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Protec</a:t>
            </a:r>
            <a:r>
              <a:rPr lang="en-US" dirty="0">
                <a:solidFill>
                  <a:schemeClr val="accent1"/>
                </a:solidFill>
              </a:rPr>
              <a:t>t:</a:t>
            </a:r>
            <a:r>
              <a:rPr lang="en-US" dirty="0" smtClean="0"/>
              <a:t> Prevent malicious actions</a:t>
            </a:r>
            <a:endParaRPr lang="hi-IN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Some examples are:</a:t>
            </a:r>
          </a:p>
        </p:txBody>
      </p:sp>
      <p:sp>
        <p:nvSpPr>
          <p:cNvPr id="11" name="Freeform 34"/>
          <p:cNvSpPr>
            <a:spLocks noEditPoints="1"/>
          </p:cNvSpPr>
          <p:nvPr/>
        </p:nvSpPr>
        <p:spPr bwMode="auto">
          <a:xfrm>
            <a:off x="11134650" y="466550"/>
            <a:ext cx="362098" cy="428800"/>
          </a:xfrm>
          <a:custGeom>
            <a:avLst/>
            <a:gdLst>
              <a:gd name="T0" fmla="*/ 257 w 303"/>
              <a:gd name="T1" fmla="*/ 165 h 359"/>
              <a:gd name="T2" fmla="*/ 257 w 303"/>
              <a:gd name="T3" fmla="*/ 108 h 359"/>
              <a:gd name="T4" fmla="*/ 255 w 303"/>
              <a:gd name="T5" fmla="*/ 86 h 359"/>
              <a:gd name="T6" fmla="*/ 248 w 303"/>
              <a:gd name="T7" fmla="*/ 66 h 359"/>
              <a:gd name="T8" fmla="*/ 238 w 303"/>
              <a:gd name="T9" fmla="*/ 48 h 359"/>
              <a:gd name="T10" fmla="*/ 225 w 303"/>
              <a:gd name="T11" fmla="*/ 33 h 359"/>
              <a:gd name="T12" fmla="*/ 209 w 303"/>
              <a:gd name="T13" fmla="*/ 19 h 359"/>
              <a:gd name="T14" fmla="*/ 191 w 303"/>
              <a:gd name="T15" fmla="*/ 9 h 359"/>
              <a:gd name="T16" fmla="*/ 171 w 303"/>
              <a:gd name="T17" fmla="*/ 3 h 359"/>
              <a:gd name="T18" fmla="*/ 150 w 303"/>
              <a:gd name="T19" fmla="*/ 0 h 359"/>
              <a:gd name="T20" fmla="*/ 139 w 303"/>
              <a:gd name="T21" fmla="*/ 2 h 359"/>
              <a:gd name="T22" fmla="*/ 118 w 303"/>
              <a:gd name="T23" fmla="*/ 6 h 359"/>
              <a:gd name="T24" fmla="*/ 98 w 303"/>
              <a:gd name="T25" fmla="*/ 13 h 359"/>
              <a:gd name="T26" fmla="*/ 82 w 303"/>
              <a:gd name="T27" fmla="*/ 25 h 359"/>
              <a:gd name="T28" fmla="*/ 67 w 303"/>
              <a:gd name="T29" fmla="*/ 40 h 359"/>
              <a:gd name="T30" fmla="*/ 55 w 303"/>
              <a:gd name="T31" fmla="*/ 56 h 359"/>
              <a:gd name="T32" fmla="*/ 48 w 303"/>
              <a:gd name="T33" fmla="*/ 76 h 359"/>
              <a:gd name="T34" fmla="*/ 43 w 303"/>
              <a:gd name="T35" fmla="*/ 97 h 359"/>
              <a:gd name="T36" fmla="*/ 42 w 303"/>
              <a:gd name="T37" fmla="*/ 165 h 359"/>
              <a:gd name="T38" fmla="*/ 0 w 303"/>
              <a:gd name="T39" fmla="*/ 337 h 359"/>
              <a:gd name="T40" fmla="*/ 1 w 303"/>
              <a:gd name="T41" fmla="*/ 341 h 359"/>
              <a:gd name="T42" fmla="*/ 4 w 303"/>
              <a:gd name="T43" fmla="*/ 350 h 359"/>
              <a:gd name="T44" fmla="*/ 11 w 303"/>
              <a:gd name="T45" fmla="*/ 355 h 359"/>
              <a:gd name="T46" fmla="*/ 18 w 303"/>
              <a:gd name="T47" fmla="*/ 359 h 359"/>
              <a:gd name="T48" fmla="*/ 303 w 303"/>
              <a:gd name="T49" fmla="*/ 359 h 359"/>
              <a:gd name="T50" fmla="*/ 303 w 303"/>
              <a:gd name="T51" fmla="*/ 187 h 359"/>
              <a:gd name="T52" fmla="*/ 301 w 303"/>
              <a:gd name="T53" fmla="*/ 179 h 359"/>
              <a:gd name="T54" fmla="*/ 297 w 303"/>
              <a:gd name="T55" fmla="*/ 171 h 359"/>
              <a:gd name="T56" fmla="*/ 289 w 303"/>
              <a:gd name="T57" fmla="*/ 167 h 359"/>
              <a:gd name="T58" fmla="*/ 280 w 303"/>
              <a:gd name="T59" fmla="*/ 165 h 359"/>
              <a:gd name="T60" fmla="*/ 88 w 303"/>
              <a:gd name="T61" fmla="*/ 108 h 359"/>
              <a:gd name="T62" fmla="*/ 90 w 303"/>
              <a:gd name="T63" fmla="*/ 95 h 359"/>
              <a:gd name="T64" fmla="*/ 99 w 303"/>
              <a:gd name="T65" fmla="*/ 74 h 359"/>
              <a:gd name="T66" fmla="*/ 115 w 303"/>
              <a:gd name="T67" fmla="*/ 57 h 359"/>
              <a:gd name="T68" fmla="*/ 137 w 303"/>
              <a:gd name="T69" fmla="*/ 48 h 359"/>
              <a:gd name="T70" fmla="*/ 150 w 303"/>
              <a:gd name="T71" fmla="*/ 47 h 359"/>
              <a:gd name="T72" fmla="*/ 174 w 303"/>
              <a:gd name="T73" fmla="*/ 51 h 359"/>
              <a:gd name="T74" fmla="*/ 193 w 303"/>
              <a:gd name="T75" fmla="*/ 65 h 359"/>
              <a:gd name="T76" fmla="*/ 206 w 303"/>
              <a:gd name="T77" fmla="*/ 84 h 359"/>
              <a:gd name="T78" fmla="*/ 211 w 303"/>
              <a:gd name="T79" fmla="*/ 108 h 359"/>
              <a:gd name="T80" fmla="*/ 88 w 303"/>
              <a:gd name="T81" fmla="*/ 165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03" h="359">
                <a:moveTo>
                  <a:pt x="280" y="165"/>
                </a:moveTo>
                <a:lnTo>
                  <a:pt x="257" y="165"/>
                </a:lnTo>
                <a:lnTo>
                  <a:pt x="257" y="108"/>
                </a:lnTo>
                <a:lnTo>
                  <a:pt x="257" y="108"/>
                </a:lnTo>
                <a:lnTo>
                  <a:pt x="257" y="97"/>
                </a:lnTo>
                <a:lnTo>
                  <a:pt x="255" y="86"/>
                </a:lnTo>
                <a:lnTo>
                  <a:pt x="252" y="76"/>
                </a:lnTo>
                <a:lnTo>
                  <a:pt x="248" y="66"/>
                </a:lnTo>
                <a:lnTo>
                  <a:pt x="244" y="56"/>
                </a:lnTo>
                <a:lnTo>
                  <a:pt x="238" y="48"/>
                </a:lnTo>
                <a:lnTo>
                  <a:pt x="233" y="40"/>
                </a:lnTo>
                <a:lnTo>
                  <a:pt x="225" y="33"/>
                </a:lnTo>
                <a:lnTo>
                  <a:pt x="218" y="25"/>
                </a:lnTo>
                <a:lnTo>
                  <a:pt x="209" y="19"/>
                </a:lnTo>
                <a:lnTo>
                  <a:pt x="201" y="13"/>
                </a:lnTo>
                <a:lnTo>
                  <a:pt x="191" y="9"/>
                </a:lnTo>
                <a:lnTo>
                  <a:pt x="181" y="6"/>
                </a:lnTo>
                <a:lnTo>
                  <a:pt x="171" y="3"/>
                </a:lnTo>
                <a:lnTo>
                  <a:pt x="161" y="2"/>
                </a:lnTo>
                <a:lnTo>
                  <a:pt x="150" y="0"/>
                </a:lnTo>
                <a:lnTo>
                  <a:pt x="150" y="0"/>
                </a:lnTo>
                <a:lnTo>
                  <a:pt x="139" y="2"/>
                </a:lnTo>
                <a:lnTo>
                  <a:pt x="128" y="3"/>
                </a:lnTo>
                <a:lnTo>
                  <a:pt x="118" y="6"/>
                </a:lnTo>
                <a:lnTo>
                  <a:pt x="108" y="9"/>
                </a:lnTo>
                <a:lnTo>
                  <a:pt x="98" y="13"/>
                </a:lnTo>
                <a:lnTo>
                  <a:pt x="90" y="19"/>
                </a:lnTo>
                <a:lnTo>
                  <a:pt x="82" y="25"/>
                </a:lnTo>
                <a:lnTo>
                  <a:pt x="74" y="33"/>
                </a:lnTo>
                <a:lnTo>
                  <a:pt x="67" y="40"/>
                </a:lnTo>
                <a:lnTo>
                  <a:pt x="60" y="48"/>
                </a:lnTo>
                <a:lnTo>
                  <a:pt x="55" y="56"/>
                </a:lnTo>
                <a:lnTo>
                  <a:pt x="51" y="66"/>
                </a:lnTo>
                <a:lnTo>
                  <a:pt x="48" y="76"/>
                </a:lnTo>
                <a:lnTo>
                  <a:pt x="44" y="86"/>
                </a:lnTo>
                <a:lnTo>
                  <a:pt x="43" y="97"/>
                </a:lnTo>
                <a:lnTo>
                  <a:pt x="42" y="108"/>
                </a:lnTo>
                <a:lnTo>
                  <a:pt x="42" y="165"/>
                </a:lnTo>
                <a:lnTo>
                  <a:pt x="0" y="165"/>
                </a:lnTo>
                <a:lnTo>
                  <a:pt x="0" y="337"/>
                </a:lnTo>
                <a:lnTo>
                  <a:pt x="0" y="337"/>
                </a:lnTo>
                <a:lnTo>
                  <a:pt x="1" y="341"/>
                </a:lnTo>
                <a:lnTo>
                  <a:pt x="2" y="345"/>
                </a:lnTo>
                <a:lnTo>
                  <a:pt x="4" y="350"/>
                </a:lnTo>
                <a:lnTo>
                  <a:pt x="8" y="353"/>
                </a:lnTo>
                <a:lnTo>
                  <a:pt x="11" y="355"/>
                </a:lnTo>
                <a:lnTo>
                  <a:pt x="14" y="357"/>
                </a:lnTo>
                <a:lnTo>
                  <a:pt x="18" y="359"/>
                </a:lnTo>
                <a:lnTo>
                  <a:pt x="24" y="359"/>
                </a:lnTo>
                <a:lnTo>
                  <a:pt x="303" y="359"/>
                </a:lnTo>
                <a:lnTo>
                  <a:pt x="303" y="187"/>
                </a:lnTo>
                <a:lnTo>
                  <a:pt x="303" y="187"/>
                </a:lnTo>
                <a:lnTo>
                  <a:pt x="302" y="183"/>
                </a:lnTo>
                <a:lnTo>
                  <a:pt x="301" y="179"/>
                </a:lnTo>
                <a:lnTo>
                  <a:pt x="299" y="175"/>
                </a:lnTo>
                <a:lnTo>
                  <a:pt x="297" y="171"/>
                </a:lnTo>
                <a:lnTo>
                  <a:pt x="292" y="169"/>
                </a:lnTo>
                <a:lnTo>
                  <a:pt x="289" y="167"/>
                </a:lnTo>
                <a:lnTo>
                  <a:pt x="285" y="165"/>
                </a:lnTo>
                <a:lnTo>
                  <a:pt x="280" y="165"/>
                </a:lnTo>
                <a:lnTo>
                  <a:pt x="280" y="165"/>
                </a:lnTo>
                <a:close/>
                <a:moveTo>
                  <a:pt x="88" y="108"/>
                </a:moveTo>
                <a:lnTo>
                  <a:pt x="88" y="108"/>
                </a:lnTo>
                <a:lnTo>
                  <a:pt x="90" y="95"/>
                </a:lnTo>
                <a:lnTo>
                  <a:pt x="93" y="84"/>
                </a:lnTo>
                <a:lnTo>
                  <a:pt x="99" y="74"/>
                </a:lnTo>
                <a:lnTo>
                  <a:pt x="107" y="65"/>
                </a:lnTo>
                <a:lnTo>
                  <a:pt x="115" y="57"/>
                </a:lnTo>
                <a:lnTo>
                  <a:pt x="126" y="51"/>
                </a:lnTo>
                <a:lnTo>
                  <a:pt x="137" y="48"/>
                </a:lnTo>
                <a:lnTo>
                  <a:pt x="150" y="47"/>
                </a:lnTo>
                <a:lnTo>
                  <a:pt x="150" y="47"/>
                </a:lnTo>
                <a:lnTo>
                  <a:pt x="162" y="48"/>
                </a:lnTo>
                <a:lnTo>
                  <a:pt x="174" y="51"/>
                </a:lnTo>
                <a:lnTo>
                  <a:pt x="184" y="57"/>
                </a:lnTo>
                <a:lnTo>
                  <a:pt x="193" y="65"/>
                </a:lnTo>
                <a:lnTo>
                  <a:pt x="201" y="74"/>
                </a:lnTo>
                <a:lnTo>
                  <a:pt x="206" y="84"/>
                </a:lnTo>
                <a:lnTo>
                  <a:pt x="209" y="95"/>
                </a:lnTo>
                <a:lnTo>
                  <a:pt x="211" y="108"/>
                </a:lnTo>
                <a:lnTo>
                  <a:pt x="211" y="165"/>
                </a:lnTo>
                <a:lnTo>
                  <a:pt x="88" y="165"/>
                </a:lnTo>
                <a:lnTo>
                  <a:pt x="88" y="108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12" name="Group 4"/>
          <p:cNvGrpSpPr>
            <a:grpSpLocks noChangeAspect="1"/>
          </p:cNvGrpSpPr>
          <p:nvPr/>
        </p:nvGrpSpPr>
        <p:grpSpPr bwMode="auto">
          <a:xfrm>
            <a:off x="9665915" y="2763875"/>
            <a:ext cx="773486" cy="952326"/>
            <a:chOff x="3699" y="622"/>
            <a:chExt cx="173" cy="213"/>
          </a:xfrm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3699" y="622"/>
              <a:ext cx="127" cy="213"/>
            </a:xfrm>
            <a:custGeom>
              <a:avLst/>
              <a:gdLst>
                <a:gd name="T0" fmla="*/ 149 w 254"/>
                <a:gd name="T1" fmla="*/ 412 h 426"/>
                <a:gd name="T2" fmla="*/ 149 w 254"/>
                <a:gd name="T3" fmla="*/ 283 h 426"/>
                <a:gd name="T4" fmla="*/ 174 w 254"/>
                <a:gd name="T5" fmla="*/ 283 h 426"/>
                <a:gd name="T6" fmla="*/ 174 w 254"/>
                <a:gd name="T7" fmla="*/ 277 h 426"/>
                <a:gd name="T8" fmla="*/ 174 w 254"/>
                <a:gd name="T9" fmla="*/ 277 h 426"/>
                <a:gd name="T10" fmla="*/ 174 w 254"/>
                <a:gd name="T11" fmla="*/ 270 h 426"/>
                <a:gd name="T12" fmla="*/ 175 w 254"/>
                <a:gd name="T13" fmla="*/ 261 h 426"/>
                <a:gd name="T14" fmla="*/ 177 w 254"/>
                <a:gd name="T15" fmla="*/ 254 h 426"/>
                <a:gd name="T16" fmla="*/ 181 w 254"/>
                <a:gd name="T17" fmla="*/ 246 h 426"/>
                <a:gd name="T18" fmla="*/ 184 w 254"/>
                <a:gd name="T19" fmla="*/ 240 h 426"/>
                <a:gd name="T20" fmla="*/ 188 w 254"/>
                <a:gd name="T21" fmla="*/ 233 h 426"/>
                <a:gd name="T22" fmla="*/ 192 w 254"/>
                <a:gd name="T23" fmla="*/ 227 h 426"/>
                <a:gd name="T24" fmla="*/ 198 w 254"/>
                <a:gd name="T25" fmla="*/ 222 h 426"/>
                <a:gd name="T26" fmla="*/ 203 w 254"/>
                <a:gd name="T27" fmla="*/ 216 h 426"/>
                <a:gd name="T28" fmla="*/ 209 w 254"/>
                <a:gd name="T29" fmla="*/ 212 h 426"/>
                <a:gd name="T30" fmla="*/ 216 w 254"/>
                <a:gd name="T31" fmla="*/ 208 h 426"/>
                <a:gd name="T32" fmla="*/ 223 w 254"/>
                <a:gd name="T33" fmla="*/ 204 h 426"/>
                <a:gd name="T34" fmla="*/ 230 w 254"/>
                <a:gd name="T35" fmla="*/ 201 h 426"/>
                <a:gd name="T36" fmla="*/ 238 w 254"/>
                <a:gd name="T37" fmla="*/ 199 h 426"/>
                <a:gd name="T38" fmla="*/ 245 w 254"/>
                <a:gd name="T39" fmla="*/ 198 h 426"/>
                <a:gd name="T40" fmla="*/ 254 w 254"/>
                <a:gd name="T41" fmla="*/ 198 h 426"/>
                <a:gd name="T42" fmla="*/ 254 w 254"/>
                <a:gd name="T43" fmla="*/ 31 h 426"/>
                <a:gd name="T44" fmla="*/ 254 w 254"/>
                <a:gd name="T45" fmla="*/ 31 h 426"/>
                <a:gd name="T46" fmla="*/ 253 w 254"/>
                <a:gd name="T47" fmla="*/ 25 h 426"/>
                <a:gd name="T48" fmla="*/ 251 w 254"/>
                <a:gd name="T49" fmla="*/ 20 h 426"/>
                <a:gd name="T50" fmla="*/ 249 w 254"/>
                <a:gd name="T51" fmla="*/ 14 h 426"/>
                <a:gd name="T52" fmla="*/ 244 w 254"/>
                <a:gd name="T53" fmla="*/ 10 h 426"/>
                <a:gd name="T54" fmla="*/ 240 w 254"/>
                <a:gd name="T55" fmla="*/ 6 h 426"/>
                <a:gd name="T56" fmla="*/ 235 w 254"/>
                <a:gd name="T57" fmla="*/ 3 h 426"/>
                <a:gd name="T58" fmla="*/ 229 w 254"/>
                <a:gd name="T59" fmla="*/ 1 h 426"/>
                <a:gd name="T60" fmla="*/ 223 w 254"/>
                <a:gd name="T61" fmla="*/ 0 h 426"/>
                <a:gd name="T62" fmla="*/ 0 w 254"/>
                <a:gd name="T63" fmla="*/ 0 h 426"/>
                <a:gd name="T64" fmla="*/ 0 w 254"/>
                <a:gd name="T65" fmla="*/ 50 h 426"/>
                <a:gd name="T66" fmla="*/ 198 w 254"/>
                <a:gd name="T67" fmla="*/ 50 h 426"/>
                <a:gd name="T68" fmla="*/ 198 w 254"/>
                <a:gd name="T69" fmla="*/ 70 h 426"/>
                <a:gd name="T70" fmla="*/ 0 w 254"/>
                <a:gd name="T71" fmla="*/ 70 h 426"/>
                <a:gd name="T72" fmla="*/ 0 w 254"/>
                <a:gd name="T73" fmla="*/ 100 h 426"/>
                <a:gd name="T74" fmla="*/ 198 w 254"/>
                <a:gd name="T75" fmla="*/ 100 h 426"/>
                <a:gd name="T76" fmla="*/ 198 w 254"/>
                <a:gd name="T77" fmla="*/ 122 h 426"/>
                <a:gd name="T78" fmla="*/ 0 w 254"/>
                <a:gd name="T79" fmla="*/ 122 h 426"/>
                <a:gd name="T80" fmla="*/ 0 w 254"/>
                <a:gd name="T81" fmla="*/ 395 h 426"/>
                <a:gd name="T82" fmla="*/ 0 w 254"/>
                <a:gd name="T83" fmla="*/ 395 h 426"/>
                <a:gd name="T84" fmla="*/ 1 w 254"/>
                <a:gd name="T85" fmla="*/ 401 h 426"/>
                <a:gd name="T86" fmla="*/ 3 w 254"/>
                <a:gd name="T87" fmla="*/ 406 h 426"/>
                <a:gd name="T88" fmla="*/ 5 w 254"/>
                <a:gd name="T89" fmla="*/ 412 h 426"/>
                <a:gd name="T90" fmla="*/ 9 w 254"/>
                <a:gd name="T91" fmla="*/ 416 h 426"/>
                <a:gd name="T92" fmla="*/ 14 w 254"/>
                <a:gd name="T93" fmla="*/ 420 h 426"/>
                <a:gd name="T94" fmla="*/ 19 w 254"/>
                <a:gd name="T95" fmla="*/ 423 h 426"/>
                <a:gd name="T96" fmla="*/ 24 w 254"/>
                <a:gd name="T97" fmla="*/ 425 h 426"/>
                <a:gd name="T98" fmla="*/ 31 w 254"/>
                <a:gd name="T99" fmla="*/ 426 h 426"/>
                <a:gd name="T100" fmla="*/ 153 w 254"/>
                <a:gd name="T101" fmla="*/ 426 h 426"/>
                <a:gd name="T102" fmla="*/ 153 w 254"/>
                <a:gd name="T103" fmla="*/ 426 h 426"/>
                <a:gd name="T104" fmla="*/ 150 w 254"/>
                <a:gd name="T105" fmla="*/ 419 h 426"/>
                <a:gd name="T106" fmla="*/ 149 w 254"/>
                <a:gd name="T107" fmla="*/ 412 h 426"/>
                <a:gd name="T108" fmla="*/ 149 w 254"/>
                <a:gd name="T109" fmla="*/ 412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4" h="426">
                  <a:moveTo>
                    <a:pt x="149" y="412"/>
                  </a:moveTo>
                  <a:lnTo>
                    <a:pt x="149" y="283"/>
                  </a:lnTo>
                  <a:lnTo>
                    <a:pt x="174" y="283"/>
                  </a:lnTo>
                  <a:lnTo>
                    <a:pt x="174" y="277"/>
                  </a:lnTo>
                  <a:lnTo>
                    <a:pt x="174" y="277"/>
                  </a:lnTo>
                  <a:lnTo>
                    <a:pt x="174" y="270"/>
                  </a:lnTo>
                  <a:lnTo>
                    <a:pt x="175" y="261"/>
                  </a:lnTo>
                  <a:lnTo>
                    <a:pt x="177" y="254"/>
                  </a:lnTo>
                  <a:lnTo>
                    <a:pt x="181" y="246"/>
                  </a:lnTo>
                  <a:lnTo>
                    <a:pt x="184" y="240"/>
                  </a:lnTo>
                  <a:lnTo>
                    <a:pt x="188" y="233"/>
                  </a:lnTo>
                  <a:lnTo>
                    <a:pt x="192" y="227"/>
                  </a:lnTo>
                  <a:lnTo>
                    <a:pt x="198" y="222"/>
                  </a:lnTo>
                  <a:lnTo>
                    <a:pt x="203" y="216"/>
                  </a:lnTo>
                  <a:lnTo>
                    <a:pt x="209" y="212"/>
                  </a:lnTo>
                  <a:lnTo>
                    <a:pt x="216" y="208"/>
                  </a:lnTo>
                  <a:lnTo>
                    <a:pt x="223" y="204"/>
                  </a:lnTo>
                  <a:lnTo>
                    <a:pt x="230" y="201"/>
                  </a:lnTo>
                  <a:lnTo>
                    <a:pt x="238" y="199"/>
                  </a:lnTo>
                  <a:lnTo>
                    <a:pt x="245" y="198"/>
                  </a:lnTo>
                  <a:lnTo>
                    <a:pt x="254" y="198"/>
                  </a:lnTo>
                  <a:lnTo>
                    <a:pt x="254" y="31"/>
                  </a:lnTo>
                  <a:lnTo>
                    <a:pt x="254" y="31"/>
                  </a:lnTo>
                  <a:lnTo>
                    <a:pt x="253" y="25"/>
                  </a:lnTo>
                  <a:lnTo>
                    <a:pt x="251" y="20"/>
                  </a:lnTo>
                  <a:lnTo>
                    <a:pt x="249" y="14"/>
                  </a:lnTo>
                  <a:lnTo>
                    <a:pt x="244" y="10"/>
                  </a:lnTo>
                  <a:lnTo>
                    <a:pt x="240" y="6"/>
                  </a:lnTo>
                  <a:lnTo>
                    <a:pt x="235" y="3"/>
                  </a:lnTo>
                  <a:lnTo>
                    <a:pt x="229" y="1"/>
                  </a:lnTo>
                  <a:lnTo>
                    <a:pt x="223" y="0"/>
                  </a:lnTo>
                  <a:lnTo>
                    <a:pt x="0" y="0"/>
                  </a:lnTo>
                  <a:lnTo>
                    <a:pt x="0" y="50"/>
                  </a:lnTo>
                  <a:lnTo>
                    <a:pt x="198" y="50"/>
                  </a:lnTo>
                  <a:lnTo>
                    <a:pt x="198" y="70"/>
                  </a:lnTo>
                  <a:lnTo>
                    <a:pt x="0" y="70"/>
                  </a:lnTo>
                  <a:lnTo>
                    <a:pt x="0" y="100"/>
                  </a:lnTo>
                  <a:lnTo>
                    <a:pt x="198" y="100"/>
                  </a:lnTo>
                  <a:lnTo>
                    <a:pt x="198" y="122"/>
                  </a:lnTo>
                  <a:lnTo>
                    <a:pt x="0" y="122"/>
                  </a:lnTo>
                  <a:lnTo>
                    <a:pt x="0" y="395"/>
                  </a:lnTo>
                  <a:lnTo>
                    <a:pt x="0" y="395"/>
                  </a:lnTo>
                  <a:lnTo>
                    <a:pt x="1" y="401"/>
                  </a:lnTo>
                  <a:lnTo>
                    <a:pt x="3" y="406"/>
                  </a:lnTo>
                  <a:lnTo>
                    <a:pt x="5" y="412"/>
                  </a:lnTo>
                  <a:lnTo>
                    <a:pt x="9" y="416"/>
                  </a:lnTo>
                  <a:lnTo>
                    <a:pt x="14" y="420"/>
                  </a:lnTo>
                  <a:lnTo>
                    <a:pt x="19" y="423"/>
                  </a:lnTo>
                  <a:lnTo>
                    <a:pt x="24" y="425"/>
                  </a:lnTo>
                  <a:lnTo>
                    <a:pt x="31" y="426"/>
                  </a:lnTo>
                  <a:lnTo>
                    <a:pt x="153" y="426"/>
                  </a:lnTo>
                  <a:lnTo>
                    <a:pt x="153" y="426"/>
                  </a:lnTo>
                  <a:lnTo>
                    <a:pt x="150" y="419"/>
                  </a:lnTo>
                  <a:lnTo>
                    <a:pt x="149" y="412"/>
                  </a:lnTo>
                  <a:lnTo>
                    <a:pt x="149" y="412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783" y="730"/>
              <a:ext cx="89" cy="105"/>
            </a:xfrm>
            <a:custGeom>
              <a:avLst/>
              <a:gdLst>
                <a:gd name="T0" fmla="*/ 151 w 178"/>
                <a:gd name="T1" fmla="*/ 85 h 211"/>
                <a:gd name="T2" fmla="*/ 151 w 178"/>
                <a:gd name="T3" fmla="*/ 62 h 211"/>
                <a:gd name="T4" fmla="*/ 148 w 178"/>
                <a:gd name="T5" fmla="*/ 50 h 211"/>
                <a:gd name="T6" fmla="*/ 140 w 178"/>
                <a:gd name="T7" fmla="*/ 28 h 211"/>
                <a:gd name="T8" fmla="*/ 123 w 178"/>
                <a:gd name="T9" fmla="*/ 11 h 211"/>
                <a:gd name="T10" fmla="*/ 100 w 178"/>
                <a:gd name="T11" fmla="*/ 1 h 211"/>
                <a:gd name="T12" fmla="*/ 87 w 178"/>
                <a:gd name="T13" fmla="*/ 0 h 211"/>
                <a:gd name="T14" fmla="*/ 80 w 178"/>
                <a:gd name="T15" fmla="*/ 0 h 211"/>
                <a:gd name="T16" fmla="*/ 63 w 178"/>
                <a:gd name="T17" fmla="*/ 4 h 211"/>
                <a:gd name="T18" fmla="*/ 43 w 178"/>
                <a:gd name="T19" fmla="*/ 18 h 211"/>
                <a:gd name="T20" fmla="*/ 30 w 178"/>
                <a:gd name="T21" fmla="*/ 38 h 211"/>
                <a:gd name="T22" fmla="*/ 24 w 178"/>
                <a:gd name="T23" fmla="*/ 56 h 211"/>
                <a:gd name="T24" fmla="*/ 24 w 178"/>
                <a:gd name="T25" fmla="*/ 85 h 211"/>
                <a:gd name="T26" fmla="*/ 0 w 178"/>
                <a:gd name="T27" fmla="*/ 197 h 211"/>
                <a:gd name="T28" fmla="*/ 1 w 178"/>
                <a:gd name="T29" fmla="*/ 202 h 211"/>
                <a:gd name="T30" fmla="*/ 8 w 178"/>
                <a:gd name="T31" fmla="*/ 210 h 211"/>
                <a:gd name="T32" fmla="*/ 178 w 178"/>
                <a:gd name="T33" fmla="*/ 211 h 211"/>
                <a:gd name="T34" fmla="*/ 178 w 178"/>
                <a:gd name="T35" fmla="*/ 99 h 211"/>
                <a:gd name="T36" fmla="*/ 173 w 178"/>
                <a:gd name="T37" fmla="*/ 89 h 211"/>
                <a:gd name="T38" fmla="*/ 163 w 178"/>
                <a:gd name="T39" fmla="*/ 85 h 211"/>
                <a:gd name="T40" fmla="*/ 51 w 178"/>
                <a:gd name="T41" fmla="*/ 62 h 211"/>
                <a:gd name="T42" fmla="*/ 52 w 178"/>
                <a:gd name="T43" fmla="*/ 55 h 211"/>
                <a:gd name="T44" fmla="*/ 58 w 178"/>
                <a:gd name="T45" fmla="*/ 43 h 211"/>
                <a:gd name="T46" fmla="*/ 68 w 178"/>
                <a:gd name="T47" fmla="*/ 32 h 211"/>
                <a:gd name="T48" fmla="*/ 80 w 178"/>
                <a:gd name="T49" fmla="*/ 27 h 211"/>
                <a:gd name="T50" fmla="*/ 87 w 178"/>
                <a:gd name="T51" fmla="*/ 27 h 211"/>
                <a:gd name="T52" fmla="*/ 101 w 178"/>
                <a:gd name="T53" fmla="*/ 29 h 211"/>
                <a:gd name="T54" fmla="*/ 113 w 178"/>
                <a:gd name="T55" fmla="*/ 38 h 211"/>
                <a:gd name="T56" fmla="*/ 120 w 178"/>
                <a:gd name="T57" fmla="*/ 49 h 211"/>
                <a:gd name="T58" fmla="*/ 124 w 178"/>
                <a:gd name="T59" fmla="*/ 62 h 211"/>
                <a:gd name="T60" fmla="*/ 51 w 178"/>
                <a:gd name="T61" fmla="*/ 85 h 211"/>
                <a:gd name="T62" fmla="*/ 88 w 178"/>
                <a:gd name="T63" fmla="*/ 99 h 211"/>
                <a:gd name="T64" fmla="*/ 64 w 178"/>
                <a:gd name="T65" fmla="*/ 123 h 211"/>
                <a:gd name="T66" fmla="*/ 88 w 178"/>
                <a:gd name="T67" fmla="*/ 99 h 211"/>
                <a:gd name="T68" fmla="*/ 88 w 178"/>
                <a:gd name="T69" fmla="*/ 195 h 211"/>
                <a:gd name="T70" fmla="*/ 64 w 178"/>
                <a:gd name="T71" fmla="*/ 171 h 211"/>
                <a:gd name="T72" fmla="*/ 88 w 178"/>
                <a:gd name="T73" fmla="*/ 147 h 211"/>
                <a:gd name="T74" fmla="*/ 113 w 178"/>
                <a:gd name="T75" fmla="*/ 124 h 211"/>
                <a:gd name="T76" fmla="*/ 88 w 178"/>
                <a:gd name="T77" fmla="*/ 147 h 211"/>
                <a:gd name="T78" fmla="*/ 113 w 178"/>
                <a:gd name="T79" fmla="*/ 171 h 211"/>
                <a:gd name="T80" fmla="*/ 137 w 178"/>
                <a:gd name="T81" fmla="*/ 147 h 211"/>
                <a:gd name="T82" fmla="*/ 160 w 178"/>
                <a:gd name="T83" fmla="*/ 123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8" h="211">
                  <a:moveTo>
                    <a:pt x="163" y="85"/>
                  </a:moveTo>
                  <a:lnTo>
                    <a:pt x="151" y="85"/>
                  </a:lnTo>
                  <a:lnTo>
                    <a:pt x="151" y="62"/>
                  </a:lnTo>
                  <a:lnTo>
                    <a:pt x="151" y="62"/>
                  </a:lnTo>
                  <a:lnTo>
                    <a:pt x="149" y="56"/>
                  </a:lnTo>
                  <a:lnTo>
                    <a:pt x="148" y="50"/>
                  </a:lnTo>
                  <a:lnTo>
                    <a:pt x="145" y="38"/>
                  </a:lnTo>
                  <a:lnTo>
                    <a:pt x="140" y="28"/>
                  </a:lnTo>
                  <a:lnTo>
                    <a:pt x="131" y="18"/>
                  </a:lnTo>
                  <a:lnTo>
                    <a:pt x="123" y="11"/>
                  </a:lnTo>
                  <a:lnTo>
                    <a:pt x="112" y="4"/>
                  </a:lnTo>
                  <a:lnTo>
                    <a:pt x="100" y="1"/>
                  </a:lnTo>
                  <a:lnTo>
                    <a:pt x="93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0" y="0"/>
                  </a:lnTo>
                  <a:lnTo>
                    <a:pt x="75" y="1"/>
                  </a:lnTo>
                  <a:lnTo>
                    <a:pt x="63" y="4"/>
                  </a:lnTo>
                  <a:lnTo>
                    <a:pt x="52" y="11"/>
                  </a:lnTo>
                  <a:lnTo>
                    <a:pt x="43" y="18"/>
                  </a:lnTo>
                  <a:lnTo>
                    <a:pt x="35" y="28"/>
                  </a:lnTo>
                  <a:lnTo>
                    <a:pt x="30" y="38"/>
                  </a:lnTo>
                  <a:lnTo>
                    <a:pt x="25" y="50"/>
                  </a:lnTo>
                  <a:lnTo>
                    <a:pt x="24" y="56"/>
                  </a:lnTo>
                  <a:lnTo>
                    <a:pt x="24" y="62"/>
                  </a:lnTo>
                  <a:lnTo>
                    <a:pt x="24" y="85"/>
                  </a:lnTo>
                  <a:lnTo>
                    <a:pt x="0" y="85"/>
                  </a:lnTo>
                  <a:lnTo>
                    <a:pt x="0" y="197"/>
                  </a:lnTo>
                  <a:lnTo>
                    <a:pt x="0" y="197"/>
                  </a:lnTo>
                  <a:lnTo>
                    <a:pt x="1" y="202"/>
                  </a:lnTo>
                  <a:lnTo>
                    <a:pt x="4" y="207"/>
                  </a:lnTo>
                  <a:lnTo>
                    <a:pt x="8" y="210"/>
                  </a:lnTo>
                  <a:lnTo>
                    <a:pt x="14" y="211"/>
                  </a:lnTo>
                  <a:lnTo>
                    <a:pt x="178" y="211"/>
                  </a:lnTo>
                  <a:lnTo>
                    <a:pt x="178" y="99"/>
                  </a:lnTo>
                  <a:lnTo>
                    <a:pt x="178" y="99"/>
                  </a:lnTo>
                  <a:lnTo>
                    <a:pt x="176" y="94"/>
                  </a:lnTo>
                  <a:lnTo>
                    <a:pt x="173" y="89"/>
                  </a:lnTo>
                  <a:lnTo>
                    <a:pt x="169" y="86"/>
                  </a:lnTo>
                  <a:lnTo>
                    <a:pt x="163" y="85"/>
                  </a:lnTo>
                  <a:lnTo>
                    <a:pt x="163" y="85"/>
                  </a:lnTo>
                  <a:close/>
                  <a:moveTo>
                    <a:pt x="51" y="62"/>
                  </a:moveTo>
                  <a:lnTo>
                    <a:pt x="51" y="62"/>
                  </a:lnTo>
                  <a:lnTo>
                    <a:pt x="52" y="55"/>
                  </a:lnTo>
                  <a:lnTo>
                    <a:pt x="55" y="49"/>
                  </a:lnTo>
                  <a:lnTo>
                    <a:pt x="58" y="43"/>
                  </a:lnTo>
                  <a:lnTo>
                    <a:pt x="62" y="38"/>
                  </a:lnTo>
                  <a:lnTo>
                    <a:pt x="68" y="32"/>
                  </a:lnTo>
                  <a:lnTo>
                    <a:pt x="73" y="29"/>
                  </a:lnTo>
                  <a:lnTo>
                    <a:pt x="80" y="27"/>
                  </a:lnTo>
                  <a:lnTo>
                    <a:pt x="87" y="27"/>
                  </a:lnTo>
                  <a:lnTo>
                    <a:pt x="87" y="27"/>
                  </a:lnTo>
                  <a:lnTo>
                    <a:pt x="94" y="27"/>
                  </a:lnTo>
                  <a:lnTo>
                    <a:pt x="101" y="29"/>
                  </a:lnTo>
                  <a:lnTo>
                    <a:pt x="107" y="32"/>
                  </a:lnTo>
                  <a:lnTo>
                    <a:pt x="113" y="38"/>
                  </a:lnTo>
                  <a:lnTo>
                    <a:pt x="117" y="43"/>
                  </a:lnTo>
                  <a:lnTo>
                    <a:pt x="120" y="49"/>
                  </a:lnTo>
                  <a:lnTo>
                    <a:pt x="123" y="55"/>
                  </a:lnTo>
                  <a:lnTo>
                    <a:pt x="124" y="62"/>
                  </a:lnTo>
                  <a:lnTo>
                    <a:pt x="124" y="85"/>
                  </a:lnTo>
                  <a:lnTo>
                    <a:pt x="51" y="85"/>
                  </a:lnTo>
                  <a:lnTo>
                    <a:pt x="51" y="62"/>
                  </a:lnTo>
                  <a:close/>
                  <a:moveTo>
                    <a:pt x="88" y="99"/>
                  </a:moveTo>
                  <a:lnTo>
                    <a:pt x="88" y="123"/>
                  </a:lnTo>
                  <a:lnTo>
                    <a:pt x="64" y="123"/>
                  </a:lnTo>
                  <a:lnTo>
                    <a:pt x="64" y="99"/>
                  </a:lnTo>
                  <a:lnTo>
                    <a:pt x="88" y="99"/>
                  </a:lnTo>
                  <a:close/>
                  <a:moveTo>
                    <a:pt x="160" y="195"/>
                  </a:moveTo>
                  <a:lnTo>
                    <a:pt x="88" y="195"/>
                  </a:lnTo>
                  <a:lnTo>
                    <a:pt x="88" y="171"/>
                  </a:lnTo>
                  <a:lnTo>
                    <a:pt x="64" y="171"/>
                  </a:lnTo>
                  <a:lnTo>
                    <a:pt x="64" y="147"/>
                  </a:lnTo>
                  <a:lnTo>
                    <a:pt x="88" y="147"/>
                  </a:lnTo>
                  <a:lnTo>
                    <a:pt x="88" y="124"/>
                  </a:lnTo>
                  <a:lnTo>
                    <a:pt x="113" y="124"/>
                  </a:lnTo>
                  <a:lnTo>
                    <a:pt x="113" y="147"/>
                  </a:lnTo>
                  <a:lnTo>
                    <a:pt x="88" y="147"/>
                  </a:lnTo>
                  <a:lnTo>
                    <a:pt x="88" y="171"/>
                  </a:lnTo>
                  <a:lnTo>
                    <a:pt x="113" y="171"/>
                  </a:lnTo>
                  <a:lnTo>
                    <a:pt x="113" y="147"/>
                  </a:lnTo>
                  <a:lnTo>
                    <a:pt x="137" y="147"/>
                  </a:lnTo>
                  <a:lnTo>
                    <a:pt x="137" y="123"/>
                  </a:lnTo>
                  <a:lnTo>
                    <a:pt x="160" y="123"/>
                  </a:lnTo>
                  <a:lnTo>
                    <a:pt x="160" y="195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5" name="Freeform 222"/>
          <p:cNvSpPr>
            <a:spLocks/>
          </p:cNvSpPr>
          <p:nvPr/>
        </p:nvSpPr>
        <p:spPr bwMode="auto">
          <a:xfrm>
            <a:off x="6916455" y="2829702"/>
            <a:ext cx="996862" cy="820672"/>
          </a:xfrm>
          <a:custGeom>
            <a:avLst/>
            <a:gdLst>
              <a:gd name="T0" fmla="*/ 198 w 430"/>
              <a:gd name="T1" fmla="*/ 352 h 354"/>
              <a:gd name="T2" fmla="*/ 6 w 430"/>
              <a:gd name="T3" fmla="*/ 204 h 354"/>
              <a:gd name="T4" fmla="*/ 6 w 430"/>
              <a:gd name="T5" fmla="*/ 204 h 354"/>
              <a:gd name="T6" fmla="*/ 3 w 430"/>
              <a:gd name="T7" fmla="*/ 201 h 354"/>
              <a:gd name="T8" fmla="*/ 0 w 430"/>
              <a:gd name="T9" fmla="*/ 196 h 354"/>
              <a:gd name="T10" fmla="*/ 2 w 430"/>
              <a:gd name="T11" fmla="*/ 191 h 354"/>
              <a:gd name="T12" fmla="*/ 4 w 430"/>
              <a:gd name="T13" fmla="*/ 187 h 354"/>
              <a:gd name="T14" fmla="*/ 57 w 430"/>
              <a:gd name="T15" fmla="*/ 117 h 354"/>
              <a:gd name="T16" fmla="*/ 57 w 430"/>
              <a:gd name="T17" fmla="*/ 117 h 354"/>
              <a:gd name="T18" fmla="*/ 60 w 430"/>
              <a:gd name="T19" fmla="*/ 114 h 354"/>
              <a:gd name="T20" fmla="*/ 64 w 430"/>
              <a:gd name="T21" fmla="*/ 113 h 354"/>
              <a:gd name="T22" fmla="*/ 69 w 430"/>
              <a:gd name="T23" fmla="*/ 113 h 354"/>
              <a:gd name="T24" fmla="*/ 74 w 430"/>
              <a:gd name="T25" fmla="*/ 115 h 354"/>
              <a:gd name="T26" fmla="*/ 187 w 430"/>
              <a:gd name="T27" fmla="*/ 202 h 354"/>
              <a:gd name="T28" fmla="*/ 338 w 430"/>
              <a:gd name="T29" fmla="*/ 4 h 354"/>
              <a:gd name="T30" fmla="*/ 338 w 430"/>
              <a:gd name="T31" fmla="*/ 4 h 354"/>
              <a:gd name="T32" fmla="*/ 341 w 430"/>
              <a:gd name="T33" fmla="*/ 1 h 354"/>
              <a:gd name="T34" fmla="*/ 345 w 430"/>
              <a:gd name="T35" fmla="*/ 0 h 354"/>
              <a:gd name="T36" fmla="*/ 351 w 430"/>
              <a:gd name="T37" fmla="*/ 0 h 354"/>
              <a:gd name="T38" fmla="*/ 355 w 430"/>
              <a:gd name="T39" fmla="*/ 2 h 354"/>
              <a:gd name="T40" fmla="*/ 424 w 430"/>
              <a:gd name="T41" fmla="*/ 55 h 354"/>
              <a:gd name="T42" fmla="*/ 424 w 430"/>
              <a:gd name="T43" fmla="*/ 55 h 354"/>
              <a:gd name="T44" fmla="*/ 427 w 430"/>
              <a:gd name="T45" fmla="*/ 59 h 354"/>
              <a:gd name="T46" fmla="*/ 430 w 430"/>
              <a:gd name="T47" fmla="*/ 63 h 354"/>
              <a:gd name="T48" fmla="*/ 428 w 430"/>
              <a:gd name="T49" fmla="*/ 68 h 354"/>
              <a:gd name="T50" fmla="*/ 426 w 430"/>
              <a:gd name="T51" fmla="*/ 72 h 354"/>
              <a:gd name="T52" fmla="*/ 215 w 430"/>
              <a:gd name="T53" fmla="*/ 350 h 354"/>
              <a:gd name="T54" fmla="*/ 215 w 430"/>
              <a:gd name="T55" fmla="*/ 350 h 354"/>
              <a:gd name="T56" fmla="*/ 212 w 430"/>
              <a:gd name="T57" fmla="*/ 353 h 354"/>
              <a:gd name="T58" fmla="*/ 207 w 430"/>
              <a:gd name="T59" fmla="*/ 354 h 354"/>
              <a:gd name="T60" fmla="*/ 202 w 430"/>
              <a:gd name="T61" fmla="*/ 354 h 354"/>
              <a:gd name="T62" fmla="*/ 198 w 430"/>
              <a:gd name="T63" fmla="*/ 352 h 354"/>
              <a:gd name="T64" fmla="*/ 198 w 430"/>
              <a:gd name="T65" fmla="*/ 352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30" h="354">
                <a:moveTo>
                  <a:pt x="198" y="352"/>
                </a:moveTo>
                <a:lnTo>
                  <a:pt x="6" y="204"/>
                </a:lnTo>
                <a:lnTo>
                  <a:pt x="6" y="204"/>
                </a:lnTo>
                <a:lnTo>
                  <a:pt x="3" y="201"/>
                </a:lnTo>
                <a:lnTo>
                  <a:pt x="0" y="196"/>
                </a:lnTo>
                <a:lnTo>
                  <a:pt x="2" y="191"/>
                </a:lnTo>
                <a:lnTo>
                  <a:pt x="4" y="187"/>
                </a:lnTo>
                <a:lnTo>
                  <a:pt x="57" y="117"/>
                </a:lnTo>
                <a:lnTo>
                  <a:pt x="57" y="117"/>
                </a:lnTo>
                <a:lnTo>
                  <a:pt x="60" y="114"/>
                </a:lnTo>
                <a:lnTo>
                  <a:pt x="64" y="113"/>
                </a:lnTo>
                <a:lnTo>
                  <a:pt x="69" y="113"/>
                </a:lnTo>
                <a:lnTo>
                  <a:pt x="74" y="115"/>
                </a:lnTo>
                <a:lnTo>
                  <a:pt x="187" y="202"/>
                </a:lnTo>
                <a:lnTo>
                  <a:pt x="338" y="4"/>
                </a:lnTo>
                <a:lnTo>
                  <a:pt x="338" y="4"/>
                </a:lnTo>
                <a:lnTo>
                  <a:pt x="341" y="1"/>
                </a:lnTo>
                <a:lnTo>
                  <a:pt x="345" y="0"/>
                </a:lnTo>
                <a:lnTo>
                  <a:pt x="351" y="0"/>
                </a:lnTo>
                <a:lnTo>
                  <a:pt x="355" y="2"/>
                </a:lnTo>
                <a:lnTo>
                  <a:pt x="424" y="55"/>
                </a:lnTo>
                <a:lnTo>
                  <a:pt x="424" y="55"/>
                </a:lnTo>
                <a:lnTo>
                  <a:pt x="427" y="59"/>
                </a:lnTo>
                <a:lnTo>
                  <a:pt x="430" y="63"/>
                </a:lnTo>
                <a:lnTo>
                  <a:pt x="428" y="68"/>
                </a:lnTo>
                <a:lnTo>
                  <a:pt x="426" y="72"/>
                </a:lnTo>
                <a:lnTo>
                  <a:pt x="215" y="350"/>
                </a:lnTo>
                <a:lnTo>
                  <a:pt x="215" y="350"/>
                </a:lnTo>
                <a:lnTo>
                  <a:pt x="212" y="353"/>
                </a:lnTo>
                <a:lnTo>
                  <a:pt x="207" y="354"/>
                </a:lnTo>
                <a:lnTo>
                  <a:pt x="202" y="354"/>
                </a:lnTo>
                <a:lnTo>
                  <a:pt x="198" y="352"/>
                </a:lnTo>
                <a:lnTo>
                  <a:pt x="198" y="352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16" name="Group 4"/>
          <p:cNvGrpSpPr>
            <a:grpSpLocks noChangeAspect="1"/>
          </p:cNvGrpSpPr>
          <p:nvPr/>
        </p:nvGrpSpPr>
        <p:grpSpPr bwMode="auto">
          <a:xfrm>
            <a:off x="4278683" y="2709276"/>
            <a:ext cx="996862" cy="1061524"/>
            <a:chOff x="214" y="1214"/>
            <a:chExt cx="185" cy="197"/>
          </a:xfrm>
        </p:grpSpPr>
        <p:sp>
          <p:nvSpPr>
            <p:cNvPr id="17" name="Line 5"/>
            <p:cNvSpPr>
              <a:spLocks noChangeShapeType="1"/>
            </p:cNvSpPr>
            <p:nvPr/>
          </p:nvSpPr>
          <p:spPr bwMode="auto">
            <a:xfrm>
              <a:off x="257" y="139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Line 6"/>
            <p:cNvSpPr>
              <a:spLocks noChangeShapeType="1"/>
            </p:cNvSpPr>
            <p:nvPr/>
          </p:nvSpPr>
          <p:spPr bwMode="auto">
            <a:xfrm>
              <a:off x="257" y="139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271" y="1367"/>
              <a:ext cx="3" cy="6"/>
            </a:xfrm>
            <a:custGeom>
              <a:avLst/>
              <a:gdLst>
                <a:gd name="T0" fmla="*/ 8 w 8"/>
                <a:gd name="T1" fmla="*/ 0 h 12"/>
                <a:gd name="T2" fmla="*/ 0 w 8"/>
                <a:gd name="T3" fmla="*/ 12 h 12"/>
                <a:gd name="T4" fmla="*/ 8 w 8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2">
                  <a:moveTo>
                    <a:pt x="8" y="0"/>
                  </a:moveTo>
                  <a:lnTo>
                    <a:pt x="0" y="1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 flipH="1">
              <a:off x="271" y="1367"/>
              <a:ext cx="3" cy="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214" y="1221"/>
              <a:ext cx="90" cy="190"/>
            </a:xfrm>
            <a:custGeom>
              <a:avLst/>
              <a:gdLst>
                <a:gd name="T0" fmla="*/ 139 w 181"/>
                <a:gd name="T1" fmla="*/ 292 h 380"/>
                <a:gd name="T2" fmla="*/ 138 w 181"/>
                <a:gd name="T3" fmla="*/ 289 h 380"/>
                <a:gd name="T4" fmla="*/ 133 w 181"/>
                <a:gd name="T5" fmla="*/ 285 h 380"/>
                <a:gd name="T6" fmla="*/ 128 w 181"/>
                <a:gd name="T7" fmla="*/ 285 h 380"/>
                <a:gd name="T8" fmla="*/ 123 w 181"/>
                <a:gd name="T9" fmla="*/ 290 h 380"/>
                <a:gd name="T10" fmla="*/ 110 w 181"/>
                <a:gd name="T11" fmla="*/ 309 h 380"/>
                <a:gd name="T12" fmla="*/ 95 w 181"/>
                <a:gd name="T13" fmla="*/ 298 h 380"/>
                <a:gd name="T14" fmla="*/ 69 w 181"/>
                <a:gd name="T15" fmla="*/ 271 h 380"/>
                <a:gd name="T16" fmla="*/ 50 w 181"/>
                <a:gd name="T17" fmla="*/ 240 h 380"/>
                <a:gd name="T18" fmla="*/ 40 w 181"/>
                <a:gd name="T19" fmla="*/ 202 h 380"/>
                <a:gd name="T20" fmla="*/ 39 w 181"/>
                <a:gd name="T21" fmla="*/ 183 h 380"/>
                <a:gd name="T22" fmla="*/ 40 w 181"/>
                <a:gd name="T23" fmla="*/ 169 h 380"/>
                <a:gd name="T24" fmla="*/ 45 w 181"/>
                <a:gd name="T25" fmla="*/ 141 h 380"/>
                <a:gd name="T26" fmla="*/ 55 w 181"/>
                <a:gd name="T27" fmla="*/ 116 h 380"/>
                <a:gd name="T28" fmla="*/ 70 w 181"/>
                <a:gd name="T29" fmla="*/ 92 h 380"/>
                <a:gd name="T30" fmla="*/ 88 w 181"/>
                <a:gd name="T31" fmla="*/ 73 h 380"/>
                <a:gd name="T32" fmla="*/ 110 w 181"/>
                <a:gd name="T33" fmla="*/ 57 h 380"/>
                <a:gd name="T34" fmla="*/ 135 w 181"/>
                <a:gd name="T35" fmla="*/ 45 h 380"/>
                <a:gd name="T36" fmla="*/ 162 w 181"/>
                <a:gd name="T37" fmla="*/ 38 h 380"/>
                <a:gd name="T38" fmla="*/ 157 w 181"/>
                <a:gd name="T39" fmla="*/ 0 h 380"/>
                <a:gd name="T40" fmla="*/ 140 w 181"/>
                <a:gd name="T41" fmla="*/ 3 h 380"/>
                <a:gd name="T42" fmla="*/ 109 w 181"/>
                <a:gd name="T43" fmla="*/ 14 h 380"/>
                <a:gd name="T44" fmla="*/ 81 w 181"/>
                <a:gd name="T45" fmla="*/ 30 h 380"/>
                <a:gd name="T46" fmla="*/ 56 w 181"/>
                <a:gd name="T47" fmla="*/ 50 h 380"/>
                <a:gd name="T48" fmla="*/ 35 w 181"/>
                <a:gd name="T49" fmla="*/ 74 h 380"/>
                <a:gd name="T50" fmla="*/ 19 w 181"/>
                <a:gd name="T51" fmla="*/ 102 h 380"/>
                <a:gd name="T52" fmla="*/ 7 w 181"/>
                <a:gd name="T53" fmla="*/ 133 h 380"/>
                <a:gd name="T54" fmla="*/ 1 w 181"/>
                <a:gd name="T55" fmla="*/ 166 h 380"/>
                <a:gd name="T56" fmla="*/ 0 w 181"/>
                <a:gd name="T57" fmla="*/ 183 h 380"/>
                <a:gd name="T58" fmla="*/ 1 w 181"/>
                <a:gd name="T59" fmla="*/ 208 h 380"/>
                <a:gd name="T60" fmla="*/ 7 w 181"/>
                <a:gd name="T61" fmla="*/ 231 h 380"/>
                <a:gd name="T62" fmla="*/ 14 w 181"/>
                <a:gd name="T63" fmla="*/ 254 h 380"/>
                <a:gd name="T64" fmla="*/ 25 w 181"/>
                <a:gd name="T65" fmla="*/ 276 h 380"/>
                <a:gd name="T66" fmla="*/ 37 w 181"/>
                <a:gd name="T67" fmla="*/ 295 h 380"/>
                <a:gd name="T68" fmla="*/ 53 w 181"/>
                <a:gd name="T69" fmla="*/ 312 h 380"/>
                <a:gd name="T70" fmla="*/ 70 w 181"/>
                <a:gd name="T71" fmla="*/ 328 h 380"/>
                <a:gd name="T72" fmla="*/ 88 w 181"/>
                <a:gd name="T73" fmla="*/ 341 h 380"/>
                <a:gd name="T74" fmla="*/ 79 w 181"/>
                <a:gd name="T75" fmla="*/ 358 h 380"/>
                <a:gd name="T76" fmla="*/ 77 w 181"/>
                <a:gd name="T77" fmla="*/ 361 h 380"/>
                <a:gd name="T78" fmla="*/ 76 w 181"/>
                <a:gd name="T79" fmla="*/ 367 h 380"/>
                <a:gd name="T80" fmla="*/ 78 w 181"/>
                <a:gd name="T81" fmla="*/ 372 h 380"/>
                <a:gd name="T82" fmla="*/ 83 w 181"/>
                <a:gd name="T83" fmla="*/ 375 h 380"/>
                <a:gd name="T84" fmla="*/ 169 w 181"/>
                <a:gd name="T85" fmla="*/ 380 h 380"/>
                <a:gd name="T86" fmla="*/ 172 w 181"/>
                <a:gd name="T87" fmla="*/ 380 h 380"/>
                <a:gd name="T88" fmla="*/ 178 w 181"/>
                <a:gd name="T89" fmla="*/ 378 h 380"/>
                <a:gd name="T90" fmla="*/ 180 w 181"/>
                <a:gd name="T91" fmla="*/ 374 h 380"/>
                <a:gd name="T92" fmla="*/ 180 w 181"/>
                <a:gd name="T93" fmla="*/ 368 h 380"/>
                <a:gd name="T94" fmla="*/ 179 w 181"/>
                <a:gd name="T95" fmla="*/ 365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1" h="380">
                  <a:moveTo>
                    <a:pt x="179" y="365"/>
                  </a:moveTo>
                  <a:lnTo>
                    <a:pt x="139" y="292"/>
                  </a:lnTo>
                  <a:lnTo>
                    <a:pt x="139" y="292"/>
                  </a:lnTo>
                  <a:lnTo>
                    <a:pt x="138" y="289"/>
                  </a:lnTo>
                  <a:lnTo>
                    <a:pt x="135" y="286"/>
                  </a:lnTo>
                  <a:lnTo>
                    <a:pt x="133" y="285"/>
                  </a:lnTo>
                  <a:lnTo>
                    <a:pt x="130" y="285"/>
                  </a:lnTo>
                  <a:lnTo>
                    <a:pt x="128" y="285"/>
                  </a:lnTo>
                  <a:lnTo>
                    <a:pt x="125" y="287"/>
                  </a:lnTo>
                  <a:lnTo>
                    <a:pt x="123" y="290"/>
                  </a:lnTo>
                  <a:lnTo>
                    <a:pt x="121" y="292"/>
                  </a:lnTo>
                  <a:lnTo>
                    <a:pt x="110" y="309"/>
                  </a:lnTo>
                  <a:lnTo>
                    <a:pt x="110" y="309"/>
                  </a:lnTo>
                  <a:lnTo>
                    <a:pt x="95" y="298"/>
                  </a:lnTo>
                  <a:lnTo>
                    <a:pt x="81" y="285"/>
                  </a:lnTo>
                  <a:lnTo>
                    <a:pt x="69" y="271"/>
                  </a:lnTo>
                  <a:lnTo>
                    <a:pt x="58" y="256"/>
                  </a:lnTo>
                  <a:lnTo>
                    <a:pt x="50" y="240"/>
                  </a:lnTo>
                  <a:lnTo>
                    <a:pt x="44" y="222"/>
                  </a:lnTo>
                  <a:lnTo>
                    <a:pt x="40" y="202"/>
                  </a:lnTo>
                  <a:lnTo>
                    <a:pt x="39" y="193"/>
                  </a:lnTo>
                  <a:lnTo>
                    <a:pt x="39" y="183"/>
                  </a:lnTo>
                  <a:lnTo>
                    <a:pt x="39" y="183"/>
                  </a:lnTo>
                  <a:lnTo>
                    <a:pt x="40" y="169"/>
                  </a:lnTo>
                  <a:lnTo>
                    <a:pt x="42" y="155"/>
                  </a:lnTo>
                  <a:lnTo>
                    <a:pt x="45" y="141"/>
                  </a:lnTo>
                  <a:lnTo>
                    <a:pt x="50" y="128"/>
                  </a:lnTo>
                  <a:lnTo>
                    <a:pt x="55" y="116"/>
                  </a:lnTo>
                  <a:lnTo>
                    <a:pt x="63" y="104"/>
                  </a:lnTo>
                  <a:lnTo>
                    <a:pt x="70" y="92"/>
                  </a:lnTo>
                  <a:lnTo>
                    <a:pt x="79" y="83"/>
                  </a:lnTo>
                  <a:lnTo>
                    <a:pt x="88" y="73"/>
                  </a:lnTo>
                  <a:lnTo>
                    <a:pt x="99" y="64"/>
                  </a:lnTo>
                  <a:lnTo>
                    <a:pt x="110" y="57"/>
                  </a:lnTo>
                  <a:lnTo>
                    <a:pt x="123" y="50"/>
                  </a:lnTo>
                  <a:lnTo>
                    <a:pt x="135" y="45"/>
                  </a:lnTo>
                  <a:lnTo>
                    <a:pt x="149" y="42"/>
                  </a:lnTo>
                  <a:lnTo>
                    <a:pt x="162" y="38"/>
                  </a:lnTo>
                  <a:lnTo>
                    <a:pt x="177" y="36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40" y="3"/>
                  </a:lnTo>
                  <a:lnTo>
                    <a:pt x="125" y="7"/>
                  </a:lnTo>
                  <a:lnTo>
                    <a:pt x="109" y="14"/>
                  </a:lnTo>
                  <a:lnTo>
                    <a:pt x="95" y="21"/>
                  </a:lnTo>
                  <a:lnTo>
                    <a:pt x="81" y="30"/>
                  </a:lnTo>
                  <a:lnTo>
                    <a:pt x="68" y="40"/>
                  </a:lnTo>
                  <a:lnTo>
                    <a:pt x="56" y="50"/>
                  </a:lnTo>
                  <a:lnTo>
                    <a:pt x="45" y="62"/>
                  </a:lnTo>
                  <a:lnTo>
                    <a:pt x="35" y="74"/>
                  </a:lnTo>
                  <a:lnTo>
                    <a:pt x="26" y="88"/>
                  </a:lnTo>
                  <a:lnTo>
                    <a:pt x="19" y="102"/>
                  </a:lnTo>
                  <a:lnTo>
                    <a:pt x="12" y="117"/>
                  </a:lnTo>
                  <a:lnTo>
                    <a:pt x="7" y="133"/>
                  </a:lnTo>
                  <a:lnTo>
                    <a:pt x="4" y="150"/>
                  </a:lnTo>
                  <a:lnTo>
                    <a:pt x="1" y="166"/>
                  </a:lnTo>
                  <a:lnTo>
                    <a:pt x="0" y="183"/>
                  </a:lnTo>
                  <a:lnTo>
                    <a:pt x="0" y="183"/>
                  </a:lnTo>
                  <a:lnTo>
                    <a:pt x="0" y="196"/>
                  </a:lnTo>
                  <a:lnTo>
                    <a:pt x="1" y="208"/>
                  </a:lnTo>
                  <a:lnTo>
                    <a:pt x="4" y="220"/>
                  </a:lnTo>
                  <a:lnTo>
                    <a:pt x="7" y="231"/>
                  </a:lnTo>
                  <a:lnTo>
                    <a:pt x="10" y="243"/>
                  </a:lnTo>
                  <a:lnTo>
                    <a:pt x="14" y="254"/>
                  </a:lnTo>
                  <a:lnTo>
                    <a:pt x="19" y="265"/>
                  </a:lnTo>
                  <a:lnTo>
                    <a:pt x="25" y="276"/>
                  </a:lnTo>
                  <a:lnTo>
                    <a:pt x="30" y="285"/>
                  </a:lnTo>
                  <a:lnTo>
                    <a:pt x="37" y="295"/>
                  </a:lnTo>
                  <a:lnTo>
                    <a:pt x="44" y="304"/>
                  </a:lnTo>
                  <a:lnTo>
                    <a:pt x="53" y="312"/>
                  </a:lnTo>
                  <a:lnTo>
                    <a:pt x="61" y="321"/>
                  </a:lnTo>
                  <a:lnTo>
                    <a:pt x="70" y="328"/>
                  </a:lnTo>
                  <a:lnTo>
                    <a:pt x="79" y="335"/>
                  </a:lnTo>
                  <a:lnTo>
                    <a:pt x="88" y="341"/>
                  </a:lnTo>
                  <a:lnTo>
                    <a:pt x="86" y="346"/>
                  </a:lnTo>
                  <a:lnTo>
                    <a:pt x="79" y="358"/>
                  </a:lnTo>
                  <a:lnTo>
                    <a:pt x="79" y="358"/>
                  </a:lnTo>
                  <a:lnTo>
                    <a:pt x="77" y="361"/>
                  </a:lnTo>
                  <a:lnTo>
                    <a:pt x="76" y="364"/>
                  </a:lnTo>
                  <a:lnTo>
                    <a:pt x="76" y="367"/>
                  </a:lnTo>
                  <a:lnTo>
                    <a:pt x="77" y="369"/>
                  </a:lnTo>
                  <a:lnTo>
                    <a:pt x="78" y="372"/>
                  </a:lnTo>
                  <a:lnTo>
                    <a:pt x="80" y="373"/>
                  </a:lnTo>
                  <a:lnTo>
                    <a:pt x="83" y="375"/>
                  </a:lnTo>
                  <a:lnTo>
                    <a:pt x="86" y="375"/>
                  </a:lnTo>
                  <a:lnTo>
                    <a:pt x="169" y="380"/>
                  </a:lnTo>
                  <a:lnTo>
                    <a:pt x="169" y="380"/>
                  </a:lnTo>
                  <a:lnTo>
                    <a:pt x="172" y="380"/>
                  </a:lnTo>
                  <a:lnTo>
                    <a:pt x="176" y="379"/>
                  </a:lnTo>
                  <a:lnTo>
                    <a:pt x="178" y="378"/>
                  </a:lnTo>
                  <a:lnTo>
                    <a:pt x="180" y="376"/>
                  </a:lnTo>
                  <a:lnTo>
                    <a:pt x="180" y="374"/>
                  </a:lnTo>
                  <a:lnTo>
                    <a:pt x="181" y="372"/>
                  </a:lnTo>
                  <a:lnTo>
                    <a:pt x="180" y="368"/>
                  </a:lnTo>
                  <a:lnTo>
                    <a:pt x="179" y="365"/>
                  </a:lnTo>
                  <a:lnTo>
                    <a:pt x="179" y="365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308" y="1214"/>
              <a:ext cx="91" cy="191"/>
            </a:xfrm>
            <a:custGeom>
              <a:avLst/>
              <a:gdLst>
                <a:gd name="T0" fmla="*/ 95 w 182"/>
                <a:gd name="T1" fmla="*/ 33 h 381"/>
                <a:gd name="T2" fmla="*/ 102 w 182"/>
                <a:gd name="T3" fmla="*/ 22 h 381"/>
                <a:gd name="T4" fmla="*/ 105 w 182"/>
                <a:gd name="T5" fmla="*/ 16 h 381"/>
                <a:gd name="T6" fmla="*/ 104 w 182"/>
                <a:gd name="T7" fmla="*/ 10 h 381"/>
                <a:gd name="T8" fmla="*/ 100 w 182"/>
                <a:gd name="T9" fmla="*/ 6 h 381"/>
                <a:gd name="T10" fmla="*/ 95 w 182"/>
                <a:gd name="T11" fmla="*/ 5 h 381"/>
                <a:gd name="T12" fmla="*/ 11 w 182"/>
                <a:gd name="T13" fmla="*/ 0 h 381"/>
                <a:gd name="T14" fmla="*/ 5 w 182"/>
                <a:gd name="T15" fmla="*/ 1 h 381"/>
                <a:gd name="T16" fmla="*/ 2 w 182"/>
                <a:gd name="T17" fmla="*/ 3 h 381"/>
                <a:gd name="T18" fmla="*/ 0 w 182"/>
                <a:gd name="T19" fmla="*/ 8 h 381"/>
                <a:gd name="T20" fmla="*/ 2 w 182"/>
                <a:gd name="T21" fmla="*/ 14 h 381"/>
                <a:gd name="T22" fmla="*/ 41 w 182"/>
                <a:gd name="T23" fmla="*/ 88 h 381"/>
                <a:gd name="T24" fmla="*/ 46 w 182"/>
                <a:gd name="T25" fmla="*/ 92 h 381"/>
                <a:gd name="T26" fmla="*/ 50 w 182"/>
                <a:gd name="T27" fmla="*/ 95 h 381"/>
                <a:gd name="T28" fmla="*/ 55 w 182"/>
                <a:gd name="T29" fmla="*/ 92 h 381"/>
                <a:gd name="T30" fmla="*/ 60 w 182"/>
                <a:gd name="T31" fmla="*/ 87 h 381"/>
                <a:gd name="T32" fmla="*/ 70 w 182"/>
                <a:gd name="T33" fmla="*/ 71 h 381"/>
                <a:gd name="T34" fmla="*/ 86 w 182"/>
                <a:gd name="T35" fmla="*/ 82 h 381"/>
                <a:gd name="T36" fmla="*/ 113 w 182"/>
                <a:gd name="T37" fmla="*/ 107 h 381"/>
                <a:gd name="T38" fmla="*/ 132 w 182"/>
                <a:gd name="T39" fmla="*/ 140 h 381"/>
                <a:gd name="T40" fmla="*/ 140 w 182"/>
                <a:gd name="T41" fmla="*/ 168 h 381"/>
                <a:gd name="T42" fmla="*/ 143 w 182"/>
                <a:gd name="T43" fmla="*/ 187 h 381"/>
                <a:gd name="T44" fmla="*/ 143 w 182"/>
                <a:gd name="T45" fmla="*/ 197 h 381"/>
                <a:gd name="T46" fmla="*/ 141 w 182"/>
                <a:gd name="T47" fmla="*/ 226 h 381"/>
                <a:gd name="T48" fmla="*/ 133 w 182"/>
                <a:gd name="T49" fmla="*/ 253 h 381"/>
                <a:gd name="T50" fmla="*/ 120 w 182"/>
                <a:gd name="T51" fmla="*/ 277 h 381"/>
                <a:gd name="T52" fmla="*/ 104 w 182"/>
                <a:gd name="T53" fmla="*/ 298 h 381"/>
                <a:gd name="T54" fmla="*/ 82 w 182"/>
                <a:gd name="T55" fmla="*/ 317 h 381"/>
                <a:gd name="T56" fmla="*/ 60 w 182"/>
                <a:gd name="T57" fmla="*/ 331 h 381"/>
                <a:gd name="T58" fmla="*/ 33 w 182"/>
                <a:gd name="T59" fmla="*/ 339 h 381"/>
                <a:gd name="T60" fmla="*/ 5 w 182"/>
                <a:gd name="T61" fmla="*/ 344 h 381"/>
                <a:gd name="T62" fmla="*/ 24 w 182"/>
                <a:gd name="T63" fmla="*/ 381 h 381"/>
                <a:gd name="T64" fmla="*/ 56 w 182"/>
                <a:gd name="T65" fmla="*/ 373 h 381"/>
                <a:gd name="T66" fmla="*/ 86 w 182"/>
                <a:gd name="T67" fmla="*/ 360 h 381"/>
                <a:gd name="T68" fmla="*/ 113 w 182"/>
                <a:gd name="T69" fmla="*/ 341 h 381"/>
                <a:gd name="T70" fmla="*/ 137 w 182"/>
                <a:gd name="T71" fmla="*/ 319 h 381"/>
                <a:gd name="T72" fmla="*/ 156 w 182"/>
                <a:gd name="T73" fmla="*/ 293 h 381"/>
                <a:gd name="T74" fmla="*/ 170 w 182"/>
                <a:gd name="T75" fmla="*/ 264 h 381"/>
                <a:gd name="T76" fmla="*/ 179 w 182"/>
                <a:gd name="T77" fmla="*/ 231 h 381"/>
                <a:gd name="T78" fmla="*/ 182 w 182"/>
                <a:gd name="T79" fmla="*/ 197 h 381"/>
                <a:gd name="T80" fmla="*/ 182 w 182"/>
                <a:gd name="T81" fmla="*/ 185 h 381"/>
                <a:gd name="T82" fmla="*/ 179 w 182"/>
                <a:gd name="T83" fmla="*/ 160 h 381"/>
                <a:gd name="T84" fmla="*/ 172 w 182"/>
                <a:gd name="T85" fmla="*/ 137 h 381"/>
                <a:gd name="T86" fmla="*/ 163 w 182"/>
                <a:gd name="T87" fmla="*/ 115 h 381"/>
                <a:gd name="T88" fmla="*/ 151 w 182"/>
                <a:gd name="T89" fmla="*/ 95 h 381"/>
                <a:gd name="T90" fmla="*/ 137 w 182"/>
                <a:gd name="T91" fmla="*/ 75 h 381"/>
                <a:gd name="T92" fmla="*/ 121 w 182"/>
                <a:gd name="T93" fmla="*/ 59 h 381"/>
                <a:gd name="T94" fmla="*/ 102 w 182"/>
                <a:gd name="T95" fmla="*/ 44 h 381"/>
                <a:gd name="T96" fmla="*/ 92 w 182"/>
                <a:gd name="T97" fmla="*/ 3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2" h="381">
                  <a:moveTo>
                    <a:pt x="92" y="37"/>
                  </a:moveTo>
                  <a:lnTo>
                    <a:pt x="95" y="33"/>
                  </a:lnTo>
                  <a:lnTo>
                    <a:pt x="102" y="22"/>
                  </a:lnTo>
                  <a:lnTo>
                    <a:pt x="102" y="22"/>
                  </a:lnTo>
                  <a:lnTo>
                    <a:pt x="104" y="19"/>
                  </a:lnTo>
                  <a:lnTo>
                    <a:pt x="105" y="16"/>
                  </a:lnTo>
                  <a:lnTo>
                    <a:pt x="105" y="13"/>
                  </a:lnTo>
                  <a:lnTo>
                    <a:pt x="104" y="10"/>
                  </a:lnTo>
                  <a:lnTo>
                    <a:pt x="103" y="8"/>
                  </a:lnTo>
                  <a:lnTo>
                    <a:pt x="100" y="6"/>
                  </a:lnTo>
                  <a:lnTo>
                    <a:pt x="98" y="5"/>
                  </a:lnTo>
                  <a:lnTo>
                    <a:pt x="95" y="5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5" y="1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3" y="90"/>
                  </a:lnTo>
                  <a:lnTo>
                    <a:pt x="46" y="92"/>
                  </a:lnTo>
                  <a:lnTo>
                    <a:pt x="48" y="93"/>
                  </a:lnTo>
                  <a:lnTo>
                    <a:pt x="50" y="95"/>
                  </a:lnTo>
                  <a:lnTo>
                    <a:pt x="53" y="93"/>
                  </a:lnTo>
                  <a:lnTo>
                    <a:pt x="55" y="92"/>
                  </a:lnTo>
                  <a:lnTo>
                    <a:pt x="57" y="90"/>
                  </a:lnTo>
                  <a:lnTo>
                    <a:pt x="60" y="87"/>
                  </a:lnTo>
                  <a:lnTo>
                    <a:pt x="68" y="75"/>
                  </a:lnTo>
                  <a:lnTo>
                    <a:pt x="70" y="71"/>
                  </a:lnTo>
                  <a:lnTo>
                    <a:pt x="70" y="71"/>
                  </a:lnTo>
                  <a:lnTo>
                    <a:pt x="86" y="82"/>
                  </a:lnTo>
                  <a:lnTo>
                    <a:pt x="100" y="93"/>
                  </a:lnTo>
                  <a:lnTo>
                    <a:pt x="113" y="107"/>
                  </a:lnTo>
                  <a:lnTo>
                    <a:pt x="123" y="124"/>
                  </a:lnTo>
                  <a:lnTo>
                    <a:pt x="132" y="140"/>
                  </a:lnTo>
                  <a:lnTo>
                    <a:pt x="138" y="158"/>
                  </a:lnTo>
                  <a:lnTo>
                    <a:pt x="140" y="168"/>
                  </a:lnTo>
                  <a:lnTo>
                    <a:pt x="142" y="178"/>
                  </a:lnTo>
                  <a:lnTo>
                    <a:pt x="143" y="187"/>
                  </a:lnTo>
                  <a:lnTo>
                    <a:pt x="143" y="197"/>
                  </a:lnTo>
                  <a:lnTo>
                    <a:pt x="143" y="197"/>
                  </a:lnTo>
                  <a:lnTo>
                    <a:pt x="142" y="212"/>
                  </a:lnTo>
                  <a:lnTo>
                    <a:pt x="141" y="226"/>
                  </a:lnTo>
                  <a:lnTo>
                    <a:pt x="137" y="239"/>
                  </a:lnTo>
                  <a:lnTo>
                    <a:pt x="133" y="253"/>
                  </a:lnTo>
                  <a:lnTo>
                    <a:pt x="127" y="265"/>
                  </a:lnTo>
                  <a:lnTo>
                    <a:pt x="120" y="277"/>
                  </a:lnTo>
                  <a:lnTo>
                    <a:pt x="112" y="289"/>
                  </a:lnTo>
                  <a:lnTo>
                    <a:pt x="104" y="298"/>
                  </a:lnTo>
                  <a:lnTo>
                    <a:pt x="93" y="308"/>
                  </a:lnTo>
                  <a:lnTo>
                    <a:pt x="82" y="317"/>
                  </a:lnTo>
                  <a:lnTo>
                    <a:pt x="71" y="324"/>
                  </a:lnTo>
                  <a:lnTo>
                    <a:pt x="60" y="331"/>
                  </a:lnTo>
                  <a:lnTo>
                    <a:pt x="47" y="335"/>
                  </a:lnTo>
                  <a:lnTo>
                    <a:pt x="33" y="339"/>
                  </a:lnTo>
                  <a:lnTo>
                    <a:pt x="19" y="342"/>
                  </a:lnTo>
                  <a:lnTo>
                    <a:pt x="5" y="344"/>
                  </a:lnTo>
                  <a:lnTo>
                    <a:pt x="24" y="381"/>
                  </a:lnTo>
                  <a:lnTo>
                    <a:pt x="24" y="381"/>
                  </a:lnTo>
                  <a:lnTo>
                    <a:pt x="40" y="378"/>
                  </a:lnTo>
                  <a:lnTo>
                    <a:pt x="56" y="373"/>
                  </a:lnTo>
                  <a:lnTo>
                    <a:pt x="71" y="367"/>
                  </a:lnTo>
                  <a:lnTo>
                    <a:pt x="86" y="360"/>
                  </a:lnTo>
                  <a:lnTo>
                    <a:pt x="100" y="351"/>
                  </a:lnTo>
                  <a:lnTo>
                    <a:pt x="113" y="341"/>
                  </a:lnTo>
                  <a:lnTo>
                    <a:pt x="125" y="331"/>
                  </a:lnTo>
                  <a:lnTo>
                    <a:pt x="137" y="319"/>
                  </a:lnTo>
                  <a:lnTo>
                    <a:pt x="147" y="307"/>
                  </a:lnTo>
                  <a:lnTo>
                    <a:pt x="156" y="293"/>
                  </a:lnTo>
                  <a:lnTo>
                    <a:pt x="164" y="279"/>
                  </a:lnTo>
                  <a:lnTo>
                    <a:pt x="170" y="264"/>
                  </a:lnTo>
                  <a:lnTo>
                    <a:pt x="176" y="248"/>
                  </a:lnTo>
                  <a:lnTo>
                    <a:pt x="179" y="231"/>
                  </a:lnTo>
                  <a:lnTo>
                    <a:pt x="182" y="214"/>
                  </a:lnTo>
                  <a:lnTo>
                    <a:pt x="182" y="197"/>
                  </a:lnTo>
                  <a:lnTo>
                    <a:pt x="182" y="197"/>
                  </a:lnTo>
                  <a:lnTo>
                    <a:pt x="182" y="185"/>
                  </a:lnTo>
                  <a:lnTo>
                    <a:pt x="181" y="172"/>
                  </a:lnTo>
                  <a:lnTo>
                    <a:pt x="179" y="160"/>
                  </a:lnTo>
                  <a:lnTo>
                    <a:pt x="176" y="148"/>
                  </a:lnTo>
                  <a:lnTo>
                    <a:pt x="172" y="137"/>
                  </a:lnTo>
                  <a:lnTo>
                    <a:pt x="168" y="126"/>
                  </a:lnTo>
                  <a:lnTo>
                    <a:pt x="163" y="115"/>
                  </a:lnTo>
                  <a:lnTo>
                    <a:pt x="157" y="104"/>
                  </a:lnTo>
                  <a:lnTo>
                    <a:pt x="151" y="95"/>
                  </a:lnTo>
                  <a:lnTo>
                    <a:pt x="145" y="85"/>
                  </a:lnTo>
                  <a:lnTo>
                    <a:pt x="137" y="75"/>
                  </a:lnTo>
                  <a:lnTo>
                    <a:pt x="129" y="66"/>
                  </a:lnTo>
                  <a:lnTo>
                    <a:pt x="121" y="59"/>
                  </a:lnTo>
                  <a:lnTo>
                    <a:pt x="111" y="51"/>
                  </a:lnTo>
                  <a:lnTo>
                    <a:pt x="102" y="44"/>
                  </a:lnTo>
                  <a:lnTo>
                    <a:pt x="92" y="37"/>
                  </a:lnTo>
                  <a:lnTo>
                    <a:pt x="92" y="37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/>
          </p:nvSpPr>
          <p:spPr bwMode="auto">
            <a:xfrm>
              <a:off x="252" y="1258"/>
              <a:ext cx="108" cy="109"/>
            </a:xfrm>
            <a:custGeom>
              <a:avLst/>
              <a:gdLst>
                <a:gd name="T0" fmla="*/ 216 w 216"/>
                <a:gd name="T1" fmla="*/ 126 h 218"/>
                <a:gd name="T2" fmla="*/ 193 w 216"/>
                <a:gd name="T3" fmla="*/ 86 h 218"/>
                <a:gd name="T4" fmla="*/ 190 w 216"/>
                <a:gd name="T5" fmla="*/ 74 h 218"/>
                <a:gd name="T6" fmla="*/ 196 w 216"/>
                <a:gd name="T7" fmla="*/ 44 h 218"/>
                <a:gd name="T8" fmla="*/ 152 w 216"/>
                <a:gd name="T9" fmla="*/ 31 h 218"/>
                <a:gd name="T10" fmla="*/ 142 w 216"/>
                <a:gd name="T11" fmla="*/ 26 h 218"/>
                <a:gd name="T12" fmla="*/ 124 w 216"/>
                <a:gd name="T13" fmla="*/ 0 h 218"/>
                <a:gd name="T14" fmla="*/ 85 w 216"/>
                <a:gd name="T15" fmla="*/ 23 h 218"/>
                <a:gd name="T16" fmla="*/ 74 w 216"/>
                <a:gd name="T17" fmla="*/ 26 h 218"/>
                <a:gd name="T18" fmla="*/ 43 w 216"/>
                <a:gd name="T19" fmla="*/ 19 h 218"/>
                <a:gd name="T20" fmla="*/ 31 w 216"/>
                <a:gd name="T21" fmla="*/ 64 h 218"/>
                <a:gd name="T22" fmla="*/ 25 w 216"/>
                <a:gd name="T23" fmla="*/ 74 h 218"/>
                <a:gd name="T24" fmla="*/ 0 w 216"/>
                <a:gd name="T25" fmla="*/ 92 h 218"/>
                <a:gd name="T26" fmla="*/ 22 w 216"/>
                <a:gd name="T27" fmla="*/ 132 h 218"/>
                <a:gd name="T28" fmla="*/ 25 w 216"/>
                <a:gd name="T29" fmla="*/ 143 h 218"/>
                <a:gd name="T30" fmla="*/ 19 w 216"/>
                <a:gd name="T31" fmla="*/ 174 h 218"/>
                <a:gd name="T32" fmla="*/ 63 w 216"/>
                <a:gd name="T33" fmla="*/ 185 h 218"/>
                <a:gd name="T34" fmla="*/ 74 w 216"/>
                <a:gd name="T35" fmla="*/ 191 h 218"/>
                <a:gd name="T36" fmla="*/ 91 w 216"/>
                <a:gd name="T37" fmla="*/ 218 h 218"/>
                <a:gd name="T38" fmla="*/ 131 w 216"/>
                <a:gd name="T39" fmla="*/ 195 h 218"/>
                <a:gd name="T40" fmla="*/ 142 w 216"/>
                <a:gd name="T41" fmla="*/ 191 h 218"/>
                <a:gd name="T42" fmla="*/ 173 w 216"/>
                <a:gd name="T43" fmla="*/ 197 h 218"/>
                <a:gd name="T44" fmla="*/ 185 w 216"/>
                <a:gd name="T45" fmla="*/ 153 h 218"/>
                <a:gd name="T46" fmla="*/ 190 w 216"/>
                <a:gd name="T47" fmla="*/ 142 h 218"/>
                <a:gd name="T48" fmla="*/ 193 w 216"/>
                <a:gd name="T49" fmla="*/ 132 h 218"/>
                <a:gd name="T50" fmla="*/ 108 w 216"/>
                <a:gd name="T51" fmla="*/ 169 h 218"/>
                <a:gd name="T52" fmla="*/ 85 w 216"/>
                <a:gd name="T53" fmla="*/ 165 h 218"/>
                <a:gd name="T54" fmla="*/ 65 w 216"/>
                <a:gd name="T55" fmla="*/ 152 h 218"/>
                <a:gd name="T56" fmla="*/ 51 w 216"/>
                <a:gd name="T57" fmla="*/ 133 h 218"/>
                <a:gd name="T58" fmla="*/ 47 w 216"/>
                <a:gd name="T59" fmla="*/ 109 h 218"/>
                <a:gd name="T60" fmla="*/ 48 w 216"/>
                <a:gd name="T61" fmla="*/ 97 h 218"/>
                <a:gd name="T62" fmla="*/ 58 w 216"/>
                <a:gd name="T63" fmla="*/ 74 h 218"/>
                <a:gd name="T64" fmla="*/ 74 w 216"/>
                <a:gd name="T65" fmla="*/ 58 h 218"/>
                <a:gd name="T66" fmla="*/ 95 w 216"/>
                <a:gd name="T67" fmla="*/ 50 h 218"/>
                <a:gd name="T68" fmla="*/ 107 w 216"/>
                <a:gd name="T69" fmla="*/ 47 h 218"/>
                <a:gd name="T70" fmla="*/ 131 w 216"/>
                <a:gd name="T71" fmla="*/ 53 h 218"/>
                <a:gd name="T72" fmla="*/ 150 w 216"/>
                <a:gd name="T73" fmla="*/ 66 h 218"/>
                <a:gd name="T74" fmla="*/ 163 w 216"/>
                <a:gd name="T75" fmla="*/ 85 h 218"/>
                <a:gd name="T76" fmla="*/ 168 w 216"/>
                <a:gd name="T77" fmla="*/ 109 h 218"/>
                <a:gd name="T78" fmla="*/ 167 w 216"/>
                <a:gd name="T79" fmla="*/ 121 h 218"/>
                <a:gd name="T80" fmla="*/ 158 w 216"/>
                <a:gd name="T81" fmla="*/ 142 h 218"/>
                <a:gd name="T82" fmla="*/ 142 w 216"/>
                <a:gd name="T83" fmla="*/ 160 h 218"/>
                <a:gd name="T84" fmla="*/ 120 w 216"/>
                <a:gd name="T85" fmla="*/ 168 h 218"/>
                <a:gd name="T86" fmla="*/ 108 w 216"/>
                <a:gd name="T87" fmla="*/ 169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6" h="218">
                  <a:moveTo>
                    <a:pt x="193" y="132"/>
                  </a:moveTo>
                  <a:lnTo>
                    <a:pt x="216" y="126"/>
                  </a:lnTo>
                  <a:lnTo>
                    <a:pt x="216" y="92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0" y="74"/>
                  </a:lnTo>
                  <a:lnTo>
                    <a:pt x="185" y="64"/>
                  </a:lnTo>
                  <a:lnTo>
                    <a:pt x="196" y="44"/>
                  </a:lnTo>
                  <a:lnTo>
                    <a:pt x="172" y="19"/>
                  </a:lnTo>
                  <a:lnTo>
                    <a:pt x="152" y="31"/>
                  </a:lnTo>
                  <a:lnTo>
                    <a:pt x="152" y="31"/>
                  </a:lnTo>
                  <a:lnTo>
                    <a:pt x="142" y="26"/>
                  </a:lnTo>
                  <a:lnTo>
                    <a:pt x="131" y="23"/>
                  </a:lnTo>
                  <a:lnTo>
                    <a:pt x="124" y="0"/>
                  </a:lnTo>
                  <a:lnTo>
                    <a:pt x="90" y="0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74" y="26"/>
                  </a:lnTo>
                  <a:lnTo>
                    <a:pt x="63" y="31"/>
                  </a:lnTo>
                  <a:lnTo>
                    <a:pt x="43" y="19"/>
                  </a:lnTo>
                  <a:lnTo>
                    <a:pt x="19" y="4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25" y="74"/>
                  </a:lnTo>
                  <a:lnTo>
                    <a:pt x="21" y="86"/>
                  </a:lnTo>
                  <a:lnTo>
                    <a:pt x="0" y="92"/>
                  </a:lnTo>
                  <a:lnTo>
                    <a:pt x="0" y="126"/>
                  </a:lnTo>
                  <a:lnTo>
                    <a:pt x="22" y="132"/>
                  </a:lnTo>
                  <a:lnTo>
                    <a:pt x="22" y="132"/>
                  </a:lnTo>
                  <a:lnTo>
                    <a:pt x="25" y="143"/>
                  </a:lnTo>
                  <a:lnTo>
                    <a:pt x="31" y="153"/>
                  </a:lnTo>
                  <a:lnTo>
                    <a:pt x="19" y="174"/>
                  </a:lnTo>
                  <a:lnTo>
                    <a:pt x="43" y="198"/>
                  </a:lnTo>
                  <a:lnTo>
                    <a:pt x="63" y="185"/>
                  </a:lnTo>
                  <a:lnTo>
                    <a:pt x="63" y="185"/>
                  </a:lnTo>
                  <a:lnTo>
                    <a:pt x="74" y="191"/>
                  </a:lnTo>
                  <a:lnTo>
                    <a:pt x="85" y="195"/>
                  </a:lnTo>
                  <a:lnTo>
                    <a:pt x="91" y="218"/>
                  </a:lnTo>
                  <a:lnTo>
                    <a:pt x="125" y="218"/>
                  </a:lnTo>
                  <a:lnTo>
                    <a:pt x="131" y="195"/>
                  </a:lnTo>
                  <a:lnTo>
                    <a:pt x="131" y="195"/>
                  </a:lnTo>
                  <a:lnTo>
                    <a:pt x="142" y="191"/>
                  </a:lnTo>
                  <a:lnTo>
                    <a:pt x="152" y="185"/>
                  </a:lnTo>
                  <a:lnTo>
                    <a:pt x="173" y="197"/>
                  </a:lnTo>
                  <a:lnTo>
                    <a:pt x="196" y="174"/>
                  </a:lnTo>
                  <a:lnTo>
                    <a:pt x="185" y="153"/>
                  </a:lnTo>
                  <a:lnTo>
                    <a:pt x="185" y="153"/>
                  </a:lnTo>
                  <a:lnTo>
                    <a:pt x="190" y="142"/>
                  </a:lnTo>
                  <a:lnTo>
                    <a:pt x="193" y="132"/>
                  </a:lnTo>
                  <a:lnTo>
                    <a:pt x="193" y="132"/>
                  </a:lnTo>
                  <a:close/>
                  <a:moveTo>
                    <a:pt x="108" y="169"/>
                  </a:moveTo>
                  <a:lnTo>
                    <a:pt x="108" y="169"/>
                  </a:lnTo>
                  <a:lnTo>
                    <a:pt x="95" y="168"/>
                  </a:lnTo>
                  <a:lnTo>
                    <a:pt x="85" y="165"/>
                  </a:lnTo>
                  <a:lnTo>
                    <a:pt x="74" y="160"/>
                  </a:lnTo>
                  <a:lnTo>
                    <a:pt x="65" y="152"/>
                  </a:lnTo>
                  <a:lnTo>
                    <a:pt x="58" y="142"/>
                  </a:lnTo>
                  <a:lnTo>
                    <a:pt x="51" y="133"/>
                  </a:lnTo>
                  <a:lnTo>
                    <a:pt x="48" y="121"/>
                  </a:lnTo>
                  <a:lnTo>
                    <a:pt x="47" y="109"/>
                  </a:lnTo>
                  <a:lnTo>
                    <a:pt x="47" y="109"/>
                  </a:lnTo>
                  <a:lnTo>
                    <a:pt x="48" y="97"/>
                  </a:lnTo>
                  <a:lnTo>
                    <a:pt x="51" y="85"/>
                  </a:lnTo>
                  <a:lnTo>
                    <a:pt x="58" y="74"/>
                  </a:lnTo>
                  <a:lnTo>
                    <a:pt x="64" y="66"/>
                  </a:lnTo>
                  <a:lnTo>
                    <a:pt x="74" y="58"/>
                  </a:lnTo>
                  <a:lnTo>
                    <a:pt x="84" y="53"/>
                  </a:lnTo>
                  <a:lnTo>
                    <a:pt x="95" y="50"/>
                  </a:lnTo>
                  <a:lnTo>
                    <a:pt x="107" y="47"/>
                  </a:lnTo>
                  <a:lnTo>
                    <a:pt x="107" y="47"/>
                  </a:lnTo>
                  <a:lnTo>
                    <a:pt x="120" y="49"/>
                  </a:lnTo>
                  <a:lnTo>
                    <a:pt x="131" y="53"/>
                  </a:lnTo>
                  <a:lnTo>
                    <a:pt x="142" y="58"/>
                  </a:lnTo>
                  <a:lnTo>
                    <a:pt x="150" y="66"/>
                  </a:lnTo>
                  <a:lnTo>
                    <a:pt x="158" y="74"/>
                  </a:lnTo>
                  <a:lnTo>
                    <a:pt x="163" y="85"/>
                  </a:lnTo>
                  <a:lnTo>
                    <a:pt x="167" y="96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67" y="121"/>
                  </a:lnTo>
                  <a:lnTo>
                    <a:pt x="164" y="133"/>
                  </a:lnTo>
                  <a:lnTo>
                    <a:pt x="158" y="142"/>
                  </a:lnTo>
                  <a:lnTo>
                    <a:pt x="150" y="152"/>
                  </a:lnTo>
                  <a:lnTo>
                    <a:pt x="142" y="160"/>
                  </a:lnTo>
                  <a:lnTo>
                    <a:pt x="132" y="165"/>
                  </a:lnTo>
                  <a:lnTo>
                    <a:pt x="120" y="168"/>
                  </a:lnTo>
                  <a:lnTo>
                    <a:pt x="108" y="169"/>
                  </a:lnTo>
                  <a:lnTo>
                    <a:pt x="108" y="169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25193" y="2732656"/>
            <a:ext cx="1028298" cy="1014764"/>
            <a:chOff x="7546979" y="1369018"/>
            <a:chExt cx="768346" cy="758234"/>
          </a:xfrm>
        </p:grpSpPr>
        <p:sp>
          <p:nvSpPr>
            <p:cNvPr id="25" name="Freeform 5"/>
            <p:cNvSpPr>
              <a:spLocks/>
            </p:cNvSpPr>
            <p:nvPr/>
          </p:nvSpPr>
          <p:spPr bwMode="auto">
            <a:xfrm>
              <a:off x="7546979" y="1716025"/>
              <a:ext cx="768346" cy="411227"/>
            </a:xfrm>
            <a:custGeom>
              <a:avLst/>
              <a:gdLst>
                <a:gd name="T0" fmla="*/ 418 w 424"/>
                <a:gd name="T1" fmla="*/ 6 h 228"/>
                <a:gd name="T2" fmla="*/ 410 w 424"/>
                <a:gd name="T3" fmla="*/ 1 h 228"/>
                <a:gd name="T4" fmla="*/ 403 w 424"/>
                <a:gd name="T5" fmla="*/ 0 h 228"/>
                <a:gd name="T6" fmla="*/ 399 w 424"/>
                <a:gd name="T7" fmla="*/ 0 h 228"/>
                <a:gd name="T8" fmla="*/ 391 w 424"/>
                <a:gd name="T9" fmla="*/ 3 h 228"/>
                <a:gd name="T10" fmla="*/ 309 w 424"/>
                <a:gd name="T11" fmla="*/ 85 h 228"/>
                <a:gd name="T12" fmla="*/ 181 w 424"/>
                <a:gd name="T13" fmla="*/ 51 h 228"/>
                <a:gd name="T14" fmla="*/ 261 w 424"/>
                <a:gd name="T15" fmla="*/ 51 h 228"/>
                <a:gd name="T16" fmla="*/ 268 w 424"/>
                <a:gd name="T17" fmla="*/ 50 h 228"/>
                <a:gd name="T18" fmla="*/ 276 w 424"/>
                <a:gd name="T19" fmla="*/ 45 h 228"/>
                <a:gd name="T20" fmla="*/ 280 w 424"/>
                <a:gd name="T21" fmla="*/ 38 h 228"/>
                <a:gd name="T22" fmla="*/ 282 w 424"/>
                <a:gd name="T23" fmla="*/ 30 h 228"/>
                <a:gd name="T24" fmla="*/ 281 w 424"/>
                <a:gd name="T25" fmla="*/ 25 h 228"/>
                <a:gd name="T26" fmla="*/ 278 w 424"/>
                <a:gd name="T27" fmla="*/ 18 h 228"/>
                <a:gd name="T28" fmla="*/ 272 w 424"/>
                <a:gd name="T29" fmla="*/ 11 h 228"/>
                <a:gd name="T30" fmla="*/ 265 w 424"/>
                <a:gd name="T31" fmla="*/ 8 h 228"/>
                <a:gd name="T32" fmla="*/ 134 w 424"/>
                <a:gd name="T33" fmla="*/ 8 h 228"/>
                <a:gd name="T34" fmla="*/ 130 w 424"/>
                <a:gd name="T35" fmla="*/ 8 h 228"/>
                <a:gd name="T36" fmla="*/ 121 w 424"/>
                <a:gd name="T37" fmla="*/ 12 h 228"/>
                <a:gd name="T38" fmla="*/ 118 w 424"/>
                <a:gd name="T39" fmla="*/ 16 h 228"/>
                <a:gd name="T40" fmla="*/ 8 w 424"/>
                <a:gd name="T41" fmla="*/ 132 h 228"/>
                <a:gd name="T42" fmla="*/ 5 w 424"/>
                <a:gd name="T43" fmla="*/ 136 h 228"/>
                <a:gd name="T44" fmla="*/ 1 w 424"/>
                <a:gd name="T45" fmla="*/ 149 h 228"/>
                <a:gd name="T46" fmla="*/ 0 w 424"/>
                <a:gd name="T47" fmla="*/ 214 h 228"/>
                <a:gd name="T48" fmla="*/ 0 w 424"/>
                <a:gd name="T49" fmla="*/ 220 h 228"/>
                <a:gd name="T50" fmla="*/ 4 w 424"/>
                <a:gd name="T51" fmla="*/ 227 h 228"/>
                <a:gd name="T52" fmla="*/ 7 w 424"/>
                <a:gd name="T53" fmla="*/ 228 h 228"/>
                <a:gd name="T54" fmla="*/ 13 w 424"/>
                <a:gd name="T55" fmla="*/ 226 h 228"/>
                <a:gd name="T56" fmla="*/ 75 w 424"/>
                <a:gd name="T57" fmla="*/ 163 h 228"/>
                <a:gd name="T58" fmla="*/ 79 w 424"/>
                <a:gd name="T59" fmla="*/ 160 h 228"/>
                <a:gd name="T60" fmla="*/ 91 w 424"/>
                <a:gd name="T61" fmla="*/ 155 h 228"/>
                <a:gd name="T62" fmla="*/ 286 w 424"/>
                <a:gd name="T63" fmla="*/ 154 h 228"/>
                <a:gd name="T64" fmla="*/ 294 w 424"/>
                <a:gd name="T65" fmla="*/ 154 h 228"/>
                <a:gd name="T66" fmla="*/ 307 w 424"/>
                <a:gd name="T67" fmla="*/ 147 h 228"/>
                <a:gd name="T68" fmla="*/ 418 w 424"/>
                <a:gd name="T69" fmla="*/ 36 h 228"/>
                <a:gd name="T70" fmla="*/ 421 w 424"/>
                <a:gd name="T71" fmla="*/ 33 h 228"/>
                <a:gd name="T72" fmla="*/ 424 w 424"/>
                <a:gd name="T73" fmla="*/ 25 h 228"/>
                <a:gd name="T74" fmla="*/ 424 w 424"/>
                <a:gd name="T75" fmla="*/ 17 h 228"/>
                <a:gd name="T76" fmla="*/ 421 w 424"/>
                <a:gd name="T77" fmla="*/ 9 h 228"/>
                <a:gd name="T78" fmla="*/ 418 w 424"/>
                <a:gd name="T79" fmla="*/ 6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4" h="228">
                  <a:moveTo>
                    <a:pt x="418" y="6"/>
                  </a:moveTo>
                  <a:lnTo>
                    <a:pt x="418" y="6"/>
                  </a:lnTo>
                  <a:lnTo>
                    <a:pt x="415" y="3"/>
                  </a:lnTo>
                  <a:lnTo>
                    <a:pt x="410" y="1"/>
                  </a:lnTo>
                  <a:lnTo>
                    <a:pt x="407" y="0"/>
                  </a:lnTo>
                  <a:lnTo>
                    <a:pt x="403" y="0"/>
                  </a:lnTo>
                  <a:lnTo>
                    <a:pt x="403" y="0"/>
                  </a:lnTo>
                  <a:lnTo>
                    <a:pt x="399" y="0"/>
                  </a:lnTo>
                  <a:lnTo>
                    <a:pt x="394" y="1"/>
                  </a:lnTo>
                  <a:lnTo>
                    <a:pt x="391" y="3"/>
                  </a:lnTo>
                  <a:lnTo>
                    <a:pt x="388" y="6"/>
                  </a:lnTo>
                  <a:lnTo>
                    <a:pt x="309" y="85"/>
                  </a:lnTo>
                  <a:lnTo>
                    <a:pt x="149" y="85"/>
                  </a:lnTo>
                  <a:lnTo>
                    <a:pt x="181" y="51"/>
                  </a:lnTo>
                  <a:lnTo>
                    <a:pt x="261" y="51"/>
                  </a:lnTo>
                  <a:lnTo>
                    <a:pt x="261" y="51"/>
                  </a:lnTo>
                  <a:lnTo>
                    <a:pt x="265" y="51"/>
                  </a:lnTo>
                  <a:lnTo>
                    <a:pt x="268" y="50"/>
                  </a:lnTo>
                  <a:lnTo>
                    <a:pt x="272" y="48"/>
                  </a:lnTo>
                  <a:lnTo>
                    <a:pt x="276" y="45"/>
                  </a:lnTo>
                  <a:lnTo>
                    <a:pt x="278" y="42"/>
                  </a:lnTo>
                  <a:lnTo>
                    <a:pt x="280" y="38"/>
                  </a:lnTo>
                  <a:lnTo>
                    <a:pt x="281" y="34"/>
                  </a:lnTo>
                  <a:lnTo>
                    <a:pt x="282" y="30"/>
                  </a:lnTo>
                  <a:lnTo>
                    <a:pt x="282" y="30"/>
                  </a:lnTo>
                  <a:lnTo>
                    <a:pt x="281" y="25"/>
                  </a:lnTo>
                  <a:lnTo>
                    <a:pt x="280" y="21"/>
                  </a:lnTo>
                  <a:lnTo>
                    <a:pt x="278" y="18"/>
                  </a:lnTo>
                  <a:lnTo>
                    <a:pt x="276" y="15"/>
                  </a:lnTo>
                  <a:lnTo>
                    <a:pt x="272" y="11"/>
                  </a:lnTo>
                  <a:lnTo>
                    <a:pt x="268" y="9"/>
                  </a:lnTo>
                  <a:lnTo>
                    <a:pt x="265" y="8"/>
                  </a:lnTo>
                  <a:lnTo>
                    <a:pt x="261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0" y="8"/>
                  </a:lnTo>
                  <a:lnTo>
                    <a:pt x="126" y="10"/>
                  </a:lnTo>
                  <a:lnTo>
                    <a:pt x="121" y="12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45" y="94"/>
                  </a:lnTo>
                  <a:lnTo>
                    <a:pt x="8" y="132"/>
                  </a:lnTo>
                  <a:lnTo>
                    <a:pt x="8" y="132"/>
                  </a:lnTo>
                  <a:lnTo>
                    <a:pt x="5" y="136"/>
                  </a:lnTo>
                  <a:lnTo>
                    <a:pt x="2" y="143"/>
                  </a:lnTo>
                  <a:lnTo>
                    <a:pt x="1" y="149"/>
                  </a:lnTo>
                  <a:lnTo>
                    <a:pt x="0" y="155"/>
                  </a:lnTo>
                  <a:lnTo>
                    <a:pt x="0" y="214"/>
                  </a:lnTo>
                  <a:lnTo>
                    <a:pt x="0" y="214"/>
                  </a:lnTo>
                  <a:lnTo>
                    <a:pt x="0" y="220"/>
                  </a:lnTo>
                  <a:lnTo>
                    <a:pt x="2" y="224"/>
                  </a:lnTo>
                  <a:lnTo>
                    <a:pt x="4" y="227"/>
                  </a:lnTo>
                  <a:lnTo>
                    <a:pt x="7" y="228"/>
                  </a:lnTo>
                  <a:lnTo>
                    <a:pt x="7" y="228"/>
                  </a:lnTo>
                  <a:lnTo>
                    <a:pt x="9" y="227"/>
                  </a:lnTo>
                  <a:lnTo>
                    <a:pt x="13" y="226"/>
                  </a:lnTo>
                  <a:lnTo>
                    <a:pt x="18" y="222"/>
                  </a:lnTo>
                  <a:lnTo>
                    <a:pt x="75" y="163"/>
                  </a:lnTo>
                  <a:lnTo>
                    <a:pt x="75" y="163"/>
                  </a:lnTo>
                  <a:lnTo>
                    <a:pt x="79" y="160"/>
                  </a:lnTo>
                  <a:lnTo>
                    <a:pt x="85" y="157"/>
                  </a:lnTo>
                  <a:lnTo>
                    <a:pt x="91" y="155"/>
                  </a:lnTo>
                  <a:lnTo>
                    <a:pt x="97" y="154"/>
                  </a:lnTo>
                  <a:lnTo>
                    <a:pt x="286" y="154"/>
                  </a:lnTo>
                  <a:lnTo>
                    <a:pt x="286" y="154"/>
                  </a:lnTo>
                  <a:lnTo>
                    <a:pt x="294" y="154"/>
                  </a:lnTo>
                  <a:lnTo>
                    <a:pt x="300" y="151"/>
                  </a:lnTo>
                  <a:lnTo>
                    <a:pt x="307" y="147"/>
                  </a:lnTo>
                  <a:lnTo>
                    <a:pt x="312" y="143"/>
                  </a:lnTo>
                  <a:lnTo>
                    <a:pt x="418" y="36"/>
                  </a:lnTo>
                  <a:lnTo>
                    <a:pt x="418" y="36"/>
                  </a:lnTo>
                  <a:lnTo>
                    <a:pt x="421" y="33"/>
                  </a:lnTo>
                  <a:lnTo>
                    <a:pt x="423" y="30"/>
                  </a:lnTo>
                  <a:lnTo>
                    <a:pt x="424" y="25"/>
                  </a:lnTo>
                  <a:lnTo>
                    <a:pt x="424" y="21"/>
                  </a:lnTo>
                  <a:lnTo>
                    <a:pt x="424" y="17"/>
                  </a:lnTo>
                  <a:lnTo>
                    <a:pt x="423" y="14"/>
                  </a:lnTo>
                  <a:lnTo>
                    <a:pt x="421" y="9"/>
                  </a:lnTo>
                  <a:lnTo>
                    <a:pt x="418" y="6"/>
                  </a:lnTo>
                  <a:lnTo>
                    <a:pt x="418" y="6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34"/>
            <p:cNvSpPr>
              <a:spLocks noEditPoints="1"/>
            </p:cNvSpPr>
            <p:nvPr/>
          </p:nvSpPr>
          <p:spPr bwMode="auto">
            <a:xfrm>
              <a:off x="7913317" y="1369018"/>
              <a:ext cx="259133" cy="306868"/>
            </a:xfrm>
            <a:custGeom>
              <a:avLst/>
              <a:gdLst>
                <a:gd name="T0" fmla="*/ 257 w 303"/>
                <a:gd name="T1" fmla="*/ 165 h 359"/>
                <a:gd name="T2" fmla="*/ 257 w 303"/>
                <a:gd name="T3" fmla="*/ 108 h 359"/>
                <a:gd name="T4" fmla="*/ 255 w 303"/>
                <a:gd name="T5" fmla="*/ 86 h 359"/>
                <a:gd name="T6" fmla="*/ 248 w 303"/>
                <a:gd name="T7" fmla="*/ 66 h 359"/>
                <a:gd name="T8" fmla="*/ 238 w 303"/>
                <a:gd name="T9" fmla="*/ 48 h 359"/>
                <a:gd name="T10" fmla="*/ 225 w 303"/>
                <a:gd name="T11" fmla="*/ 33 h 359"/>
                <a:gd name="T12" fmla="*/ 209 w 303"/>
                <a:gd name="T13" fmla="*/ 19 h 359"/>
                <a:gd name="T14" fmla="*/ 191 w 303"/>
                <a:gd name="T15" fmla="*/ 9 h 359"/>
                <a:gd name="T16" fmla="*/ 171 w 303"/>
                <a:gd name="T17" fmla="*/ 3 h 359"/>
                <a:gd name="T18" fmla="*/ 150 w 303"/>
                <a:gd name="T19" fmla="*/ 0 h 359"/>
                <a:gd name="T20" fmla="*/ 139 w 303"/>
                <a:gd name="T21" fmla="*/ 2 h 359"/>
                <a:gd name="T22" fmla="*/ 118 w 303"/>
                <a:gd name="T23" fmla="*/ 6 h 359"/>
                <a:gd name="T24" fmla="*/ 98 w 303"/>
                <a:gd name="T25" fmla="*/ 13 h 359"/>
                <a:gd name="T26" fmla="*/ 82 w 303"/>
                <a:gd name="T27" fmla="*/ 25 h 359"/>
                <a:gd name="T28" fmla="*/ 67 w 303"/>
                <a:gd name="T29" fmla="*/ 40 h 359"/>
                <a:gd name="T30" fmla="*/ 55 w 303"/>
                <a:gd name="T31" fmla="*/ 56 h 359"/>
                <a:gd name="T32" fmla="*/ 48 w 303"/>
                <a:gd name="T33" fmla="*/ 76 h 359"/>
                <a:gd name="T34" fmla="*/ 43 w 303"/>
                <a:gd name="T35" fmla="*/ 97 h 359"/>
                <a:gd name="T36" fmla="*/ 42 w 303"/>
                <a:gd name="T37" fmla="*/ 165 h 359"/>
                <a:gd name="T38" fmla="*/ 0 w 303"/>
                <a:gd name="T39" fmla="*/ 337 h 359"/>
                <a:gd name="T40" fmla="*/ 1 w 303"/>
                <a:gd name="T41" fmla="*/ 341 h 359"/>
                <a:gd name="T42" fmla="*/ 4 w 303"/>
                <a:gd name="T43" fmla="*/ 350 h 359"/>
                <a:gd name="T44" fmla="*/ 11 w 303"/>
                <a:gd name="T45" fmla="*/ 355 h 359"/>
                <a:gd name="T46" fmla="*/ 18 w 303"/>
                <a:gd name="T47" fmla="*/ 359 h 359"/>
                <a:gd name="T48" fmla="*/ 303 w 303"/>
                <a:gd name="T49" fmla="*/ 359 h 359"/>
                <a:gd name="T50" fmla="*/ 303 w 303"/>
                <a:gd name="T51" fmla="*/ 187 h 359"/>
                <a:gd name="T52" fmla="*/ 301 w 303"/>
                <a:gd name="T53" fmla="*/ 179 h 359"/>
                <a:gd name="T54" fmla="*/ 297 w 303"/>
                <a:gd name="T55" fmla="*/ 171 h 359"/>
                <a:gd name="T56" fmla="*/ 289 w 303"/>
                <a:gd name="T57" fmla="*/ 167 h 359"/>
                <a:gd name="T58" fmla="*/ 280 w 303"/>
                <a:gd name="T59" fmla="*/ 165 h 359"/>
                <a:gd name="T60" fmla="*/ 88 w 303"/>
                <a:gd name="T61" fmla="*/ 108 h 359"/>
                <a:gd name="T62" fmla="*/ 90 w 303"/>
                <a:gd name="T63" fmla="*/ 95 h 359"/>
                <a:gd name="T64" fmla="*/ 99 w 303"/>
                <a:gd name="T65" fmla="*/ 74 h 359"/>
                <a:gd name="T66" fmla="*/ 115 w 303"/>
                <a:gd name="T67" fmla="*/ 57 h 359"/>
                <a:gd name="T68" fmla="*/ 137 w 303"/>
                <a:gd name="T69" fmla="*/ 48 h 359"/>
                <a:gd name="T70" fmla="*/ 150 w 303"/>
                <a:gd name="T71" fmla="*/ 47 h 359"/>
                <a:gd name="T72" fmla="*/ 174 w 303"/>
                <a:gd name="T73" fmla="*/ 51 h 359"/>
                <a:gd name="T74" fmla="*/ 193 w 303"/>
                <a:gd name="T75" fmla="*/ 65 h 359"/>
                <a:gd name="T76" fmla="*/ 206 w 303"/>
                <a:gd name="T77" fmla="*/ 84 h 359"/>
                <a:gd name="T78" fmla="*/ 211 w 303"/>
                <a:gd name="T79" fmla="*/ 108 h 359"/>
                <a:gd name="T80" fmla="*/ 88 w 303"/>
                <a:gd name="T81" fmla="*/ 165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03" h="359">
                  <a:moveTo>
                    <a:pt x="280" y="165"/>
                  </a:moveTo>
                  <a:lnTo>
                    <a:pt x="257" y="165"/>
                  </a:lnTo>
                  <a:lnTo>
                    <a:pt x="257" y="108"/>
                  </a:lnTo>
                  <a:lnTo>
                    <a:pt x="257" y="108"/>
                  </a:lnTo>
                  <a:lnTo>
                    <a:pt x="257" y="97"/>
                  </a:lnTo>
                  <a:lnTo>
                    <a:pt x="255" y="86"/>
                  </a:lnTo>
                  <a:lnTo>
                    <a:pt x="252" y="76"/>
                  </a:lnTo>
                  <a:lnTo>
                    <a:pt x="248" y="66"/>
                  </a:lnTo>
                  <a:lnTo>
                    <a:pt x="244" y="56"/>
                  </a:lnTo>
                  <a:lnTo>
                    <a:pt x="238" y="48"/>
                  </a:lnTo>
                  <a:lnTo>
                    <a:pt x="233" y="40"/>
                  </a:lnTo>
                  <a:lnTo>
                    <a:pt x="225" y="33"/>
                  </a:lnTo>
                  <a:lnTo>
                    <a:pt x="218" y="25"/>
                  </a:lnTo>
                  <a:lnTo>
                    <a:pt x="209" y="19"/>
                  </a:lnTo>
                  <a:lnTo>
                    <a:pt x="201" y="13"/>
                  </a:lnTo>
                  <a:lnTo>
                    <a:pt x="191" y="9"/>
                  </a:lnTo>
                  <a:lnTo>
                    <a:pt x="181" y="6"/>
                  </a:lnTo>
                  <a:lnTo>
                    <a:pt x="171" y="3"/>
                  </a:lnTo>
                  <a:lnTo>
                    <a:pt x="161" y="2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39" y="2"/>
                  </a:lnTo>
                  <a:lnTo>
                    <a:pt x="128" y="3"/>
                  </a:lnTo>
                  <a:lnTo>
                    <a:pt x="118" y="6"/>
                  </a:lnTo>
                  <a:lnTo>
                    <a:pt x="108" y="9"/>
                  </a:lnTo>
                  <a:lnTo>
                    <a:pt x="98" y="13"/>
                  </a:lnTo>
                  <a:lnTo>
                    <a:pt x="90" y="19"/>
                  </a:lnTo>
                  <a:lnTo>
                    <a:pt x="82" y="25"/>
                  </a:lnTo>
                  <a:lnTo>
                    <a:pt x="74" y="33"/>
                  </a:lnTo>
                  <a:lnTo>
                    <a:pt x="67" y="40"/>
                  </a:lnTo>
                  <a:lnTo>
                    <a:pt x="60" y="48"/>
                  </a:lnTo>
                  <a:lnTo>
                    <a:pt x="55" y="56"/>
                  </a:lnTo>
                  <a:lnTo>
                    <a:pt x="51" y="66"/>
                  </a:lnTo>
                  <a:lnTo>
                    <a:pt x="48" y="76"/>
                  </a:lnTo>
                  <a:lnTo>
                    <a:pt x="44" y="86"/>
                  </a:lnTo>
                  <a:lnTo>
                    <a:pt x="43" y="97"/>
                  </a:lnTo>
                  <a:lnTo>
                    <a:pt x="42" y="108"/>
                  </a:lnTo>
                  <a:lnTo>
                    <a:pt x="42" y="165"/>
                  </a:lnTo>
                  <a:lnTo>
                    <a:pt x="0" y="165"/>
                  </a:lnTo>
                  <a:lnTo>
                    <a:pt x="0" y="337"/>
                  </a:lnTo>
                  <a:lnTo>
                    <a:pt x="0" y="337"/>
                  </a:lnTo>
                  <a:lnTo>
                    <a:pt x="1" y="341"/>
                  </a:lnTo>
                  <a:lnTo>
                    <a:pt x="2" y="345"/>
                  </a:lnTo>
                  <a:lnTo>
                    <a:pt x="4" y="350"/>
                  </a:lnTo>
                  <a:lnTo>
                    <a:pt x="8" y="353"/>
                  </a:lnTo>
                  <a:lnTo>
                    <a:pt x="11" y="355"/>
                  </a:lnTo>
                  <a:lnTo>
                    <a:pt x="14" y="357"/>
                  </a:lnTo>
                  <a:lnTo>
                    <a:pt x="18" y="359"/>
                  </a:lnTo>
                  <a:lnTo>
                    <a:pt x="24" y="359"/>
                  </a:lnTo>
                  <a:lnTo>
                    <a:pt x="303" y="359"/>
                  </a:lnTo>
                  <a:lnTo>
                    <a:pt x="303" y="187"/>
                  </a:lnTo>
                  <a:lnTo>
                    <a:pt x="303" y="187"/>
                  </a:lnTo>
                  <a:lnTo>
                    <a:pt x="302" y="183"/>
                  </a:lnTo>
                  <a:lnTo>
                    <a:pt x="301" y="179"/>
                  </a:lnTo>
                  <a:lnTo>
                    <a:pt x="299" y="175"/>
                  </a:lnTo>
                  <a:lnTo>
                    <a:pt x="297" y="171"/>
                  </a:lnTo>
                  <a:lnTo>
                    <a:pt x="292" y="169"/>
                  </a:lnTo>
                  <a:lnTo>
                    <a:pt x="289" y="167"/>
                  </a:lnTo>
                  <a:lnTo>
                    <a:pt x="285" y="165"/>
                  </a:lnTo>
                  <a:lnTo>
                    <a:pt x="280" y="165"/>
                  </a:lnTo>
                  <a:lnTo>
                    <a:pt x="280" y="165"/>
                  </a:lnTo>
                  <a:close/>
                  <a:moveTo>
                    <a:pt x="88" y="108"/>
                  </a:moveTo>
                  <a:lnTo>
                    <a:pt x="88" y="108"/>
                  </a:lnTo>
                  <a:lnTo>
                    <a:pt x="90" y="95"/>
                  </a:lnTo>
                  <a:lnTo>
                    <a:pt x="93" y="84"/>
                  </a:lnTo>
                  <a:lnTo>
                    <a:pt x="99" y="74"/>
                  </a:lnTo>
                  <a:lnTo>
                    <a:pt x="107" y="65"/>
                  </a:lnTo>
                  <a:lnTo>
                    <a:pt x="115" y="57"/>
                  </a:lnTo>
                  <a:lnTo>
                    <a:pt x="126" y="51"/>
                  </a:lnTo>
                  <a:lnTo>
                    <a:pt x="137" y="48"/>
                  </a:lnTo>
                  <a:lnTo>
                    <a:pt x="150" y="47"/>
                  </a:lnTo>
                  <a:lnTo>
                    <a:pt x="150" y="47"/>
                  </a:lnTo>
                  <a:lnTo>
                    <a:pt x="162" y="48"/>
                  </a:lnTo>
                  <a:lnTo>
                    <a:pt x="174" y="51"/>
                  </a:lnTo>
                  <a:lnTo>
                    <a:pt x="184" y="57"/>
                  </a:lnTo>
                  <a:lnTo>
                    <a:pt x="193" y="65"/>
                  </a:lnTo>
                  <a:lnTo>
                    <a:pt x="201" y="74"/>
                  </a:lnTo>
                  <a:lnTo>
                    <a:pt x="206" y="84"/>
                  </a:lnTo>
                  <a:lnTo>
                    <a:pt x="209" y="95"/>
                  </a:lnTo>
                  <a:lnTo>
                    <a:pt x="211" y="108"/>
                  </a:lnTo>
                  <a:lnTo>
                    <a:pt x="211" y="165"/>
                  </a:lnTo>
                  <a:lnTo>
                    <a:pt x="88" y="165"/>
                  </a:lnTo>
                  <a:lnTo>
                    <a:pt x="88" y="108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1773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Protect:</a:t>
            </a:r>
            <a:r>
              <a:rPr lang="en-US" dirty="0" smtClean="0"/>
              <a:t> Access control at different layers</a:t>
            </a:r>
            <a:endParaRPr lang="hi-IN" dirty="0"/>
          </a:p>
        </p:txBody>
      </p:sp>
      <p:sp>
        <p:nvSpPr>
          <p:cNvPr id="87" name="TextBox 86"/>
          <p:cNvSpPr txBox="1"/>
          <p:nvPr/>
        </p:nvSpPr>
        <p:spPr>
          <a:xfrm>
            <a:off x="4275806" y="4775957"/>
            <a:ext cx="1029870" cy="2750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rgbClr val="535455"/>
                </a:solidFill>
              </a:rPr>
              <a:t>Platform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9268179" y="5950502"/>
            <a:ext cx="481892" cy="2058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 smtClean="0">
                <a:solidFill>
                  <a:srgbClr val="0096D6"/>
                </a:solidFill>
              </a:rPr>
              <a:t>OS</a:t>
            </a:r>
          </a:p>
        </p:txBody>
      </p:sp>
      <p:sp>
        <p:nvSpPr>
          <p:cNvPr id="139" name="Freeform 34"/>
          <p:cNvSpPr>
            <a:spLocks noEditPoints="1"/>
          </p:cNvSpPr>
          <p:nvPr/>
        </p:nvSpPr>
        <p:spPr bwMode="auto">
          <a:xfrm>
            <a:off x="11134650" y="466550"/>
            <a:ext cx="362098" cy="428800"/>
          </a:xfrm>
          <a:custGeom>
            <a:avLst/>
            <a:gdLst>
              <a:gd name="T0" fmla="*/ 257 w 303"/>
              <a:gd name="T1" fmla="*/ 165 h 359"/>
              <a:gd name="T2" fmla="*/ 257 w 303"/>
              <a:gd name="T3" fmla="*/ 108 h 359"/>
              <a:gd name="T4" fmla="*/ 255 w 303"/>
              <a:gd name="T5" fmla="*/ 86 h 359"/>
              <a:gd name="T6" fmla="*/ 248 w 303"/>
              <a:gd name="T7" fmla="*/ 66 h 359"/>
              <a:gd name="T8" fmla="*/ 238 w 303"/>
              <a:gd name="T9" fmla="*/ 48 h 359"/>
              <a:gd name="T10" fmla="*/ 225 w 303"/>
              <a:gd name="T11" fmla="*/ 33 h 359"/>
              <a:gd name="T12" fmla="*/ 209 w 303"/>
              <a:gd name="T13" fmla="*/ 19 h 359"/>
              <a:gd name="T14" fmla="*/ 191 w 303"/>
              <a:gd name="T15" fmla="*/ 9 h 359"/>
              <a:gd name="T16" fmla="*/ 171 w 303"/>
              <a:gd name="T17" fmla="*/ 3 h 359"/>
              <a:gd name="T18" fmla="*/ 150 w 303"/>
              <a:gd name="T19" fmla="*/ 0 h 359"/>
              <a:gd name="T20" fmla="*/ 139 w 303"/>
              <a:gd name="T21" fmla="*/ 2 h 359"/>
              <a:gd name="T22" fmla="*/ 118 w 303"/>
              <a:gd name="T23" fmla="*/ 6 h 359"/>
              <a:gd name="T24" fmla="*/ 98 w 303"/>
              <a:gd name="T25" fmla="*/ 13 h 359"/>
              <a:gd name="T26" fmla="*/ 82 w 303"/>
              <a:gd name="T27" fmla="*/ 25 h 359"/>
              <a:gd name="T28" fmla="*/ 67 w 303"/>
              <a:gd name="T29" fmla="*/ 40 h 359"/>
              <a:gd name="T30" fmla="*/ 55 w 303"/>
              <a:gd name="T31" fmla="*/ 56 h 359"/>
              <a:gd name="T32" fmla="*/ 48 w 303"/>
              <a:gd name="T33" fmla="*/ 76 h 359"/>
              <a:gd name="T34" fmla="*/ 43 w 303"/>
              <a:gd name="T35" fmla="*/ 97 h 359"/>
              <a:gd name="T36" fmla="*/ 42 w 303"/>
              <a:gd name="T37" fmla="*/ 165 h 359"/>
              <a:gd name="T38" fmla="*/ 0 w 303"/>
              <a:gd name="T39" fmla="*/ 337 h 359"/>
              <a:gd name="T40" fmla="*/ 1 w 303"/>
              <a:gd name="T41" fmla="*/ 341 h 359"/>
              <a:gd name="T42" fmla="*/ 4 w 303"/>
              <a:gd name="T43" fmla="*/ 350 h 359"/>
              <a:gd name="T44" fmla="*/ 11 w 303"/>
              <a:gd name="T45" fmla="*/ 355 h 359"/>
              <a:gd name="T46" fmla="*/ 18 w 303"/>
              <a:gd name="T47" fmla="*/ 359 h 359"/>
              <a:gd name="T48" fmla="*/ 303 w 303"/>
              <a:gd name="T49" fmla="*/ 359 h 359"/>
              <a:gd name="T50" fmla="*/ 303 w 303"/>
              <a:gd name="T51" fmla="*/ 187 h 359"/>
              <a:gd name="T52" fmla="*/ 301 w 303"/>
              <a:gd name="T53" fmla="*/ 179 h 359"/>
              <a:gd name="T54" fmla="*/ 297 w 303"/>
              <a:gd name="T55" fmla="*/ 171 h 359"/>
              <a:gd name="T56" fmla="*/ 289 w 303"/>
              <a:gd name="T57" fmla="*/ 167 h 359"/>
              <a:gd name="T58" fmla="*/ 280 w 303"/>
              <a:gd name="T59" fmla="*/ 165 h 359"/>
              <a:gd name="T60" fmla="*/ 88 w 303"/>
              <a:gd name="T61" fmla="*/ 108 h 359"/>
              <a:gd name="T62" fmla="*/ 90 w 303"/>
              <a:gd name="T63" fmla="*/ 95 h 359"/>
              <a:gd name="T64" fmla="*/ 99 w 303"/>
              <a:gd name="T65" fmla="*/ 74 h 359"/>
              <a:gd name="T66" fmla="*/ 115 w 303"/>
              <a:gd name="T67" fmla="*/ 57 h 359"/>
              <a:gd name="T68" fmla="*/ 137 w 303"/>
              <a:gd name="T69" fmla="*/ 48 h 359"/>
              <a:gd name="T70" fmla="*/ 150 w 303"/>
              <a:gd name="T71" fmla="*/ 47 h 359"/>
              <a:gd name="T72" fmla="*/ 174 w 303"/>
              <a:gd name="T73" fmla="*/ 51 h 359"/>
              <a:gd name="T74" fmla="*/ 193 w 303"/>
              <a:gd name="T75" fmla="*/ 65 h 359"/>
              <a:gd name="T76" fmla="*/ 206 w 303"/>
              <a:gd name="T77" fmla="*/ 84 h 359"/>
              <a:gd name="T78" fmla="*/ 211 w 303"/>
              <a:gd name="T79" fmla="*/ 108 h 359"/>
              <a:gd name="T80" fmla="*/ 88 w 303"/>
              <a:gd name="T81" fmla="*/ 165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03" h="359">
                <a:moveTo>
                  <a:pt x="280" y="165"/>
                </a:moveTo>
                <a:lnTo>
                  <a:pt x="257" y="165"/>
                </a:lnTo>
                <a:lnTo>
                  <a:pt x="257" y="108"/>
                </a:lnTo>
                <a:lnTo>
                  <a:pt x="257" y="108"/>
                </a:lnTo>
                <a:lnTo>
                  <a:pt x="257" y="97"/>
                </a:lnTo>
                <a:lnTo>
                  <a:pt x="255" y="86"/>
                </a:lnTo>
                <a:lnTo>
                  <a:pt x="252" y="76"/>
                </a:lnTo>
                <a:lnTo>
                  <a:pt x="248" y="66"/>
                </a:lnTo>
                <a:lnTo>
                  <a:pt x="244" y="56"/>
                </a:lnTo>
                <a:lnTo>
                  <a:pt x="238" y="48"/>
                </a:lnTo>
                <a:lnTo>
                  <a:pt x="233" y="40"/>
                </a:lnTo>
                <a:lnTo>
                  <a:pt x="225" y="33"/>
                </a:lnTo>
                <a:lnTo>
                  <a:pt x="218" y="25"/>
                </a:lnTo>
                <a:lnTo>
                  <a:pt x="209" y="19"/>
                </a:lnTo>
                <a:lnTo>
                  <a:pt x="201" y="13"/>
                </a:lnTo>
                <a:lnTo>
                  <a:pt x="191" y="9"/>
                </a:lnTo>
                <a:lnTo>
                  <a:pt x="181" y="6"/>
                </a:lnTo>
                <a:lnTo>
                  <a:pt x="171" y="3"/>
                </a:lnTo>
                <a:lnTo>
                  <a:pt x="161" y="2"/>
                </a:lnTo>
                <a:lnTo>
                  <a:pt x="150" y="0"/>
                </a:lnTo>
                <a:lnTo>
                  <a:pt x="150" y="0"/>
                </a:lnTo>
                <a:lnTo>
                  <a:pt x="139" y="2"/>
                </a:lnTo>
                <a:lnTo>
                  <a:pt x="128" y="3"/>
                </a:lnTo>
                <a:lnTo>
                  <a:pt x="118" y="6"/>
                </a:lnTo>
                <a:lnTo>
                  <a:pt x="108" y="9"/>
                </a:lnTo>
                <a:lnTo>
                  <a:pt x="98" y="13"/>
                </a:lnTo>
                <a:lnTo>
                  <a:pt x="90" y="19"/>
                </a:lnTo>
                <a:lnTo>
                  <a:pt x="82" y="25"/>
                </a:lnTo>
                <a:lnTo>
                  <a:pt x="74" y="33"/>
                </a:lnTo>
                <a:lnTo>
                  <a:pt x="67" y="40"/>
                </a:lnTo>
                <a:lnTo>
                  <a:pt x="60" y="48"/>
                </a:lnTo>
                <a:lnTo>
                  <a:pt x="55" y="56"/>
                </a:lnTo>
                <a:lnTo>
                  <a:pt x="51" y="66"/>
                </a:lnTo>
                <a:lnTo>
                  <a:pt x="48" y="76"/>
                </a:lnTo>
                <a:lnTo>
                  <a:pt x="44" y="86"/>
                </a:lnTo>
                <a:lnTo>
                  <a:pt x="43" y="97"/>
                </a:lnTo>
                <a:lnTo>
                  <a:pt x="42" y="108"/>
                </a:lnTo>
                <a:lnTo>
                  <a:pt x="42" y="165"/>
                </a:lnTo>
                <a:lnTo>
                  <a:pt x="0" y="165"/>
                </a:lnTo>
                <a:lnTo>
                  <a:pt x="0" y="337"/>
                </a:lnTo>
                <a:lnTo>
                  <a:pt x="0" y="337"/>
                </a:lnTo>
                <a:lnTo>
                  <a:pt x="1" y="341"/>
                </a:lnTo>
                <a:lnTo>
                  <a:pt x="2" y="345"/>
                </a:lnTo>
                <a:lnTo>
                  <a:pt x="4" y="350"/>
                </a:lnTo>
                <a:lnTo>
                  <a:pt x="8" y="353"/>
                </a:lnTo>
                <a:lnTo>
                  <a:pt x="11" y="355"/>
                </a:lnTo>
                <a:lnTo>
                  <a:pt x="14" y="357"/>
                </a:lnTo>
                <a:lnTo>
                  <a:pt x="18" y="359"/>
                </a:lnTo>
                <a:lnTo>
                  <a:pt x="24" y="359"/>
                </a:lnTo>
                <a:lnTo>
                  <a:pt x="303" y="359"/>
                </a:lnTo>
                <a:lnTo>
                  <a:pt x="303" y="187"/>
                </a:lnTo>
                <a:lnTo>
                  <a:pt x="303" y="187"/>
                </a:lnTo>
                <a:lnTo>
                  <a:pt x="302" y="183"/>
                </a:lnTo>
                <a:lnTo>
                  <a:pt x="301" y="179"/>
                </a:lnTo>
                <a:lnTo>
                  <a:pt x="299" y="175"/>
                </a:lnTo>
                <a:lnTo>
                  <a:pt x="297" y="171"/>
                </a:lnTo>
                <a:lnTo>
                  <a:pt x="292" y="169"/>
                </a:lnTo>
                <a:lnTo>
                  <a:pt x="289" y="167"/>
                </a:lnTo>
                <a:lnTo>
                  <a:pt x="285" y="165"/>
                </a:lnTo>
                <a:lnTo>
                  <a:pt x="280" y="165"/>
                </a:lnTo>
                <a:lnTo>
                  <a:pt x="280" y="165"/>
                </a:lnTo>
                <a:close/>
                <a:moveTo>
                  <a:pt x="88" y="108"/>
                </a:moveTo>
                <a:lnTo>
                  <a:pt x="88" y="108"/>
                </a:lnTo>
                <a:lnTo>
                  <a:pt x="90" y="95"/>
                </a:lnTo>
                <a:lnTo>
                  <a:pt x="93" y="84"/>
                </a:lnTo>
                <a:lnTo>
                  <a:pt x="99" y="74"/>
                </a:lnTo>
                <a:lnTo>
                  <a:pt x="107" y="65"/>
                </a:lnTo>
                <a:lnTo>
                  <a:pt x="115" y="57"/>
                </a:lnTo>
                <a:lnTo>
                  <a:pt x="126" y="51"/>
                </a:lnTo>
                <a:lnTo>
                  <a:pt x="137" y="48"/>
                </a:lnTo>
                <a:lnTo>
                  <a:pt x="150" y="47"/>
                </a:lnTo>
                <a:lnTo>
                  <a:pt x="150" y="47"/>
                </a:lnTo>
                <a:lnTo>
                  <a:pt x="162" y="48"/>
                </a:lnTo>
                <a:lnTo>
                  <a:pt x="174" y="51"/>
                </a:lnTo>
                <a:lnTo>
                  <a:pt x="184" y="57"/>
                </a:lnTo>
                <a:lnTo>
                  <a:pt x="193" y="65"/>
                </a:lnTo>
                <a:lnTo>
                  <a:pt x="201" y="74"/>
                </a:lnTo>
                <a:lnTo>
                  <a:pt x="206" y="84"/>
                </a:lnTo>
                <a:lnTo>
                  <a:pt x="209" y="95"/>
                </a:lnTo>
                <a:lnTo>
                  <a:pt x="211" y="108"/>
                </a:lnTo>
                <a:lnTo>
                  <a:pt x="211" y="165"/>
                </a:lnTo>
                <a:lnTo>
                  <a:pt x="88" y="165"/>
                </a:lnTo>
                <a:lnTo>
                  <a:pt x="88" y="108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9268179" y="3129874"/>
            <a:ext cx="481892" cy="2058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 smtClean="0">
                <a:solidFill>
                  <a:srgbClr val="0096D6"/>
                </a:solidFill>
              </a:rPr>
              <a:t>OS</a:t>
            </a:r>
          </a:p>
        </p:txBody>
      </p:sp>
      <p:grpSp>
        <p:nvGrpSpPr>
          <p:cNvPr id="260" name="Group 259"/>
          <p:cNvGrpSpPr/>
          <p:nvPr/>
        </p:nvGrpSpPr>
        <p:grpSpPr>
          <a:xfrm>
            <a:off x="1377062" y="2443163"/>
            <a:ext cx="6281926" cy="2181224"/>
            <a:chOff x="1903412" y="2438400"/>
            <a:chExt cx="5486400" cy="1905000"/>
          </a:xfrm>
        </p:grpSpPr>
        <p:grpSp>
          <p:nvGrpSpPr>
            <p:cNvPr id="6" name="Group 5"/>
            <p:cNvGrpSpPr/>
            <p:nvPr/>
          </p:nvGrpSpPr>
          <p:grpSpPr>
            <a:xfrm>
              <a:off x="5347867" y="2438400"/>
              <a:ext cx="2041945" cy="1905000"/>
              <a:chOff x="5347867" y="2438400"/>
              <a:chExt cx="2041945" cy="1905000"/>
            </a:xfrm>
          </p:grpSpPr>
          <p:sp>
            <p:nvSpPr>
              <p:cNvPr id="36" name="Round Diagonal Corner Rectangle 35"/>
              <p:cNvSpPr/>
              <p:nvPr/>
            </p:nvSpPr>
            <p:spPr>
              <a:xfrm>
                <a:off x="5347867" y="2438400"/>
                <a:ext cx="2041945" cy="1905000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grpSp>
            <p:nvGrpSpPr>
              <p:cNvPr id="38" name="Group 37"/>
              <p:cNvGrpSpPr/>
              <p:nvPr/>
            </p:nvGrpSpPr>
            <p:grpSpPr>
              <a:xfrm>
                <a:off x="5434263" y="2530418"/>
                <a:ext cx="433044" cy="397477"/>
                <a:chOff x="1042044" y="2489534"/>
                <a:chExt cx="584512" cy="601704"/>
              </a:xfrm>
            </p:grpSpPr>
            <p:pic>
              <p:nvPicPr>
                <p:cNvPr id="84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85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39" name="Group 38"/>
              <p:cNvGrpSpPr/>
              <p:nvPr/>
            </p:nvGrpSpPr>
            <p:grpSpPr>
              <a:xfrm>
                <a:off x="5912967" y="2530418"/>
                <a:ext cx="433044" cy="397477"/>
                <a:chOff x="1042044" y="2489534"/>
                <a:chExt cx="584512" cy="601704"/>
              </a:xfrm>
            </p:grpSpPr>
            <p:pic>
              <p:nvPicPr>
                <p:cNvPr id="82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C00000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83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C00000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0" name="Group 39"/>
              <p:cNvGrpSpPr/>
              <p:nvPr/>
            </p:nvGrpSpPr>
            <p:grpSpPr>
              <a:xfrm>
                <a:off x="6391670" y="2530418"/>
                <a:ext cx="433044" cy="397477"/>
                <a:chOff x="1042044" y="2489534"/>
                <a:chExt cx="584512" cy="601704"/>
              </a:xfrm>
            </p:grpSpPr>
            <p:pic>
              <p:nvPicPr>
                <p:cNvPr id="80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81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1" name="Group 40"/>
              <p:cNvGrpSpPr/>
              <p:nvPr/>
            </p:nvGrpSpPr>
            <p:grpSpPr>
              <a:xfrm>
                <a:off x="6870373" y="2530418"/>
                <a:ext cx="433044" cy="397477"/>
                <a:chOff x="1042044" y="2489534"/>
                <a:chExt cx="584512" cy="601704"/>
              </a:xfrm>
            </p:grpSpPr>
            <p:pic>
              <p:nvPicPr>
                <p:cNvPr id="78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79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2" name="Group 41"/>
              <p:cNvGrpSpPr/>
              <p:nvPr/>
            </p:nvGrpSpPr>
            <p:grpSpPr>
              <a:xfrm>
                <a:off x="5434263" y="2970518"/>
                <a:ext cx="433044" cy="397477"/>
                <a:chOff x="1042044" y="2489534"/>
                <a:chExt cx="584512" cy="601704"/>
              </a:xfrm>
            </p:grpSpPr>
            <p:pic>
              <p:nvPicPr>
                <p:cNvPr id="76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77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3" name="Group 42"/>
              <p:cNvGrpSpPr/>
              <p:nvPr/>
            </p:nvGrpSpPr>
            <p:grpSpPr>
              <a:xfrm>
                <a:off x="5912967" y="2970518"/>
                <a:ext cx="433044" cy="397477"/>
                <a:chOff x="1042044" y="2489534"/>
                <a:chExt cx="584512" cy="601704"/>
              </a:xfrm>
            </p:grpSpPr>
            <p:pic>
              <p:nvPicPr>
                <p:cNvPr id="74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75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4" name="Group 43"/>
              <p:cNvGrpSpPr/>
              <p:nvPr/>
            </p:nvGrpSpPr>
            <p:grpSpPr>
              <a:xfrm>
                <a:off x="6391670" y="2970518"/>
                <a:ext cx="433044" cy="397477"/>
                <a:chOff x="1042044" y="2489534"/>
                <a:chExt cx="584512" cy="601704"/>
              </a:xfrm>
            </p:grpSpPr>
            <p:pic>
              <p:nvPicPr>
                <p:cNvPr id="72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73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5" name="Group 44"/>
              <p:cNvGrpSpPr/>
              <p:nvPr/>
            </p:nvGrpSpPr>
            <p:grpSpPr>
              <a:xfrm>
                <a:off x="6870373" y="2970518"/>
                <a:ext cx="433044" cy="397477"/>
                <a:chOff x="1042044" y="2489534"/>
                <a:chExt cx="584512" cy="601704"/>
              </a:xfrm>
            </p:grpSpPr>
            <p:pic>
              <p:nvPicPr>
                <p:cNvPr id="70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71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6" name="Group 45"/>
              <p:cNvGrpSpPr/>
              <p:nvPr/>
            </p:nvGrpSpPr>
            <p:grpSpPr>
              <a:xfrm>
                <a:off x="5434263" y="3416119"/>
                <a:ext cx="433044" cy="397477"/>
                <a:chOff x="1042044" y="2489534"/>
                <a:chExt cx="584512" cy="601704"/>
              </a:xfrm>
            </p:grpSpPr>
            <p:pic>
              <p:nvPicPr>
                <p:cNvPr id="68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008B2C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69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008B2C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7" name="Group 46"/>
              <p:cNvGrpSpPr/>
              <p:nvPr/>
            </p:nvGrpSpPr>
            <p:grpSpPr>
              <a:xfrm>
                <a:off x="5912967" y="3416119"/>
                <a:ext cx="433044" cy="397477"/>
                <a:chOff x="1042044" y="2489534"/>
                <a:chExt cx="584512" cy="601704"/>
              </a:xfrm>
            </p:grpSpPr>
            <p:pic>
              <p:nvPicPr>
                <p:cNvPr id="66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67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8" name="Group 47"/>
              <p:cNvGrpSpPr/>
              <p:nvPr/>
            </p:nvGrpSpPr>
            <p:grpSpPr>
              <a:xfrm>
                <a:off x="6391670" y="3416119"/>
                <a:ext cx="433044" cy="397477"/>
                <a:chOff x="1042044" y="2489534"/>
                <a:chExt cx="584512" cy="601704"/>
              </a:xfrm>
            </p:grpSpPr>
            <p:pic>
              <p:nvPicPr>
                <p:cNvPr id="64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C00000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65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C00000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49" name="Group 48"/>
              <p:cNvGrpSpPr/>
              <p:nvPr/>
            </p:nvGrpSpPr>
            <p:grpSpPr>
              <a:xfrm>
                <a:off x="6870373" y="3416119"/>
                <a:ext cx="433044" cy="397477"/>
                <a:chOff x="1042044" y="2489534"/>
                <a:chExt cx="584512" cy="601704"/>
              </a:xfrm>
            </p:grpSpPr>
            <p:pic>
              <p:nvPicPr>
                <p:cNvPr id="62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63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50" name="Group 49"/>
              <p:cNvGrpSpPr/>
              <p:nvPr/>
            </p:nvGrpSpPr>
            <p:grpSpPr>
              <a:xfrm>
                <a:off x="5434263" y="3853905"/>
                <a:ext cx="433044" cy="397477"/>
                <a:chOff x="1042044" y="2489534"/>
                <a:chExt cx="584512" cy="601704"/>
              </a:xfrm>
            </p:grpSpPr>
            <p:pic>
              <p:nvPicPr>
                <p:cNvPr id="60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008B2C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61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008B2C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51" name="Group 50"/>
              <p:cNvGrpSpPr/>
              <p:nvPr/>
            </p:nvGrpSpPr>
            <p:grpSpPr>
              <a:xfrm>
                <a:off x="5912967" y="3853905"/>
                <a:ext cx="433044" cy="397477"/>
                <a:chOff x="1042044" y="2489534"/>
                <a:chExt cx="584512" cy="601704"/>
              </a:xfrm>
            </p:grpSpPr>
            <p:pic>
              <p:nvPicPr>
                <p:cNvPr id="58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59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52" name="Group 51"/>
              <p:cNvGrpSpPr/>
              <p:nvPr/>
            </p:nvGrpSpPr>
            <p:grpSpPr>
              <a:xfrm>
                <a:off x="6391670" y="3853905"/>
                <a:ext cx="433044" cy="397477"/>
                <a:chOff x="1042044" y="2489534"/>
                <a:chExt cx="584512" cy="601704"/>
              </a:xfrm>
            </p:grpSpPr>
            <p:pic>
              <p:nvPicPr>
                <p:cNvPr id="56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008B2C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57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duotone>
                    <a:prstClr val="black"/>
                    <a:srgbClr val="008B2C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53" name="Group 52"/>
              <p:cNvGrpSpPr/>
              <p:nvPr/>
            </p:nvGrpSpPr>
            <p:grpSpPr>
              <a:xfrm>
                <a:off x="6870373" y="3853905"/>
                <a:ext cx="433044" cy="397477"/>
                <a:chOff x="1042044" y="2489534"/>
                <a:chExt cx="584512" cy="601704"/>
              </a:xfrm>
            </p:grpSpPr>
            <p:pic>
              <p:nvPicPr>
                <p:cNvPr id="54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biLevel thresh="25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9598"/>
                    <a:gd name="adj2" fmla="val 11765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</p:pic>
            <p:pic>
              <p:nvPicPr>
                <p:cNvPr id="55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ackgroundRemoval t="588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042044" y="2489534"/>
                  <a:ext cx="584512" cy="601704"/>
                </a:xfrm>
                <a:prstGeom prst="round2DiagRect">
                  <a:avLst>
                    <a:gd name="adj1" fmla="val 0"/>
                    <a:gd name="adj2" fmla="val 11765"/>
                  </a:avLst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sp>
          <p:nvSpPr>
            <p:cNvPr id="14" name="Round Diagonal Corner Rectangle 13"/>
            <p:cNvSpPr/>
            <p:nvPr/>
          </p:nvSpPr>
          <p:spPr>
            <a:xfrm>
              <a:off x="1903412" y="2438400"/>
              <a:ext cx="2041945" cy="1905000"/>
            </a:xfrm>
            <a:prstGeom prst="round2DiagRect">
              <a:avLst>
                <a:gd name="adj1" fmla="val 0"/>
                <a:gd name="adj2" fmla="val 8146"/>
              </a:avLst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700" b="1" dirty="0" smtClean="0">
                <a:solidFill>
                  <a:prstClr val="white"/>
                </a:solidFill>
                <a:sym typeface="Webdings"/>
              </a:endParaRPr>
            </a:p>
          </p:txBody>
        </p:sp>
        <p:pic>
          <p:nvPicPr>
            <p:cNvPr id="32" name="Picture 3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prstClr val="black"/>
                <a:srgbClr val="008B2C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984539" y="2547637"/>
              <a:ext cx="433044" cy="386119"/>
            </a:xfrm>
            <a:prstGeom prst="round2DiagRect">
              <a:avLst>
                <a:gd name="adj1" fmla="val 0"/>
                <a:gd name="adj2" fmla="val 11765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3" name="Picture 3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prstClr val="black"/>
                <a:srgbClr val="008B2C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2466754" y="2547637"/>
              <a:ext cx="433044" cy="386119"/>
            </a:xfrm>
            <a:prstGeom prst="round2DiagRect">
              <a:avLst>
                <a:gd name="adj1" fmla="val 0"/>
                <a:gd name="adj2" fmla="val 11765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4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2948970" y="2547637"/>
              <a:ext cx="433044" cy="386119"/>
            </a:xfrm>
            <a:prstGeom prst="round2DiagRect">
              <a:avLst>
                <a:gd name="adj1" fmla="val 0"/>
                <a:gd name="adj2" fmla="val 11765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5" name="Picture 3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prstClr val="black"/>
                <a:srgbClr val="C0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431185" y="2547637"/>
              <a:ext cx="433044" cy="386119"/>
            </a:xfrm>
            <a:prstGeom prst="round2DiagRect">
              <a:avLst>
                <a:gd name="adj1" fmla="val 0"/>
                <a:gd name="adj2" fmla="val 11765"/>
              </a:avLst>
            </a:prstGeom>
            <a:solidFill>
              <a:srgbClr val="C00000"/>
            </a:solidFill>
            <a:ln>
              <a:noFill/>
            </a:ln>
            <a:effectLst/>
            <a:extLst/>
          </p:spPr>
        </p:pic>
        <p:grpSp>
          <p:nvGrpSpPr>
            <p:cNvPr id="17" name="Group 16"/>
            <p:cNvGrpSpPr/>
            <p:nvPr/>
          </p:nvGrpSpPr>
          <p:grpSpPr>
            <a:xfrm>
              <a:off x="1984539" y="2981106"/>
              <a:ext cx="1879690" cy="386119"/>
              <a:chOff x="1576486" y="1934992"/>
              <a:chExt cx="1762214" cy="405980"/>
            </a:xfrm>
          </p:grpSpPr>
          <p:pic>
            <p:nvPicPr>
              <p:cNvPr id="28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576486" y="1934992"/>
                <a:ext cx="405980" cy="405980"/>
              </a:xfrm>
              <a:prstGeom prst="round2DiagRect">
                <a:avLst>
                  <a:gd name="adj1" fmla="val 0"/>
                  <a:gd name="adj2" fmla="val 11765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9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028564" y="1934992"/>
                <a:ext cx="405980" cy="405980"/>
              </a:xfrm>
              <a:prstGeom prst="round2DiagRect">
                <a:avLst>
                  <a:gd name="adj1" fmla="val 0"/>
                  <a:gd name="adj2" fmla="val 11765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30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480642" y="1934992"/>
                <a:ext cx="405980" cy="405980"/>
              </a:xfrm>
              <a:prstGeom prst="round2DiagRect">
                <a:avLst>
                  <a:gd name="adj1" fmla="val 0"/>
                  <a:gd name="adj2" fmla="val 11765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31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932720" y="1934992"/>
                <a:ext cx="405980" cy="405980"/>
              </a:xfrm>
              <a:prstGeom prst="round2DiagRect">
                <a:avLst>
                  <a:gd name="adj1" fmla="val 0"/>
                  <a:gd name="adj2" fmla="val 11765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8" name="Group 17"/>
            <p:cNvGrpSpPr/>
            <p:nvPr/>
          </p:nvGrpSpPr>
          <p:grpSpPr>
            <a:xfrm>
              <a:off x="1984539" y="3414576"/>
              <a:ext cx="1879690" cy="386119"/>
              <a:chOff x="1576486" y="1934992"/>
              <a:chExt cx="1762214" cy="405980"/>
            </a:xfrm>
          </p:grpSpPr>
          <p:pic>
            <p:nvPicPr>
              <p:cNvPr id="24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576486" y="1934992"/>
                <a:ext cx="405980" cy="405980"/>
              </a:xfrm>
              <a:prstGeom prst="round2DiagRect">
                <a:avLst>
                  <a:gd name="adj1" fmla="val 0"/>
                  <a:gd name="adj2" fmla="val 11765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5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028564" y="1934992"/>
                <a:ext cx="405980" cy="405980"/>
              </a:xfrm>
              <a:prstGeom prst="round2DiagRect">
                <a:avLst>
                  <a:gd name="adj1" fmla="val 0"/>
                  <a:gd name="adj2" fmla="val 11765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6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480642" y="1934992"/>
                <a:ext cx="405980" cy="405980"/>
              </a:xfrm>
              <a:prstGeom prst="round2DiagRect">
                <a:avLst>
                  <a:gd name="adj1" fmla="val 0"/>
                  <a:gd name="adj2" fmla="val 11765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7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932720" y="1934992"/>
                <a:ext cx="405980" cy="405980"/>
              </a:xfrm>
              <a:prstGeom prst="round2DiagRect">
                <a:avLst>
                  <a:gd name="adj1" fmla="val 0"/>
                  <a:gd name="adj2" fmla="val 11765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pic>
          <p:nvPicPr>
            <p:cNvPr id="20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984539" y="3848044"/>
              <a:ext cx="433044" cy="386119"/>
            </a:xfrm>
            <a:prstGeom prst="round2DiagRect">
              <a:avLst>
                <a:gd name="adj1" fmla="val 0"/>
                <a:gd name="adj2" fmla="val 11765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1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2466754" y="3848044"/>
              <a:ext cx="433044" cy="386119"/>
            </a:xfrm>
            <a:prstGeom prst="round2DiagRect">
              <a:avLst>
                <a:gd name="adj1" fmla="val 0"/>
                <a:gd name="adj2" fmla="val 11765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2" name="Picture 3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prstClr val="black"/>
                <a:srgbClr val="C0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2948970" y="3848044"/>
              <a:ext cx="433044" cy="386119"/>
            </a:xfrm>
            <a:prstGeom prst="round2DiagRect">
              <a:avLst>
                <a:gd name="adj1" fmla="val 0"/>
                <a:gd name="adj2" fmla="val 11765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431185" y="3848044"/>
              <a:ext cx="433044" cy="386119"/>
            </a:xfrm>
            <a:prstGeom prst="round2DiagRect">
              <a:avLst>
                <a:gd name="adj1" fmla="val 0"/>
                <a:gd name="adj2" fmla="val 11765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10" name="Group 9"/>
            <p:cNvGrpSpPr/>
            <p:nvPr/>
          </p:nvGrpSpPr>
          <p:grpSpPr>
            <a:xfrm>
              <a:off x="4226496" y="3009582"/>
              <a:ext cx="817457" cy="762633"/>
              <a:chOff x="3984638" y="1583425"/>
              <a:chExt cx="1134646" cy="1047122"/>
            </a:xfrm>
          </p:grpSpPr>
          <p:sp>
            <p:nvSpPr>
              <p:cNvPr id="12" name="Round Diagonal Corner Rectangle 11"/>
              <p:cNvSpPr/>
              <p:nvPr/>
            </p:nvSpPr>
            <p:spPr>
              <a:xfrm>
                <a:off x="3984638" y="1583425"/>
                <a:ext cx="1134646" cy="1047122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sp>
            <p:nvSpPr>
              <p:cNvPr id="13" name="Freeform 12"/>
              <p:cNvSpPr/>
              <p:nvPr/>
            </p:nvSpPr>
            <p:spPr>
              <a:xfrm>
                <a:off x="4108954" y="1693740"/>
                <a:ext cx="875235" cy="826492"/>
              </a:xfrm>
              <a:custGeom>
                <a:avLst/>
                <a:gdLst>
                  <a:gd name="connsiteX0" fmla="*/ 437712 w 875235"/>
                  <a:gd name="connsiteY0" fmla="*/ 753602 h 826492"/>
                  <a:gd name="connsiteX1" fmla="*/ 414852 w 875235"/>
                  <a:gd name="connsiteY1" fmla="*/ 776462 h 826492"/>
                  <a:gd name="connsiteX2" fmla="*/ 437712 w 875235"/>
                  <a:gd name="connsiteY2" fmla="*/ 799322 h 826492"/>
                  <a:gd name="connsiteX3" fmla="*/ 460572 w 875235"/>
                  <a:gd name="connsiteY3" fmla="*/ 776462 h 826492"/>
                  <a:gd name="connsiteX4" fmla="*/ 437712 w 875235"/>
                  <a:gd name="connsiteY4" fmla="*/ 753602 h 826492"/>
                  <a:gd name="connsiteX5" fmla="*/ 488486 w 875235"/>
                  <a:gd name="connsiteY5" fmla="*/ 726187 h 826492"/>
                  <a:gd name="connsiteX6" fmla="*/ 465626 w 875235"/>
                  <a:gd name="connsiteY6" fmla="*/ 749047 h 826492"/>
                  <a:gd name="connsiteX7" fmla="*/ 488486 w 875235"/>
                  <a:gd name="connsiteY7" fmla="*/ 771907 h 826492"/>
                  <a:gd name="connsiteX8" fmla="*/ 511346 w 875235"/>
                  <a:gd name="connsiteY8" fmla="*/ 749047 h 826492"/>
                  <a:gd name="connsiteX9" fmla="*/ 488486 w 875235"/>
                  <a:gd name="connsiteY9" fmla="*/ 726187 h 826492"/>
                  <a:gd name="connsiteX10" fmla="*/ 386938 w 875235"/>
                  <a:gd name="connsiteY10" fmla="*/ 726187 h 826492"/>
                  <a:gd name="connsiteX11" fmla="*/ 364078 w 875235"/>
                  <a:gd name="connsiteY11" fmla="*/ 749047 h 826492"/>
                  <a:gd name="connsiteX12" fmla="*/ 386938 w 875235"/>
                  <a:gd name="connsiteY12" fmla="*/ 771907 h 826492"/>
                  <a:gd name="connsiteX13" fmla="*/ 409798 w 875235"/>
                  <a:gd name="connsiteY13" fmla="*/ 749047 h 826492"/>
                  <a:gd name="connsiteX14" fmla="*/ 386938 w 875235"/>
                  <a:gd name="connsiteY14" fmla="*/ 726187 h 826492"/>
                  <a:gd name="connsiteX15" fmla="*/ 437712 w 875235"/>
                  <a:gd name="connsiteY15" fmla="*/ 696400 h 826492"/>
                  <a:gd name="connsiteX16" fmla="*/ 414852 w 875235"/>
                  <a:gd name="connsiteY16" fmla="*/ 719260 h 826492"/>
                  <a:gd name="connsiteX17" fmla="*/ 437712 w 875235"/>
                  <a:gd name="connsiteY17" fmla="*/ 742120 h 826492"/>
                  <a:gd name="connsiteX18" fmla="*/ 460572 w 875235"/>
                  <a:gd name="connsiteY18" fmla="*/ 719260 h 826492"/>
                  <a:gd name="connsiteX19" fmla="*/ 437712 w 875235"/>
                  <a:gd name="connsiteY19" fmla="*/ 696400 h 826492"/>
                  <a:gd name="connsiteX20" fmla="*/ 488486 w 875235"/>
                  <a:gd name="connsiteY20" fmla="*/ 665784 h 826492"/>
                  <a:gd name="connsiteX21" fmla="*/ 465626 w 875235"/>
                  <a:gd name="connsiteY21" fmla="*/ 688644 h 826492"/>
                  <a:gd name="connsiteX22" fmla="*/ 488486 w 875235"/>
                  <a:gd name="connsiteY22" fmla="*/ 711504 h 826492"/>
                  <a:gd name="connsiteX23" fmla="*/ 511346 w 875235"/>
                  <a:gd name="connsiteY23" fmla="*/ 688644 h 826492"/>
                  <a:gd name="connsiteX24" fmla="*/ 488486 w 875235"/>
                  <a:gd name="connsiteY24" fmla="*/ 665784 h 826492"/>
                  <a:gd name="connsiteX25" fmla="*/ 386938 w 875235"/>
                  <a:gd name="connsiteY25" fmla="*/ 665784 h 826492"/>
                  <a:gd name="connsiteX26" fmla="*/ 364078 w 875235"/>
                  <a:gd name="connsiteY26" fmla="*/ 688644 h 826492"/>
                  <a:gd name="connsiteX27" fmla="*/ 386938 w 875235"/>
                  <a:gd name="connsiteY27" fmla="*/ 711504 h 826492"/>
                  <a:gd name="connsiteX28" fmla="*/ 409798 w 875235"/>
                  <a:gd name="connsiteY28" fmla="*/ 688644 h 826492"/>
                  <a:gd name="connsiteX29" fmla="*/ 386938 w 875235"/>
                  <a:gd name="connsiteY29" fmla="*/ 665784 h 826492"/>
                  <a:gd name="connsiteX30" fmla="*/ 437712 w 875235"/>
                  <a:gd name="connsiteY30" fmla="*/ 639199 h 826492"/>
                  <a:gd name="connsiteX31" fmla="*/ 414852 w 875235"/>
                  <a:gd name="connsiteY31" fmla="*/ 662059 h 826492"/>
                  <a:gd name="connsiteX32" fmla="*/ 437712 w 875235"/>
                  <a:gd name="connsiteY32" fmla="*/ 684919 h 826492"/>
                  <a:gd name="connsiteX33" fmla="*/ 460572 w 875235"/>
                  <a:gd name="connsiteY33" fmla="*/ 662059 h 826492"/>
                  <a:gd name="connsiteX34" fmla="*/ 437712 w 875235"/>
                  <a:gd name="connsiteY34" fmla="*/ 639199 h 826492"/>
                  <a:gd name="connsiteX35" fmla="*/ 765165 w 875235"/>
                  <a:gd name="connsiteY35" fmla="*/ 449417 h 826492"/>
                  <a:gd name="connsiteX36" fmla="*/ 742305 w 875235"/>
                  <a:gd name="connsiteY36" fmla="*/ 472277 h 826492"/>
                  <a:gd name="connsiteX37" fmla="*/ 765165 w 875235"/>
                  <a:gd name="connsiteY37" fmla="*/ 495137 h 826492"/>
                  <a:gd name="connsiteX38" fmla="*/ 788025 w 875235"/>
                  <a:gd name="connsiteY38" fmla="*/ 472277 h 826492"/>
                  <a:gd name="connsiteX39" fmla="*/ 765165 w 875235"/>
                  <a:gd name="connsiteY39" fmla="*/ 449417 h 826492"/>
                  <a:gd name="connsiteX40" fmla="*/ 437712 w 875235"/>
                  <a:gd name="connsiteY40" fmla="*/ 449417 h 826492"/>
                  <a:gd name="connsiteX41" fmla="*/ 414852 w 875235"/>
                  <a:gd name="connsiteY41" fmla="*/ 472277 h 826492"/>
                  <a:gd name="connsiteX42" fmla="*/ 437712 w 875235"/>
                  <a:gd name="connsiteY42" fmla="*/ 495137 h 826492"/>
                  <a:gd name="connsiteX43" fmla="*/ 460572 w 875235"/>
                  <a:gd name="connsiteY43" fmla="*/ 472277 h 826492"/>
                  <a:gd name="connsiteX44" fmla="*/ 437712 w 875235"/>
                  <a:gd name="connsiteY44" fmla="*/ 449417 h 826492"/>
                  <a:gd name="connsiteX45" fmla="*/ 104693 w 875235"/>
                  <a:gd name="connsiteY45" fmla="*/ 449417 h 826492"/>
                  <a:gd name="connsiteX46" fmla="*/ 81833 w 875235"/>
                  <a:gd name="connsiteY46" fmla="*/ 472277 h 826492"/>
                  <a:gd name="connsiteX47" fmla="*/ 104693 w 875235"/>
                  <a:gd name="connsiteY47" fmla="*/ 495137 h 826492"/>
                  <a:gd name="connsiteX48" fmla="*/ 127553 w 875235"/>
                  <a:gd name="connsiteY48" fmla="*/ 472277 h 826492"/>
                  <a:gd name="connsiteX49" fmla="*/ 104693 w 875235"/>
                  <a:gd name="connsiteY49" fmla="*/ 449417 h 826492"/>
                  <a:gd name="connsiteX50" fmla="*/ 815266 w 875235"/>
                  <a:gd name="connsiteY50" fmla="*/ 425491 h 826492"/>
                  <a:gd name="connsiteX51" fmla="*/ 792406 w 875235"/>
                  <a:gd name="connsiteY51" fmla="*/ 448351 h 826492"/>
                  <a:gd name="connsiteX52" fmla="*/ 815266 w 875235"/>
                  <a:gd name="connsiteY52" fmla="*/ 471211 h 826492"/>
                  <a:gd name="connsiteX53" fmla="*/ 838126 w 875235"/>
                  <a:gd name="connsiteY53" fmla="*/ 448351 h 826492"/>
                  <a:gd name="connsiteX54" fmla="*/ 815266 w 875235"/>
                  <a:gd name="connsiteY54" fmla="*/ 425491 h 826492"/>
                  <a:gd name="connsiteX55" fmla="*/ 713718 w 875235"/>
                  <a:gd name="connsiteY55" fmla="*/ 425491 h 826492"/>
                  <a:gd name="connsiteX56" fmla="*/ 690858 w 875235"/>
                  <a:gd name="connsiteY56" fmla="*/ 448351 h 826492"/>
                  <a:gd name="connsiteX57" fmla="*/ 713718 w 875235"/>
                  <a:gd name="connsiteY57" fmla="*/ 471211 h 826492"/>
                  <a:gd name="connsiteX58" fmla="*/ 736578 w 875235"/>
                  <a:gd name="connsiteY58" fmla="*/ 448351 h 826492"/>
                  <a:gd name="connsiteX59" fmla="*/ 713718 w 875235"/>
                  <a:gd name="connsiteY59" fmla="*/ 425491 h 826492"/>
                  <a:gd name="connsiteX60" fmla="*/ 488486 w 875235"/>
                  <a:gd name="connsiteY60" fmla="*/ 425491 h 826492"/>
                  <a:gd name="connsiteX61" fmla="*/ 465626 w 875235"/>
                  <a:gd name="connsiteY61" fmla="*/ 448351 h 826492"/>
                  <a:gd name="connsiteX62" fmla="*/ 488486 w 875235"/>
                  <a:gd name="connsiteY62" fmla="*/ 471211 h 826492"/>
                  <a:gd name="connsiteX63" fmla="*/ 511346 w 875235"/>
                  <a:gd name="connsiteY63" fmla="*/ 448351 h 826492"/>
                  <a:gd name="connsiteX64" fmla="*/ 488486 w 875235"/>
                  <a:gd name="connsiteY64" fmla="*/ 425491 h 826492"/>
                  <a:gd name="connsiteX65" fmla="*/ 386938 w 875235"/>
                  <a:gd name="connsiteY65" fmla="*/ 425491 h 826492"/>
                  <a:gd name="connsiteX66" fmla="*/ 364078 w 875235"/>
                  <a:gd name="connsiteY66" fmla="*/ 448351 h 826492"/>
                  <a:gd name="connsiteX67" fmla="*/ 386938 w 875235"/>
                  <a:gd name="connsiteY67" fmla="*/ 471211 h 826492"/>
                  <a:gd name="connsiteX68" fmla="*/ 409798 w 875235"/>
                  <a:gd name="connsiteY68" fmla="*/ 448351 h 826492"/>
                  <a:gd name="connsiteX69" fmla="*/ 386938 w 875235"/>
                  <a:gd name="connsiteY69" fmla="*/ 425491 h 826492"/>
                  <a:gd name="connsiteX70" fmla="*/ 160771 w 875235"/>
                  <a:gd name="connsiteY70" fmla="*/ 425491 h 826492"/>
                  <a:gd name="connsiteX71" fmla="*/ 137911 w 875235"/>
                  <a:gd name="connsiteY71" fmla="*/ 448351 h 826492"/>
                  <a:gd name="connsiteX72" fmla="*/ 160771 w 875235"/>
                  <a:gd name="connsiteY72" fmla="*/ 471211 h 826492"/>
                  <a:gd name="connsiteX73" fmla="*/ 183631 w 875235"/>
                  <a:gd name="connsiteY73" fmla="*/ 448351 h 826492"/>
                  <a:gd name="connsiteX74" fmla="*/ 160771 w 875235"/>
                  <a:gd name="connsiteY74" fmla="*/ 425491 h 826492"/>
                  <a:gd name="connsiteX75" fmla="*/ 59223 w 875235"/>
                  <a:gd name="connsiteY75" fmla="*/ 425491 h 826492"/>
                  <a:gd name="connsiteX76" fmla="*/ 36363 w 875235"/>
                  <a:gd name="connsiteY76" fmla="*/ 448351 h 826492"/>
                  <a:gd name="connsiteX77" fmla="*/ 59223 w 875235"/>
                  <a:gd name="connsiteY77" fmla="*/ 471211 h 826492"/>
                  <a:gd name="connsiteX78" fmla="*/ 82083 w 875235"/>
                  <a:gd name="connsiteY78" fmla="*/ 448351 h 826492"/>
                  <a:gd name="connsiteX79" fmla="*/ 59223 w 875235"/>
                  <a:gd name="connsiteY79" fmla="*/ 425491 h 826492"/>
                  <a:gd name="connsiteX80" fmla="*/ 763819 w 875235"/>
                  <a:gd name="connsiteY80" fmla="*/ 393660 h 826492"/>
                  <a:gd name="connsiteX81" fmla="*/ 740959 w 875235"/>
                  <a:gd name="connsiteY81" fmla="*/ 416520 h 826492"/>
                  <a:gd name="connsiteX82" fmla="*/ 763819 w 875235"/>
                  <a:gd name="connsiteY82" fmla="*/ 439380 h 826492"/>
                  <a:gd name="connsiteX83" fmla="*/ 786679 w 875235"/>
                  <a:gd name="connsiteY83" fmla="*/ 416520 h 826492"/>
                  <a:gd name="connsiteX84" fmla="*/ 763819 w 875235"/>
                  <a:gd name="connsiteY84" fmla="*/ 393660 h 826492"/>
                  <a:gd name="connsiteX85" fmla="*/ 437712 w 875235"/>
                  <a:gd name="connsiteY85" fmla="*/ 393660 h 826492"/>
                  <a:gd name="connsiteX86" fmla="*/ 414852 w 875235"/>
                  <a:gd name="connsiteY86" fmla="*/ 416520 h 826492"/>
                  <a:gd name="connsiteX87" fmla="*/ 437712 w 875235"/>
                  <a:gd name="connsiteY87" fmla="*/ 439380 h 826492"/>
                  <a:gd name="connsiteX88" fmla="*/ 460572 w 875235"/>
                  <a:gd name="connsiteY88" fmla="*/ 416520 h 826492"/>
                  <a:gd name="connsiteX89" fmla="*/ 437712 w 875235"/>
                  <a:gd name="connsiteY89" fmla="*/ 393660 h 826492"/>
                  <a:gd name="connsiteX90" fmla="*/ 104266 w 875235"/>
                  <a:gd name="connsiteY90" fmla="*/ 393660 h 826492"/>
                  <a:gd name="connsiteX91" fmla="*/ 81406 w 875235"/>
                  <a:gd name="connsiteY91" fmla="*/ 416520 h 826492"/>
                  <a:gd name="connsiteX92" fmla="*/ 104266 w 875235"/>
                  <a:gd name="connsiteY92" fmla="*/ 439380 h 826492"/>
                  <a:gd name="connsiteX93" fmla="*/ 127126 w 875235"/>
                  <a:gd name="connsiteY93" fmla="*/ 416520 h 826492"/>
                  <a:gd name="connsiteX94" fmla="*/ 104266 w 875235"/>
                  <a:gd name="connsiteY94" fmla="*/ 393660 h 826492"/>
                  <a:gd name="connsiteX95" fmla="*/ 815266 w 875235"/>
                  <a:gd name="connsiteY95" fmla="*/ 365088 h 826492"/>
                  <a:gd name="connsiteX96" fmla="*/ 792406 w 875235"/>
                  <a:gd name="connsiteY96" fmla="*/ 387948 h 826492"/>
                  <a:gd name="connsiteX97" fmla="*/ 815266 w 875235"/>
                  <a:gd name="connsiteY97" fmla="*/ 410808 h 826492"/>
                  <a:gd name="connsiteX98" fmla="*/ 838126 w 875235"/>
                  <a:gd name="connsiteY98" fmla="*/ 387948 h 826492"/>
                  <a:gd name="connsiteX99" fmla="*/ 815266 w 875235"/>
                  <a:gd name="connsiteY99" fmla="*/ 365088 h 826492"/>
                  <a:gd name="connsiteX100" fmla="*/ 713718 w 875235"/>
                  <a:gd name="connsiteY100" fmla="*/ 365088 h 826492"/>
                  <a:gd name="connsiteX101" fmla="*/ 690858 w 875235"/>
                  <a:gd name="connsiteY101" fmla="*/ 387948 h 826492"/>
                  <a:gd name="connsiteX102" fmla="*/ 713718 w 875235"/>
                  <a:gd name="connsiteY102" fmla="*/ 410808 h 826492"/>
                  <a:gd name="connsiteX103" fmla="*/ 736578 w 875235"/>
                  <a:gd name="connsiteY103" fmla="*/ 387948 h 826492"/>
                  <a:gd name="connsiteX104" fmla="*/ 713718 w 875235"/>
                  <a:gd name="connsiteY104" fmla="*/ 365088 h 826492"/>
                  <a:gd name="connsiteX105" fmla="*/ 488486 w 875235"/>
                  <a:gd name="connsiteY105" fmla="*/ 365088 h 826492"/>
                  <a:gd name="connsiteX106" fmla="*/ 465626 w 875235"/>
                  <a:gd name="connsiteY106" fmla="*/ 387948 h 826492"/>
                  <a:gd name="connsiteX107" fmla="*/ 488486 w 875235"/>
                  <a:gd name="connsiteY107" fmla="*/ 410808 h 826492"/>
                  <a:gd name="connsiteX108" fmla="*/ 511346 w 875235"/>
                  <a:gd name="connsiteY108" fmla="*/ 387948 h 826492"/>
                  <a:gd name="connsiteX109" fmla="*/ 488486 w 875235"/>
                  <a:gd name="connsiteY109" fmla="*/ 365088 h 826492"/>
                  <a:gd name="connsiteX110" fmla="*/ 386938 w 875235"/>
                  <a:gd name="connsiteY110" fmla="*/ 365088 h 826492"/>
                  <a:gd name="connsiteX111" fmla="*/ 364078 w 875235"/>
                  <a:gd name="connsiteY111" fmla="*/ 387948 h 826492"/>
                  <a:gd name="connsiteX112" fmla="*/ 386938 w 875235"/>
                  <a:gd name="connsiteY112" fmla="*/ 410808 h 826492"/>
                  <a:gd name="connsiteX113" fmla="*/ 409798 w 875235"/>
                  <a:gd name="connsiteY113" fmla="*/ 387948 h 826492"/>
                  <a:gd name="connsiteX114" fmla="*/ 386938 w 875235"/>
                  <a:gd name="connsiteY114" fmla="*/ 365088 h 826492"/>
                  <a:gd name="connsiteX115" fmla="*/ 160771 w 875235"/>
                  <a:gd name="connsiteY115" fmla="*/ 365088 h 826492"/>
                  <a:gd name="connsiteX116" fmla="*/ 137911 w 875235"/>
                  <a:gd name="connsiteY116" fmla="*/ 387948 h 826492"/>
                  <a:gd name="connsiteX117" fmla="*/ 160771 w 875235"/>
                  <a:gd name="connsiteY117" fmla="*/ 410808 h 826492"/>
                  <a:gd name="connsiteX118" fmla="*/ 183631 w 875235"/>
                  <a:gd name="connsiteY118" fmla="*/ 387948 h 826492"/>
                  <a:gd name="connsiteX119" fmla="*/ 160771 w 875235"/>
                  <a:gd name="connsiteY119" fmla="*/ 365088 h 826492"/>
                  <a:gd name="connsiteX120" fmla="*/ 59223 w 875235"/>
                  <a:gd name="connsiteY120" fmla="*/ 365088 h 826492"/>
                  <a:gd name="connsiteX121" fmla="*/ 36363 w 875235"/>
                  <a:gd name="connsiteY121" fmla="*/ 387948 h 826492"/>
                  <a:gd name="connsiteX122" fmla="*/ 59223 w 875235"/>
                  <a:gd name="connsiteY122" fmla="*/ 410808 h 826492"/>
                  <a:gd name="connsiteX123" fmla="*/ 82083 w 875235"/>
                  <a:gd name="connsiteY123" fmla="*/ 387948 h 826492"/>
                  <a:gd name="connsiteX124" fmla="*/ 59223 w 875235"/>
                  <a:gd name="connsiteY124" fmla="*/ 365088 h 826492"/>
                  <a:gd name="connsiteX125" fmla="*/ 765165 w 875235"/>
                  <a:gd name="connsiteY125" fmla="*/ 335014 h 826492"/>
                  <a:gd name="connsiteX126" fmla="*/ 742305 w 875235"/>
                  <a:gd name="connsiteY126" fmla="*/ 357874 h 826492"/>
                  <a:gd name="connsiteX127" fmla="*/ 765165 w 875235"/>
                  <a:gd name="connsiteY127" fmla="*/ 380734 h 826492"/>
                  <a:gd name="connsiteX128" fmla="*/ 788025 w 875235"/>
                  <a:gd name="connsiteY128" fmla="*/ 357874 h 826492"/>
                  <a:gd name="connsiteX129" fmla="*/ 765165 w 875235"/>
                  <a:gd name="connsiteY129" fmla="*/ 335014 h 826492"/>
                  <a:gd name="connsiteX130" fmla="*/ 437712 w 875235"/>
                  <a:gd name="connsiteY130" fmla="*/ 335014 h 826492"/>
                  <a:gd name="connsiteX131" fmla="*/ 414852 w 875235"/>
                  <a:gd name="connsiteY131" fmla="*/ 357874 h 826492"/>
                  <a:gd name="connsiteX132" fmla="*/ 437712 w 875235"/>
                  <a:gd name="connsiteY132" fmla="*/ 380734 h 826492"/>
                  <a:gd name="connsiteX133" fmla="*/ 460572 w 875235"/>
                  <a:gd name="connsiteY133" fmla="*/ 357874 h 826492"/>
                  <a:gd name="connsiteX134" fmla="*/ 437712 w 875235"/>
                  <a:gd name="connsiteY134" fmla="*/ 335014 h 826492"/>
                  <a:gd name="connsiteX135" fmla="*/ 104693 w 875235"/>
                  <a:gd name="connsiteY135" fmla="*/ 335014 h 826492"/>
                  <a:gd name="connsiteX136" fmla="*/ 81833 w 875235"/>
                  <a:gd name="connsiteY136" fmla="*/ 357874 h 826492"/>
                  <a:gd name="connsiteX137" fmla="*/ 104693 w 875235"/>
                  <a:gd name="connsiteY137" fmla="*/ 380734 h 826492"/>
                  <a:gd name="connsiteX138" fmla="*/ 127553 w 875235"/>
                  <a:gd name="connsiteY138" fmla="*/ 357874 h 826492"/>
                  <a:gd name="connsiteX139" fmla="*/ 104693 w 875235"/>
                  <a:gd name="connsiteY139" fmla="*/ 335014 h 826492"/>
                  <a:gd name="connsiteX140" fmla="*/ 437712 w 875235"/>
                  <a:gd name="connsiteY140" fmla="*/ 138633 h 826492"/>
                  <a:gd name="connsiteX141" fmla="*/ 414852 w 875235"/>
                  <a:gd name="connsiteY141" fmla="*/ 161493 h 826492"/>
                  <a:gd name="connsiteX142" fmla="*/ 437712 w 875235"/>
                  <a:gd name="connsiteY142" fmla="*/ 184353 h 826492"/>
                  <a:gd name="connsiteX143" fmla="*/ 460572 w 875235"/>
                  <a:gd name="connsiteY143" fmla="*/ 161493 h 826492"/>
                  <a:gd name="connsiteX144" fmla="*/ 437712 w 875235"/>
                  <a:gd name="connsiteY144" fmla="*/ 138633 h 826492"/>
                  <a:gd name="connsiteX145" fmla="*/ 488486 w 875235"/>
                  <a:gd name="connsiteY145" fmla="*/ 113932 h 826492"/>
                  <a:gd name="connsiteX146" fmla="*/ 465626 w 875235"/>
                  <a:gd name="connsiteY146" fmla="*/ 136792 h 826492"/>
                  <a:gd name="connsiteX147" fmla="*/ 488486 w 875235"/>
                  <a:gd name="connsiteY147" fmla="*/ 159652 h 826492"/>
                  <a:gd name="connsiteX148" fmla="*/ 511346 w 875235"/>
                  <a:gd name="connsiteY148" fmla="*/ 136792 h 826492"/>
                  <a:gd name="connsiteX149" fmla="*/ 488486 w 875235"/>
                  <a:gd name="connsiteY149" fmla="*/ 113932 h 826492"/>
                  <a:gd name="connsiteX150" fmla="*/ 386938 w 875235"/>
                  <a:gd name="connsiteY150" fmla="*/ 113932 h 826492"/>
                  <a:gd name="connsiteX151" fmla="*/ 364078 w 875235"/>
                  <a:gd name="connsiteY151" fmla="*/ 136792 h 826492"/>
                  <a:gd name="connsiteX152" fmla="*/ 386938 w 875235"/>
                  <a:gd name="connsiteY152" fmla="*/ 159652 h 826492"/>
                  <a:gd name="connsiteX153" fmla="*/ 409798 w 875235"/>
                  <a:gd name="connsiteY153" fmla="*/ 136792 h 826492"/>
                  <a:gd name="connsiteX154" fmla="*/ 386938 w 875235"/>
                  <a:gd name="connsiteY154" fmla="*/ 113932 h 826492"/>
                  <a:gd name="connsiteX155" fmla="*/ 437712 w 875235"/>
                  <a:gd name="connsiteY155" fmla="*/ 81407 h 826492"/>
                  <a:gd name="connsiteX156" fmla="*/ 414852 w 875235"/>
                  <a:gd name="connsiteY156" fmla="*/ 104267 h 826492"/>
                  <a:gd name="connsiteX157" fmla="*/ 437712 w 875235"/>
                  <a:gd name="connsiteY157" fmla="*/ 127127 h 826492"/>
                  <a:gd name="connsiteX158" fmla="*/ 460572 w 875235"/>
                  <a:gd name="connsiteY158" fmla="*/ 104267 h 826492"/>
                  <a:gd name="connsiteX159" fmla="*/ 437712 w 875235"/>
                  <a:gd name="connsiteY159" fmla="*/ 81407 h 826492"/>
                  <a:gd name="connsiteX160" fmla="*/ 488486 w 875235"/>
                  <a:gd name="connsiteY160" fmla="*/ 53529 h 826492"/>
                  <a:gd name="connsiteX161" fmla="*/ 465626 w 875235"/>
                  <a:gd name="connsiteY161" fmla="*/ 76389 h 826492"/>
                  <a:gd name="connsiteX162" fmla="*/ 488486 w 875235"/>
                  <a:gd name="connsiteY162" fmla="*/ 99249 h 826492"/>
                  <a:gd name="connsiteX163" fmla="*/ 511346 w 875235"/>
                  <a:gd name="connsiteY163" fmla="*/ 76389 h 826492"/>
                  <a:gd name="connsiteX164" fmla="*/ 488486 w 875235"/>
                  <a:gd name="connsiteY164" fmla="*/ 53529 h 826492"/>
                  <a:gd name="connsiteX165" fmla="*/ 386938 w 875235"/>
                  <a:gd name="connsiteY165" fmla="*/ 53529 h 826492"/>
                  <a:gd name="connsiteX166" fmla="*/ 364078 w 875235"/>
                  <a:gd name="connsiteY166" fmla="*/ 76389 h 826492"/>
                  <a:gd name="connsiteX167" fmla="*/ 386938 w 875235"/>
                  <a:gd name="connsiteY167" fmla="*/ 99249 h 826492"/>
                  <a:gd name="connsiteX168" fmla="*/ 409798 w 875235"/>
                  <a:gd name="connsiteY168" fmla="*/ 76389 h 826492"/>
                  <a:gd name="connsiteX169" fmla="*/ 386938 w 875235"/>
                  <a:gd name="connsiteY169" fmla="*/ 53529 h 826492"/>
                  <a:gd name="connsiteX170" fmla="*/ 437712 w 875235"/>
                  <a:gd name="connsiteY170" fmla="*/ 24230 h 826492"/>
                  <a:gd name="connsiteX171" fmla="*/ 414852 w 875235"/>
                  <a:gd name="connsiteY171" fmla="*/ 47090 h 826492"/>
                  <a:gd name="connsiteX172" fmla="*/ 437712 w 875235"/>
                  <a:gd name="connsiteY172" fmla="*/ 69950 h 826492"/>
                  <a:gd name="connsiteX173" fmla="*/ 460572 w 875235"/>
                  <a:gd name="connsiteY173" fmla="*/ 47090 h 826492"/>
                  <a:gd name="connsiteX174" fmla="*/ 437712 w 875235"/>
                  <a:gd name="connsiteY174" fmla="*/ 24230 h 826492"/>
                  <a:gd name="connsiteX175" fmla="*/ 437617 w 875235"/>
                  <a:gd name="connsiteY175" fmla="*/ 0 h 826492"/>
                  <a:gd name="connsiteX176" fmla="*/ 545922 w 875235"/>
                  <a:gd name="connsiteY176" fmla="*/ 108305 h 826492"/>
                  <a:gd name="connsiteX177" fmla="*/ 479774 w 875235"/>
                  <a:gd name="connsiteY177" fmla="*/ 208099 h 826492"/>
                  <a:gd name="connsiteX178" fmla="*/ 477170 w 875235"/>
                  <a:gd name="connsiteY178" fmla="*/ 208624 h 826492"/>
                  <a:gd name="connsiteX179" fmla="*/ 477170 w 875235"/>
                  <a:gd name="connsiteY179" fmla="*/ 312925 h 826492"/>
                  <a:gd name="connsiteX180" fmla="*/ 479774 w 875235"/>
                  <a:gd name="connsiteY180" fmla="*/ 313451 h 826492"/>
                  <a:gd name="connsiteX181" fmla="*/ 537411 w 875235"/>
                  <a:gd name="connsiteY181" fmla="*/ 371087 h 826492"/>
                  <a:gd name="connsiteX182" fmla="*/ 537655 w 875235"/>
                  <a:gd name="connsiteY182" fmla="*/ 372297 h 826492"/>
                  <a:gd name="connsiteX183" fmla="*/ 666891 w 875235"/>
                  <a:gd name="connsiteY183" fmla="*/ 372297 h 826492"/>
                  <a:gd name="connsiteX184" fmla="*/ 667135 w 875235"/>
                  <a:gd name="connsiteY184" fmla="*/ 371088 h 826492"/>
                  <a:gd name="connsiteX185" fmla="*/ 766930 w 875235"/>
                  <a:gd name="connsiteY185" fmla="*/ 304940 h 826492"/>
                  <a:gd name="connsiteX186" fmla="*/ 875235 w 875235"/>
                  <a:gd name="connsiteY186" fmla="*/ 413246 h 826492"/>
                  <a:gd name="connsiteX187" fmla="*/ 766930 w 875235"/>
                  <a:gd name="connsiteY187" fmla="*/ 521551 h 826492"/>
                  <a:gd name="connsiteX188" fmla="*/ 667135 w 875235"/>
                  <a:gd name="connsiteY188" fmla="*/ 455403 h 826492"/>
                  <a:gd name="connsiteX189" fmla="*/ 666328 w 875235"/>
                  <a:gd name="connsiteY189" fmla="*/ 451404 h 826492"/>
                  <a:gd name="connsiteX190" fmla="*/ 538218 w 875235"/>
                  <a:gd name="connsiteY190" fmla="*/ 451404 h 826492"/>
                  <a:gd name="connsiteX191" fmla="*/ 537411 w 875235"/>
                  <a:gd name="connsiteY191" fmla="*/ 455402 h 826492"/>
                  <a:gd name="connsiteX192" fmla="*/ 479774 w 875235"/>
                  <a:gd name="connsiteY192" fmla="*/ 513039 h 826492"/>
                  <a:gd name="connsiteX193" fmla="*/ 477170 w 875235"/>
                  <a:gd name="connsiteY193" fmla="*/ 513565 h 826492"/>
                  <a:gd name="connsiteX194" fmla="*/ 477170 w 875235"/>
                  <a:gd name="connsiteY194" fmla="*/ 617868 h 826492"/>
                  <a:gd name="connsiteX195" fmla="*/ 479774 w 875235"/>
                  <a:gd name="connsiteY195" fmla="*/ 618393 h 826492"/>
                  <a:gd name="connsiteX196" fmla="*/ 545922 w 875235"/>
                  <a:gd name="connsiteY196" fmla="*/ 718187 h 826492"/>
                  <a:gd name="connsiteX197" fmla="*/ 437617 w 875235"/>
                  <a:gd name="connsiteY197" fmla="*/ 826492 h 826492"/>
                  <a:gd name="connsiteX198" fmla="*/ 329312 w 875235"/>
                  <a:gd name="connsiteY198" fmla="*/ 718187 h 826492"/>
                  <a:gd name="connsiteX199" fmla="*/ 395460 w 875235"/>
                  <a:gd name="connsiteY199" fmla="*/ 618393 h 826492"/>
                  <a:gd name="connsiteX200" fmla="*/ 398064 w 875235"/>
                  <a:gd name="connsiteY200" fmla="*/ 617868 h 826492"/>
                  <a:gd name="connsiteX201" fmla="*/ 398064 w 875235"/>
                  <a:gd name="connsiteY201" fmla="*/ 513565 h 826492"/>
                  <a:gd name="connsiteX202" fmla="*/ 395460 w 875235"/>
                  <a:gd name="connsiteY202" fmla="*/ 513039 h 826492"/>
                  <a:gd name="connsiteX203" fmla="*/ 337823 w 875235"/>
                  <a:gd name="connsiteY203" fmla="*/ 455402 h 826492"/>
                  <a:gd name="connsiteX204" fmla="*/ 337016 w 875235"/>
                  <a:gd name="connsiteY204" fmla="*/ 451404 h 826492"/>
                  <a:gd name="connsiteX205" fmla="*/ 208906 w 875235"/>
                  <a:gd name="connsiteY205" fmla="*/ 451404 h 826492"/>
                  <a:gd name="connsiteX206" fmla="*/ 208099 w 875235"/>
                  <a:gd name="connsiteY206" fmla="*/ 455403 h 826492"/>
                  <a:gd name="connsiteX207" fmla="*/ 108305 w 875235"/>
                  <a:gd name="connsiteY207" fmla="*/ 521551 h 826492"/>
                  <a:gd name="connsiteX208" fmla="*/ 0 w 875235"/>
                  <a:gd name="connsiteY208" fmla="*/ 413246 h 826492"/>
                  <a:gd name="connsiteX209" fmla="*/ 108305 w 875235"/>
                  <a:gd name="connsiteY209" fmla="*/ 304940 h 826492"/>
                  <a:gd name="connsiteX210" fmla="*/ 208099 w 875235"/>
                  <a:gd name="connsiteY210" fmla="*/ 371088 h 826492"/>
                  <a:gd name="connsiteX211" fmla="*/ 208343 w 875235"/>
                  <a:gd name="connsiteY211" fmla="*/ 372297 h 826492"/>
                  <a:gd name="connsiteX212" fmla="*/ 337579 w 875235"/>
                  <a:gd name="connsiteY212" fmla="*/ 372297 h 826492"/>
                  <a:gd name="connsiteX213" fmla="*/ 337823 w 875235"/>
                  <a:gd name="connsiteY213" fmla="*/ 371087 h 826492"/>
                  <a:gd name="connsiteX214" fmla="*/ 395460 w 875235"/>
                  <a:gd name="connsiteY214" fmla="*/ 313451 h 826492"/>
                  <a:gd name="connsiteX215" fmla="*/ 398064 w 875235"/>
                  <a:gd name="connsiteY215" fmla="*/ 312925 h 826492"/>
                  <a:gd name="connsiteX216" fmla="*/ 398064 w 875235"/>
                  <a:gd name="connsiteY216" fmla="*/ 208624 h 826492"/>
                  <a:gd name="connsiteX217" fmla="*/ 395460 w 875235"/>
                  <a:gd name="connsiteY217" fmla="*/ 208099 h 826492"/>
                  <a:gd name="connsiteX218" fmla="*/ 329312 w 875235"/>
                  <a:gd name="connsiteY218" fmla="*/ 108305 h 826492"/>
                  <a:gd name="connsiteX219" fmla="*/ 437617 w 875235"/>
                  <a:gd name="connsiteY219" fmla="*/ 0 h 826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875235" h="826492">
                    <a:moveTo>
                      <a:pt x="437712" y="753602"/>
                    </a:moveTo>
                    <a:cubicBezTo>
                      <a:pt x="425087" y="753602"/>
                      <a:pt x="414852" y="763837"/>
                      <a:pt x="414852" y="776462"/>
                    </a:cubicBezTo>
                    <a:cubicBezTo>
                      <a:pt x="414852" y="789087"/>
                      <a:pt x="425087" y="799322"/>
                      <a:pt x="437712" y="799322"/>
                    </a:cubicBezTo>
                    <a:cubicBezTo>
                      <a:pt x="450337" y="799322"/>
                      <a:pt x="460572" y="789087"/>
                      <a:pt x="460572" y="776462"/>
                    </a:cubicBezTo>
                    <a:cubicBezTo>
                      <a:pt x="460572" y="763837"/>
                      <a:pt x="450337" y="753602"/>
                      <a:pt x="437712" y="753602"/>
                    </a:cubicBezTo>
                    <a:close/>
                    <a:moveTo>
                      <a:pt x="488486" y="726187"/>
                    </a:moveTo>
                    <a:cubicBezTo>
                      <a:pt x="475861" y="726187"/>
                      <a:pt x="465626" y="736422"/>
                      <a:pt x="465626" y="749047"/>
                    </a:cubicBezTo>
                    <a:cubicBezTo>
                      <a:pt x="465626" y="761672"/>
                      <a:pt x="475861" y="771907"/>
                      <a:pt x="488486" y="771907"/>
                    </a:cubicBezTo>
                    <a:cubicBezTo>
                      <a:pt x="501111" y="771907"/>
                      <a:pt x="511346" y="761672"/>
                      <a:pt x="511346" y="749047"/>
                    </a:cubicBezTo>
                    <a:cubicBezTo>
                      <a:pt x="511346" y="736422"/>
                      <a:pt x="501111" y="726187"/>
                      <a:pt x="488486" y="726187"/>
                    </a:cubicBezTo>
                    <a:close/>
                    <a:moveTo>
                      <a:pt x="386938" y="726187"/>
                    </a:moveTo>
                    <a:cubicBezTo>
                      <a:pt x="374313" y="726187"/>
                      <a:pt x="364078" y="736422"/>
                      <a:pt x="364078" y="749047"/>
                    </a:cubicBezTo>
                    <a:cubicBezTo>
                      <a:pt x="364078" y="761672"/>
                      <a:pt x="374313" y="771907"/>
                      <a:pt x="386938" y="771907"/>
                    </a:cubicBezTo>
                    <a:cubicBezTo>
                      <a:pt x="399563" y="771907"/>
                      <a:pt x="409798" y="761672"/>
                      <a:pt x="409798" y="749047"/>
                    </a:cubicBezTo>
                    <a:cubicBezTo>
                      <a:pt x="409798" y="736422"/>
                      <a:pt x="399563" y="726187"/>
                      <a:pt x="386938" y="726187"/>
                    </a:cubicBezTo>
                    <a:close/>
                    <a:moveTo>
                      <a:pt x="437712" y="696400"/>
                    </a:moveTo>
                    <a:cubicBezTo>
                      <a:pt x="425087" y="696400"/>
                      <a:pt x="414852" y="706635"/>
                      <a:pt x="414852" y="719260"/>
                    </a:cubicBezTo>
                    <a:cubicBezTo>
                      <a:pt x="414852" y="731885"/>
                      <a:pt x="425087" y="742120"/>
                      <a:pt x="437712" y="742120"/>
                    </a:cubicBezTo>
                    <a:cubicBezTo>
                      <a:pt x="450337" y="742120"/>
                      <a:pt x="460572" y="731885"/>
                      <a:pt x="460572" y="719260"/>
                    </a:cubicBezTo>
                    <a:cubicBezTo>
                      <a:pt x="460572" y="706635"/>
                      <a:pt x="450337" y="696400"/>
                      <a:pt x="437712" y="696400"/>
                    </a:cubicBezTo>
                    <a:close/>
                    <a:moveTo>
                      <a:pt x="488486" y="665784"/>
                    </a:moveTo>
                    <a:cubicBezTo>
                      <a:pt x="475861" y="665784"/>
                      <a:pt x="465626" y="676019"/>
                      <a:pt x="465626" y="688644"/>
                    </a:cubicBezTo>
                    <a:cubicBezTo>
                      <a:pt x="465626" y="701269"/>
                      <a:pt x="475861" y="711504"/>
                      <a:pt x="488486" y="711504"/>
                    </a:cubicBezTo>
                    <a:cubicBezTo>
                      <a:pt x="501111" y="711504"/>
                      <a:pt x="511346" y="701269"/>
                      <a:pt x="511346" y="688644"/>
                    </a:cubicBezTo>
                    <a:cubicBezTo>
                      <a:pt x="511346" y="676019"/>
                      <a:pt x="501111" y="665784"/>
                      <a:pt x="488486" y="665784"/>
                    </a:cubicBezTo>
                    <a:close/>
                    <a:moveTo>
                      <a:pt x="386938" y="665784"/>
                    </a:moveTo>
                    <a:cubicBezTo>
                      <a:pt x="374313" y="665784"/>
                      <a:pt x="364078" y="676019"/>
                      <a:pt x="364078" y="688644"/>
                    </a:cubicBezTo>
                    <a:cubicBezTo>
                      <a:pt x="364078" y="701269"/>
                      <a:pt x="374313" y="711504"/>
                      <a:pt x="386938" y="711504"/>
                    </a:cubicBezTo>
                    <a:cubicBezTo>
                      <a:pt x="399563" y="711504"/>
                      <a:pt x="409798" y="701269"/>
                      <a:pt x="409798" y="688644"/>
                    </a:cubicBezTo>
                    <a:cubicBezTo>
                      <a:pt x="409798" y="676019"/>
                      <a:pt x="399563" y="665784"/>
                      <a:pt x="386938" y="665784"/>
                    </a:cubicBezTo>
                    <a:close/>
                    <a:moveTo>
                      <a:pt x="437712" y="639199"/>
                    </a:moveTo>
                    <a:cubicBezTo>
                      <a:pt x="425087" y="639199"/>
                      <a:pt x="414852" y="649434"/>
                      <a:pt x="414852" y="662059"/>
                    </a:cubicBezTo>
                    <a:cubicBezTo>
                      <a:pt x="414852" y="674684"/>
                      <a:pt x="425087" y="684919"/>
                      <a:pt x="437712" y="684919"/>
                    </a:cubicBezTo>
                    <a:cubicBezTo>
                      <a:pt x="450337" y="684919"/>
                      <a:pt x="460572" y="674684"/>
                      <a:pt x="460572" y="662059"/>
                    </a:cubicBezTo>
                    <a:cubicBezTo>
                      <a:pt x="460572" y="649434"/>
                      <a:pt x="450337" y="639199"/>
                      <a:pt x="437712" y="639199"/>
                    </a:cubicBezTo>
                    <a:close/>
                    <a:moveTo>
                      <a:pt x="765165" y="449417"/>
                    </a:moveTo>
                    <a:cubicBezTo>
                      <a:pt x="752540" y="449417"/>
                      <a:pt x="742305" y="459652"/>
                      <a:pt x="742305" y="472277"/>
                    </a:cubicBezTo>
                    <a:cubicBezTo>
                      <a:pt x="742305" y="484902"/>
                      <a:pt x="752540" y="495137"/>
                      <a:pt x="765165" y="495137"/>
                    </a:cubicBezTo>
                    <a:cubicBezTo>
                      <a:pt x="777790" y="495137"/>
                      <a:pt x="788025" y="484902"/>
                      <a:pt x="788025" y="472277"/>
                    </a:cubicBezTo>
                    <a:cubicBezTo>
                      <a:pt x="788025" y="459652"/>
                      <a:pt x="777790" y="449417"/>
                      <a:pt x="765165" y="449417"/>
                    </a:cubicBezTo>
                    <a:close/>
                    <a:moveTo>
                      <a:pt x="437712" y="449417"/>
                    </a:moveTo>
                    <a:cubicBezTo>
                      <a:pt x="425087" y="449417"/>
                      <a:pt x="414852" y="459652"/>
                      <a:pt x="414852" y="472277"/>
                    </a:cubicBezTo>
                    <a:cubicBezTo>
                      <a:pt x="414852" y="484902"/>
                      <a:pt x="425087" y="495137"/>
                      <a:pt x="437712" y="495137"/>
                    </a:cubicBezTo>
                    <a:cubicBezTo>
                      <a:pt x="450337" y="495137"/>
                      <a:pt x="460572" y="484902"/>
                      <a:pt x="460572" y="472277"/>
                    </a:cubicBezTo>
                    <a:cubicBezTo>
                      <a:pt x="460572" y="459652"/>
                      <a:pt x="450337" y="449417"/>
                      <a:pt x="437712" y="449417"/>
                    </a:cubicBezTo>
                    <a:close/>
                    <a:moveTo>
                      <a:pt x="104693" y="449417"/>
                    </a:moveTo>
                    <a:cubicBezTo>
                      <a:pt x="92068" y="449417"/>
                      <a:pt x="81833" y="459652"/>
                      <a:pt x="81833" y="472277"/>
                    </a:cubicBezTo>
                    <a:cubicBezTo>
                      <a:pt x="81833" y="484902"/>
                      <a:pt x="92068" y="495137"/>
                      <a:pt x="104693" y="495137"/>
                    </a:cubicBezTo>
                    <a:cubicBezTo>
                      <a:pt x="117318" y="495137"/>
                      <a:pt x="127553" y="484902"/>
                      <a:pt x="127553" y="472277"/>
                    </a:cubicBezTo>
                    <a:cubicBezTo>
                      <a:pt x="127553" y="459652"/>
                      <a:pt x="117318" y="449417"/>
                      <a:pt x="104693" y="449417"/>
                    </a:cubicBezTo>
                    <a:close/>
                    <a:moveTo>
                      <a:pt x="815266" y="425491"/>
                    </a:moveTo>
                    <a:cubicBezTo>
                      <a:pt x="802641" y="425491"/>
                      <a:pt x="792406" y="435726"/>
                      <a:pt x="792406" y="448351"/>
                    </a:cubicBezTo>
                    <a:cubicBezTo>
                      <a:pt x="792406" y="460976"/>
                      <a:pt x="802641" y="471211"/>
                      <a:pt x="815266" y="471211"/>
                    </a:cubicBezTo>
                    <a:cubicBezTo>
                      <a:pt x="827891" y="471211"/>
                      <a:pt x="838126" y="460976"/>
                      <a:pt x="838126" y="448351"/>
                    </a:cubicBezTo>
                    <a:cubicBezTo>
                      <a:pt x="838126" y="435726"/>
                      <a:pt x="827891" y="425491"/>
                      <a:pt x="815266" y="425491"/>
                    </a:cubicBezTo>
                    <a:close/>
                    <a:moveTo>
                      <a:pt x="713718" y="425491"/>
                    </a:moveTo>
                    <a:cubicBezTo>
                      <a:pt x="701093" y="425491"/>
                      <a:pt x="690858" y="435726"/>
                      <a:pt x="690858" y="448351"/>
                    </a:cubicBezTo>
                    <a:cubicBezTo>
                      <a:pt x="690858" y="460976"/>
                      <a:pt x="701093" y="471211"/>
                      <a:pt x="713718" y="471211"/>
                    </a:cubicBezTo>
                    <a:cubicBezTo>
                      <a:pt x="726343" y="471211"/>
                      <a:pt x="736578" y="460976"/>
                      <a:pt x="736578" y="448351"/>
                    </a:cubicBezTo>
                    <a:cubicBezTo>
                      <a:pt x="736578" y="435726"/>
                      <a:pt x="726343" y="425491"/>
                      <a:pt x="713718" y="425491"/>
                    </a:cubicBezTo>
                    <a:close/>
                    <a:moveTo>
                      <a:pt x="488486" y="425491"/>
                    </a:moveTo>
                    <a:cubicBezTo>
                      <a:pt x="475861" y="425491"/>
                      <a:pt x="465626" y="435726"/>
                      <a:pt x="465626" y="448351"/>
                    </a:cubicBezTo>
                    <a:cubicBezTo>
                      <a:pt x="465626" y="460976"/>
                      <a:pt x="475861" y="471211"/>
                      <a:pt x="488486" y="471211"/>
                    </a:cubicBezTo>
                    <a:cubicBezTo>
                      <a:pt x="501111" y="471211"/>
                      <a:pt x="511346" y="460976"/>
                      <a:pt x="511346" y="448351"/>
                    </a:cubicBezTo>
                    <a:cubicBezTo>
                      <a:pt x="511346" y="435726"/>
                      <a:pt x="501111" y="425491"/>
                      <a:pt x="488486" y="425491"/>
                    </a:cubicBezTo>
                    <a:close/>
                    <a:moveTo>
                      <a:pt x="386938" y="425491"/>
                    </a:moveTo>
                    <a:cubicBezTo>
                      <a:pt x="374313" y="425491"/>
                      <a:pt x="364078" y="435726"/>
                      <a:pt x="364078" y="448351"/>
                    </a:cubicBezTo>
                    <a:cubicBezTo>
                      <a:pt x="364078" y="460976"/>
                      <a:pt x="374313" y="471211"/>
                      <a:pt x="386938" y="471211"/>
                    </a:cubicBezTo>
                    <a:cubicBezTo>
                      <a:pt x="399563" y="471211"/>
                      <a:pt x="409798" y="460976"/>
                      <a:pt x="409798" y="448351"/>
                    </a:cubicBezTo>
                    <a:cubicBezTo>
                      <a:pt x="409798" y="435726"/>
                      <a:pt x="399563" y="425491"/>
                      <a:pt x="386938" y="425491"/>
                    </a:cubicBezTo>
                    <a:close/>
                    <a:moveTo>
                      <a:pt x="160771" y="425491"/>
                    </a:moveTo>
                    <a:cubicBezTo>
                      <a:pt x="148146" y="425491"/>
                      <a:pt x="137911" y="435726"/>
                      <a:pt x="137911" y="448351"/>
                    </a:cubicBezTo>
                    <a:cubicBezTo>
                      <a:pt x="137911" y="460976"/>
                      <a:pt x="148146" y="471211"/>
                      <a:pt x="160771" y="471211"/>
                    </a:cubicBezTo>
                    <a:cubicBezTo>
                      <a:pt x="173396" y="471211"/>
                      <a:pt x="183631" y="460976"/>
                      <a:pt x="183631" y="448351"/>
                    </a:cubicBezTo>
                    <a:cubicBezTo>
                      <a:pt x="183631" y="435726"/>
                      <a:pt x="173396" y="425491"/>
                      <a:pt x="160771" y="425491"/>
                    </a:cubicBezTo>
                    <a:close/>
                    <a:moveTo>
                      <a:pt x="59223" y="425491"/>
                    </a:moveTo>
                    <a:cubicBezTo>
                      <a:pt x="46598" y="425491"/>
                      <a:pt x="36363" y="435726"/>
                      <a:pt x="36363" y="448351"/>
                    </a:cubicBezTo>
                    <a:cubicBezTo>
                      <a:pt x="36363" y="460976"/>
                      <a:pt x="46598" y="471211"/>
                      <a:pt x="59223" y="471211"/>
                    </a:cubicBezTo>
                    <a:cubicBezTo>
                      <a:pt x="71848" y="471211"/>
                      <a:pt x="82083" y="460976"/>
                      <a:pt x="82083" y="448351"/>
                    </a:cubicBezTo>
                    <a:cubicBezTo>
                      <a:pt x="82083" y="435726"/>
                      <a:pt x="71848" y="425491"/>
                      <a:pt x="59223" y="425491"/>
                    </a:cubicBezTo>
                    <a:close/>
                    <a:moveTo>
                      <a:pt x="763819" y="393660"/>
                    </a:moveTo>
                    <a:cubicBezTo>
                      <a:pt x="751194" y="393660"/>
                      <a:pt x="740959" y="403895"/>
                      <a:pt x="740959" y="416520"/>
                    </a:cubicBezTo>
                    <a:cubicBezTo>
                      <a:pt x="740959" y="429145"/>
                      <a:pt x="751194" y="439380"/>
                      <a:pt x="763819" y="439380"/>
                    </a:cubicBezTo>
                    <a:cubicBezTo>
                      <a:pt x="776444" y="439380"/>
                      <a:pt x="786679" y="429145"/>
                      <a:pt x="786679" y="416520"/>
                    </a:cubicBezTo>
                    <a:cubicBezTo>
                      <a:pt x="786679" y="403895"/>
                      <a:pt x="776444" y="393660"/>
                      <a:pt x="763819" y="393660"/>
                    </a:cubicBezTo>
                    <a:close/>
                    <a:moveTo>
                      <a:pt x="437712" y="393660"/>
                    </a:moveTo>
                    <a:cubicBezTo>
                      <a:pt x="425087" y="393660"/>
                      <a:pt x="414852" y="403895"/>
                      <a:pt x="414852" y="416520"/>
                    </a:cubicBezTo>
                    <a:cubicBezTo>
                      <a:pt x="414852" y="429145"/>
                      <a:pt x="425087" y="439380"/>
                      <a:pt x="437712" y="439380"/>
                    </a:cubicBezTo>
                    <a:cubicBezTo>
                      <a:pt x="450337" y="439380"/>
                      <a:pt x="460572" y="429145"/>
                      <a:pt x="460572" y="416520"/>
                    </a:cubicBezTo>
                    <a:cubicBezTo>
                      <a:pt x="460572" y="403895"/>
                      <a:pt x="450337" y="393660"/>
                      <a:pt x="437712" y="393660"/>
                    </a:cubicBezTo>
                    <a:close/>
                    <a:moveTo>
                      <a:pt x="104266" y="393660"/>
                    </a:moveTo>
                    <a:cubicBezTo>
                      <a:pt x="91641" y="393660"/>
                      <a:pt x="81406" y="403895"/>
                      <a:pt x="81406" y="416520"/>
                    </a:cubicBezTo>
                    <a:cubicBezTo>
                      <a:pt x="81406" y="429145"/>
                      <a:pt x="91641" y="439380"/>
                      <a:pt x="104266" y="439380"/>
                    </a:cubicBezTo>
                    <a:cubicBezTo>
                      <a:pt x="116891" y="439380"/>
                      <a:pt x="127126" y="429145"/>
                      <a:pt x="127126" y="416520"/>
                    </a:cubicBezTo>
                    <a:cubicBezTo>
                      <a:pt x="127126" y="403895"/>
                      <a:pt x="116891" y="393660"/>
                      <a:pt x="104266" y="393660"/>
                    </a:cubicBezTo>
                    <a:close/>
                    <a:moveTo>
                      <a:pt x="815266" y="365088"/>
                    </a:moveTo>
                    <a:cubicBezTo>
                      <a:pt x="802641" y="365088"/>
                      <a:pt x="792406" y="375323"/>
                      <a:pt x="792406" y="387948"/>
                    </a:cubicBezTo>
                    <a:cubicBezTo>
                      <a:pt x="792406" y="400573"/>
                      <a:pt x="802641" y="410808"/>
                      <a:pt x="815266" y="410808"/>
                    </a:cubicBezTo>
                    <a:cubicBezTo>
                      <a:pt x="827891" y="410808"/>
                      <a:pt x="838126" y="400573"/>
                      <a:pt x="838126" y="387948"/>
                    </a:cubicBezTo>
                    <a:cubicBezTo>
                      <a:pt x="838126" y="375323"/>
                      <a:pt x="827891" y="365088"/>
                      <a:pt x="815266" y="365088"/>
                    </a:cubicBezTo>
                    <a:close/>
                    <a:moveTo>
                      <a:pt x="713718" y="365088"/>
                    </a:moveTo>
                    <a:cubicBezTo>
                      <a:pt x="701093" y="365088"/>
                      <a:pt x="690858" y="375323"/>
                      <a:pt x="690858" y="387948"/>
                    </a:cubicBezTo>
                    <a:cubicBezTo>
                      <a:pt x="690858" y="400573"/>
                      <a:pt x="701093" y="410808"/>
                      <a:pt x="713718" y="410808"/>
                    </a:cubicBezTo>
                    <a:cubicBezTo>
                      <a:pt x="726343" y="410808"/>
                      <a:pt x="736578" y="400573"/>
                      <a:pt x="736578" y="387948"/>
                    </a:cubicBezTo>
                    <a:cubicBezTo>
                      <a:pt x="736578" y="375323"/>
                      <a:pt x="726343" y="365088"/>
                      <a:pt x="713718" y="365088"/>
                    </a:cubicBezTo>
                    <a:close/>
                    <a:moveTo>
                      <a:pt x="488486" y="365088"/>
                    </a:moveTo>
                    <a:cubicBezTo>
                      <a:pt x="475861" y="365088"/>
                      <a:pt x="465626" y="375323"/>
                      <a:pt x="465626" y="387948"/>
                    </a:cubicBezTo>
                    <a:cubicBezTo>
                      <a:pt x="465626" y="400573"/>
                      <a:pt x="475861" y="410808"/>
                      <a:pt x="488486" y="410808"/>
                    </a:cubicBezTo>
                    <a:cubicBezTo>
                      <a:pt x="501111" y="410808"/>
                      <a:pt x="511346" y="400573"/>
                      <a:pt x="511346" y="387948"/>
                    </a:cubicBezTo>
                    <a:cubicBezTo>
                      <a:pt x="511346" y="375323"/>
                      <a:pt x="501111" y="365088"/>
                      <a:pt x="488486" y="365088"/>
                    </a:cubicBezTo>
                    <a:close/>
                    <a:moveTo>
                      <a:pt x="386938" y="365088"/>
                    </a:moveTo>
                    <a:cubicBezTo>
                      <a:pt x="374313" y="365088"/>
                      <a:pt x="364078" y="375323"/>
                      <a:pt x="364078" y="387948"/>
                    </a:cubicBezTo>
                    <a:cubicBezTo>
                      <a:pt x="364078" y="400573"/>
                      <a:pt x="374313" y="410808"/>
                      <a:pt x="386938" y="410808"/>
                    </a:cubicBezTo>
                    <a:cubicBezTo>
                      <a:pt x="399563" y="410808"/>
                      <a:pt x="409798" y="400573"/>
                      <a:pt x="409798" y="387948"/>
                    </a:cubicBezTo>
                    <a:cubicBezTo>
                      <a:pt x="409798" y="375323"/>
                      <a:pt x="399563" y="365088"/>
                      <a:pt x="386938" y="365088"/>
                    </a:cubicBezTo>
                    <a:close/>
                    <a:moveTo>
                      <a:pt x="160771" y="365088"/>
                    </a:moveTo>
                    <a:cubicBezTo>
                      <a:pt x="148146" y="365088"/>
                      <a:pt x="137911" y="375323"/>
                      <a:pt x="137911" y="387948"/>
                    </a:cubicBezTo>
                    <a:cubicBezTo>
                      <a:pt x="137911" y="400573"/>
                      <a:pt x="148146" y="410808"/>
                      <a:pt x="160771" y="410808"/>
                    </a:cubicBezTo>
                    <a:cubicBezTo>
                      <a:pt x="173396" y="410808"/>
                      <a:pt x="183631" y="400573"/>
                      <a:pt x="183631" y="387948"/>
                    </a:cubicBezTo>
                    <a:cubicBezTo>
                      <a:pt x="183631" y="375323"/>
                      <a:pt x="173396" y="365088"/>
                      <a:pt x="160771" y="365088"/>
                    </a:cubicBezTo>
                    <a:close/>
                    <a:moveTo>
                      <a:pt x="59223" y="365088"/>
                    </a:moveTo>
                    <a:cubicBezTo>
                      <a:pt x="46598" y="365088"/>
                      <a:pt x="36363" y="375323"/>
                      <a:pt x="36363" y="387948"/>
                    </a:cubicBezTo>
                    <a:cubicBezTo>
                      <a:pt x="36363" y="400573"/>
                      <a:pt x="46598" y="410808"/>
                      <a:pt x="59223" y="410808"/>
                    </a:cubicBezTo>
                    <a:cubicBezTo>
                      <a:pt x="71848" y="410808"/>
                      <a:pt x="82083" y="400573"/>
                      <a:pt x="82083" y="387948"/>
                    </a:cubicBezTo>
                    <a:cubicBezTo>
                      <a:pt x="82083" y="375323"/>
                      <a:pt x="71848" y="365088"/>
                      <a:pt x="59223" y="365088"/>
                    </a:cubicBezTo>
                    <a:close/>
                    <a:moveTo>
                      <a:pt x="765165" y="335014"/>
                    </a:moveTo>
                    <a:cubicBezTo>
                      <a:pt x="752540" y="335014"/>
                      <a:pt x="742305" y="345249"/>
                      <a:pt x="742305" y="357874"/>
                    </a:cubicBezTo>
                    <a:cubicBezTo>
                      <a:pt x="742305" y="370499"/>
                      <a:pt x="752540" y="380734"/>
                      <a:pt x="765165" y="380734"/>
                    </a:cubicBezTo>
                    <a:cubicBezTo>
                      <a:pt x="777790" y="380734"/>
                      <a:pt x="788025" y="370499"/>
                      <a:pt x="788025" y="357874"/>
                    </a:cubicBezTo>
                    <a:cubicBezTo>
                      <a:pt x="788025" y="345249"/>
                      <a:pt x="777790" y="335014"/>
                      <a:pt x="765165" y="335014"/>
                    </a:cubicBezTo>
                    <a:close/>
                    <a:moveTo>
                      <a:pt x="437712" y="335014"/>
                    </a:moveTo>
                    <a:cubicBezTo>
                      <a:pt x="425087" y="335014"/>
                      <a:pt x="414852" y="345249"/>
                      <a:pt x="414852" y="357874"/>
                    </a:cubicBezTo>
                    <a:cubicBezTo>
                      <a:pt x="414852" y="370499"/>
                      <a:pt x="425087" y="380734"/>
                      <a:pt x="437712" y="380734"/>
                    </a:cubicBezTo>
                    <a:cubicBezTo>
                      <a:pt x="450337" y="380734"/>
                      <a:pt x="460572" y="370499"/>
                      <a:pt x="460572" y="357874"/>
                    </a:cubicBezTo>
                    <a:cubicBezTo>
                      <a:pt x="460572" y="345249"/>
                      <a:pt x="450337" y="335014"/>
                      <a:pt x="437712" y="335014"/>
                    </a:cubicBezTo>
                    <a:close/>
                    <a:moveTo>
                      <a:pt x="104693" y="335014"/>
                    </a:moveTo>
                    <a:cubicBezTo>
                      <a:pt x="92068" y="335014"/>
                      <a:pt x="81833" y="345249"/>
                      <a:pt x="81833" y="357874"/>
                    </a:cubicBezTo>
                    <a:cubicBezTo>
                      <a:pt x="81833" y="370499"/>
                      <a:pt x="92068" y="380734"/>
                      <a:pt x="104693" y="380734"/>
                    </a:cubicBezTo>
                    <a:cubicBezTo>
                      <a:pt x="117318" y="380734"/>
                      <a:pt x="127553" y="370499"/>
                      <a:pt x="127553" y="357874"/>
                    </a:cubicBezTo>
                    <a:cubicBezTo>
                      <a:pt x="127553" y="345249"/>
                      <a:pt x="117318" y="335014"/>
                      <a:pt x="104693" y="335014"/>
                    </a:cubicBezTo>
                    <a:close/>
                    <a:moveTo>
                      <a:pt x="437712" y="138633"/>
                    </a:moveTo>
                    <a:cubicBezTo>
                      <a:pt x="425087" y="138633"/>
                      <a:pt x="414852" y="148868"/>
                      <a:pt x="414852" y="161493"/>
                    </a:cubicBezTo>
                    <a:cubicBezTo>
                      <a:pt x="414852" y="174118"/>
                      <a:pt x="425087" y="184353"/>
                      <a:pt x="437712" y="184353"/>
                    </a:cubicBezTo>
                    <a:cubicBezTo>
                      <a:pt x="450337" y="184353"/>
                      <a:pt x="460572" y="174118"/>
                      <a:pt x="460572" y="161493"/>
                    </a:cubicBezTo>
                    <a:cubicBezTo>
                      <a:pt x="460572" y="148868"/>
                      <a:pt x="450337" y="138633"/>
                      <a:pt x="437712" y="138633"/>
                    </a:cubicBezTo>
                    <a:close/>
                    <a:moveTo>
                      <a:pt x="488486" y="113932"/>
                    </a:moveTo>
                    <a:cubicBezTo>
                      <a:pt x="475861" y="113932"/>
                      <a:pt x="465626" y="124167"/>
                      <a:pt x="465626" y="136792"/>
                    </a:cubicBezTo>
                    <a:cubicBezTo>
                      <a:pt x="465626" y="149417"/>
                      <a:pt x="475861" y="159652"/>
                      <a:pt x="488486" y="159652"/>
                    </a:cubicBezTo>
                    <a:cubicBezTo>
                      <a:pt x="501111" y="159652"/>
                      <a:pt x="511346" y="149417"/>
                      <a:pt x="511346" y="136792"/>
                    </a:cubicBezTo>
                    <a:cubicBezTo>
                      <a:pt x="511346" y="124167"/>
                      <a:pt x="501111" y="113932"/>
                      <a:pt x="488486" y="113932"/>
                    </a:cubicBezTo>
                    <a:close/>
                    <a:moveTo>
                      <a:pt x="386938" y="113932"/>
                    </a:moveTo>
                    <a:cubicBezTo>
                      <a:pt x="374313" y="113932"/>
                      <a:pt x="364078" y="124167"/>
                      <a:pt x="364078" y="136792"/>
                    </a:cubicBezTo>
                    <a:cubicBezTo>
                      <a:pt x="364078" y="149417"/>
                      <a:pt x="374313" y="159652"/>
                      <a:pt x="386938" y="159652"/>
                    </a:cubicBezTo>
                    <a:cubicBezTo>
                      <a:pt x="399563" y="159652"/>
                      <a:pt x="409798" y="149417"/>
                      <a:pt x="409798" y="136792"/>
                    </a:cubicBezTo>
                    <a:cubicBezTo>
                      <a:pt x="409798" y="124167"/>
                      <a:pt x="399563" y="113932"/>
                      <a:pt x="386938" y="113932"/>
                    </a:cubicBezTo>
                    <a:close/>
                    <a:moveTo>
                      <a:pt x="437712" y="81407"/>
                    </a:moveTo>
                    <a:cubicBezTo>
                      <a:pt x="425087" y="81407"/>
                      <a:pt x="414852" y="91642"/>
                      <a:pt x="414852" y="104267"/>
                    </a:cubicBezTo>
                    <a:cubicBezTo>
                      <a:pt x="414852" y="116892"/>
                      <a:pt x="425087" y="127127"/>
                      <a:pt x="437712" y="127127"/>
                    </a:cubicBezTo>
                    <a:cubicBezTo>
                      <a:pt x="450337" y="127127"/>
                      <a:pt x="460572" y="116892"/>
                      <a:pt x="460572" y="104267"/>
                    </a:cubicBezTo>
                    <a:cubicBezTo>
                      <a:pt x="460572" y="91642"/>
                      <a:pt x="450337" y="81407"/>
                      <a:pt x="437712" y="81407"/>
                    </a:cubicBezTo>
                    <a:close/>
                    <a:moveTo>
                      <a:pt x="488486" y="53529"/>
                    </a:moveTo>
                    <a:cubicBezTo>
                      <a:pt x="475861" y="53529"/>
                      <a:pt x="465626" y="63764"/>
                      <a:pt x="465626" y="76389"/>
                    </a:cubicBezTo>
                    <a:cubicBezTo>
                      <a:pt x="465626" y="89014"/>
                      <a:pt x="475861" y="99249"/>
                      <a:pt x="488486" y="99249"/>
                    </a:cubicBezTo>
                    <a:cubicBezTo>
                      <a:pt x="501111" y="99249"/>
                      <a:pt x="511346" y="89014"/>
                      <a:pt x="511346" y="76389"/>
                    </a:cubicBezTo>
                    <a:cubicBezTo>
                      <a:pt x="511346" y="63764"/>
                      <a:pt x="501111" y="53529"/>
                      <a:pt x="488486" y="53529"/>
                    </a:cubicBezTo>
                    <a:close/>
                    <a:moveTo>
                      <a:pt x="386938" y="53529"/>
                    </a:moveTo>
                    <a:cubicBezTo>
                      <a:pt x="374313" y="53529"/>
                      <a:pt x="364078" y="63764"/>
                      <a:pt x="364078" y="76389"/>
                    </a:cubicBezTo>
                    <a:cubicBezTo>
                      <a:pt x="364078" y="89014"/>
                      <a:pt x="374313" y="99249"/>
                      <a:pt x="386938" y="99249"/>
                    </a:cubicBezTo>
                    <a:cubicBezTo>
                      <a:pt x="399563" y="99249"/>
                      <a:pt x="409798" y="89014"/>
                      <a:pt x="409798" y="76389"/>
                    </a:cubicBezTo>
                    <a:cubicBezTo>
                      <a:pt x="409798" y="63764"/>
                      <a:pt x="399563" y="53529"/>
                      <a:pt x="386938" y="53529"/>
                    </a:cubicBezTo>
                    <a:close/>
                    <a:moveTo>
                      <a:pt x="437712" y="24230"/>
                    </a:moveTo>
                    <a:cubicBezTo>
                      <a:pt x="425087" y="24230"/>
                      <a:pt x="414852" y="34465"/>
                      <a:pt x="414852" y="47090"/>
                    </a:cubicBezTo>
                    <a:cubicBezTo>
                      <a:pt x="414852" y="59715"/>
                      <a:pt x="425087" y="69950"/>
                      <a:pt x="437712" y="69950"/>
                    </a:cubicBezTo>
                    <a:cubicBezTo>
                      <a:pt x="450337" y="69950"/>
                      <a:pt x="460572" y="59715"/>
                      <a:pt x="460572" y="47090"/>
                    </a:cubicBezTo>
                    <a:cubicBezTo>
                      <a:pt x="460572" y="34465"/>
                      <a:pt x="450337" y="24230"/>
                      <a:pt x="437712" y="24230"/>
                    </a:cubicBezTo>
                    <a:close/>
                    <a:moveTo>
                      <a:pt x="437617" y="0"/>
                    </a:moveTo>
                    <a:cubicBezTo>
                      <a:pt x="497432" y="0"/>
                      <a:pt x="545922" y="48490"/>
                      <a:pt x="545922" y="108305"/>
                    </a:cubicBezTo>
                    <a:cubicBezTo>
                      <a:pt x="545922" y="153166"/>
                      <a:pt x="518647" y="191657"/>
                      <a:pt x="479774" y="208099"/>
                    </a:cubicBezTo>
                    <a:lnTo>
                      <a:pt x="477170" y="208624"/>
                    </a:lnTo>
                    <a:lnTo>
                      <a:pt x="477170" y="312925"/>
                    </a:lnTo>
                    <a:lnTo>
                      <a:pt x="479774" y="313451"/>
                    </a:lnTo>
                    <a:cubicBezTo>
                      <a:pt x="505689" y="324412"/>
                      <a:pt x="526449" y="345172"/>
                      <a:pt x="537411" y="371087"/>
                    </a:cubicBezTo>
                    <a:lnTo>
                      <a:pt x="537655" y="372297"/>
                    </a:lnTo>
                    <a:lnTo>
                      <a:pt x="666891" y="372297"/>
                    </a:lnTo>
                    <a:lnTo>
                      <a:pt x="667135" y="371088"/>
                    </a:lnTo>
                    <a:cubicBezTo>
                      <a:pt x="683577" y="332216"/>
                      <a:pt x="722068" y="304940"/>
                      <a:pt x="766930" y="304940"/>
                    </a:cubicBezTo>
                    <a:cubicBezTo>
                      <a:pt x="826745" y="304940"/>
                      <a:pt x="875235" y="353430"/>
                      <a:pt x="875235" y="413246"/>
                    </a:cubicBezTo>
                    <a:cubicBezTo>
                      <a:pt x="875235" y="473061"/>
                      <a:pt x="826745" y="521551"/>
                      <a:pt x="766930" y="521551"/>
                    </a:cubicBezTo>
                    <a:cubicBezTo>
                      <a:pt x="722068" y="521551"/>
                      <a:pt x="683577" y="494276"/>
                      <a:pt x="667135" y="455403"/>
                    </a:cubicBezTo>
                    <a:lnTo>
                      <a:pt x="666328" y="451404"/>
                    </a:lnTo>
                    <a:lnTo>
                      <a:pt x="538218" y="451404"/>
                    </a:lnTo>
                    <a:lnTo>
                      <a:pt x="537411" y="455402"/>
                    </a:lnTo>
                    <a:cubicBezTo>
                      <a:pt x="526449" y="481317"/>
                      <a:pt x="505689" y="502078"/>
                      <a:pt x="479774" y="513039"/>
                    </a:cubicBezTo>
                    <a:lnTo>
                      <a:pt x="477170" y="513565"/>
                    </a:lnTo>
                    <a:lnTo>
                      <a:pt x="477170" y="617868"/>
                    </a:lnTo>
                    <a:lnTo>
                      <a:pt x="479774" y="618393"/>
                    </a:lnTo>
                    <a:cubicBezTo>
                      <a:pt x="518647" y="634835"/>
                      <a:pt x="545922" y="673326"/>
                      <a:pt x="545922" y="718187"/>
                    </a:cubicBezTo>
                    <a:cubicBezTo>
                      <a:pt x="545922" y="778002"/>
                      <a:pt x="497432" y="826492"/>
                      <a:pt x="437617" y="826492"/>
                    </a:cubicBezTo>
                    <a:cubicBezTo>
                      <a:pt x="377802" y="826492"/>
                      <a:pt x="329312" y="778002"/>
                      <a:pt x="329312" y="718187"/>
                    </a:cubicBezTo>
                    <a:cubicBezTo>
                      <a:pt x="329312" y="673326"/>
                      <a:pt x="356588" y="634835"/>
                      <a:pt x="395460" y="618393"/>
                    </a:cubicBezTo>
                    <a:lnTo>
                      <a:pt x="398064" y="617868"/>
                    </a:lnTo>
                    <a:lnTo>
                      <a:pt x="398064" y="513565"/>
                    </a:lnTo>
                    <a:lnTo>
                      <a:pt x="395460" y="513039"/>
                    </a:lnTo>
                    <a:cubicBezTo>
                      <a:pt x="369545" y="502078"/>
                      <a:pt x="348784" y="481317"/>
                      <a:pt x="337823" y="455402"/>
                    </a:cubicBezTo>
                    <a:lnTo>
                      <a:pt x="337016" y="451404"/>
                    </a:lnTo>
                    <a:lnTo>
                      <a:pt x="208906" y="451404"/>
                    </a:lnTo>
                    <a:lnTo>
                      <a:pt x="208099" y="455403"/>
                    </a:lnTo>
                    <a:cubicBezTo>
                      <a:pt x="191657" y="494276"/>
                      <a:pt x="153167" y="521551"/>
                      <a:pt x="108305" y="521551"/>
                    </a:cubicBezTo>
                    <a:cubicBezTo>
                      <a:pt x="48490" y="521551"/>
                      <a:pt x="0" y="473061"/>
                      <a:pt x="0" y="413246"/>
                    </a:cubicBezTo>
                    <a:cubicBezTo>
                      <a:pt x="0" y="353430"/>
                      <a:pt x="48490" y="304940"/>
                      <a:pt x="108305" y="304940"/>
                    </a:cubicBezTo>
                    <a:cubicBezTo>
                      <a:pt x="153167" y="304940"/>
                      <a:pt x="191657" y="332216"/>
                      <a:pt x="208099" y="371088"/>
                    </a:cubicBezTo>
                    <a:lnTo>
                      <a:pt x="208343" y="372297"/>
                    </a:lnTo>
                    <a:lnTo>
                      <a:pt x="337579" y="372297"/>
                    </a:lnTo>
                    <a:lnTo>
                      <a:pt x="337823" y="371087"/>
                    </a:lnTo>
                    <a:cubicBezTo>
                      <a:pt x="348784" y="345172"/>
                      <a:pt x="369545" y="324412"/>
                      <a:pt x="395460" y="313451"/>
                    </a:cubicBezTo>
                    <a:lnTo>
                      <a:pt x="398064" y="312925"/>
                    </a:lnTo>
                    <a:lnTo>
                      <a:pt x="398064" y="208624"/>
                    </a:lnTo>
                    <a:lnTo>
                      <a:pt x="395460" y="208099"/>
                    </a:lnTo>
                    <a:cubicBezTo>
                      <a:pt x="356588" y="191657"/>
                      <a:pt x="329312" y="153166"/>
                      <a:pt x="329312" y="108305"/>
                    </a:cubicBezTo>
                    <a:cubicBezTo>
                      <a:pt x="329312" y="48490"/>
                      <a:pt x="377802" y="0"/>
                      <a:pt x="43761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cxnSp>
          <p:nvCxnSpPr>
            <p:cNvPr id="141" name="Straight Connector 140"/>
            <p:cNvCxnSpPr/>
            <p:nvPr/>
          </p:nvCxnSpPr>
          <p:spPr>
            <a:xfrm>
              <a:off x="3945357" y="3390900"/>
              <a:ext cx="281139" cy="0"/>
            </a:xfrm>
            <a:prstGeom prst="line">
              <a:avLst/>
            </a:prstGeom>
            <a:ln w="5715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/>
            <p:cNvCxnSpPr/>
            <p:nvPr/>
          </p:nvCxnSpPr>
          <p:spPr>
            <a:xfrm>
              <a:off x="5043953" y="3390900"/>
              <a:ext cx="303916" cy="0"/>
            </a:xfrm>
            <a:prstGeom prst="line">
              <a:avLst/>
            </a:prstGeom>
            <a:ln w="5715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Elbow Connector 14"/>
          <p:cNvCxnSpPr>
            <a:stCxn id="35" idx="3"/>
          </p:cNvCxnSpPr>
          <p:nvPr/>
        </p:nvCxnSpPr>
        <p:spPr>
          <a:xfrm rot="5400000" flipH="1" flipV="1">
            <a:off x="5849170" y="-246327"/>
            <a:ext cx="339676" cy="5289456"/>
          </a:xfrm>
          <a:prstGeom prst="bentConnector2">
            <a:avLst/>
          </a:prstGeom>
          <a:ln w="19050">
            <a:solidFill>
              <a:schemeClr val="bg2">
                <a:lumMod val="90000"/>
              </a:schemeClr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Elbow Connector 212"/>
          <p:cNvCxnSpPr>
            <a:stCxn id="22" idx="1"/>
          </p:cNvCxnSpPr>
          <p:nvPr/>
        </p:nvCxnSpPr>
        <p:spPr>
          <a:xfrm rot="16200000" flipH="1">
            <a:off x="5467072" y="1854383"/>
            <a:ext cx="551739" cy="5841594"/>
          </a:xfrm>
          <a:prstGeom prst="bentConnector2">
            <a:avLst/>
          </a:prstGeom>
          <a:ln w="19050">
            <a:solidFill>
              <a:schemeClr val="bg2">
                <a:lumMod val="90000"/>
              </a:schemeClr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4" name="Group 213"/>
          <p:cNvGrpSpPr/>
          <p:nvPr/>
        </p:nvGrpSpPr>
        <p:grpSpPr>
          <a:xfrm>
            <a:off x="2718040" y="1989375"/>
            <a:ext cx="1591388" cy="1766232"/>
            <a:chOff x="7999412" y="2362201"/>
            <a:chExt cx="1295400" cy="1905000"/>
          </a:xfrm>
        </p:grpSpPr>
        <p:cxnSp>
          <p:nvCxnSpPr>
            <p:cNvPr id="215" name="Straight Connector 214"/>
            <p:cNvCxnSpPr/>
            <p:nvPr/>
          </p:nvCxnSpPr>
          <p:spPr>
            <a:xfrm>
              <a:off x="8884087" y="2383476"/>
              <a:ext cx="7074" cy="95250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/>
            <p:cNvCxnSpPr/>
            <p:nvPr/>
          </p:nvCxnSpPr>
          <p:spPr>
            <a:xfrm>
              <a:off x="8498126" y="2362201"/>
              <a:ext cx="7074" cy="95250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7" name="Rectangle 216"/>
            <p:cNvSpPr/>
            <p:nvPr/>
          </p:nvSpPr>
          <p:spPr>
            <a:xfrm>
              <a:off x="8040296" y="2362201"/>
              <a:ext cx="1221830" cy="1905000"/>
            </a:xfrm>
            <a:prstGeom prst="rect">
              <a:avLst/>
            </a:prstGeom>
            <a:noFill/>
            <a:ln w="25400">
              <a:solidFill>
                <a:schemeClr val="accent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white"/>
                </a:solidFill>
              </a:endParaRPr>
            </a:p>
          </p:txBody>
        </p:sp>
        <p:cxnSp>
          <p:nvCxnSpPr>
            <p:cNvPr id="218" name="Straight Connector 217"/>
            <p:cNvCxnSpPr>
              <a:stCxn id="217" idx="1"/>
              <a:endCxn id="217" idx="3"/>
            </p:cNvCxnSpPr>
            <p:nvPr/>
          </p:nvCxnSpPr>
          <p:spPr>
            <a:xfrm>
              <a:off x="8040297" y="3314701"/>
              <a:ext cx="1221830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9" name="Group 218"/>
            <p:cNvGrpSpPr/>
            <p:nvPr/>
          </p:nvGrpSpPr>
          <p:grpSpPr>
            <a:xfrm>
              <a:off x="8665223" y="2484964"/>
              <a:ext cx="629589" cy="1681973"/>
              <a:chOff x="6992646" y="445986"/>
              <a:chExt cx="693417" cy="1306982"/>
            </a:xfrm>
          </p:grpSpPr>
          <p:sp>
            <p:nvSpPr>
              <p:cNvPr id="232" name="Oval 231"/>
              <p:cNvSpPr/>
              <p:nvPr/>
            </p:nvSpPr>
            <p:spPr>
              <a:xfrm>
                <a:off x="7066661" y="1246555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233" name="Oval 232"/>
              <p:cNvSpPr/>
              <p:nvPr/>
            </p:nvSpPr>
            <p:spPr>
              <a:xfrm>
                <a:off x="7066661" y="445986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234" name="Straight Arrow Connector 233"/>
              <p:cNvCxnSpPr>
                <a:stCxn id="233" idx="4"/>
                <a:endCxn id="232" idx="0"/>
              </p:cNvCxnSpPr>
              <p:nvPr/>
            </p:nvCxnSpPr>
            <p:spPr>
              <a:xfrm>
                <a:off x="7339355" y="952399"/>
                <a:ext cx="0" cy="294156"/>
              </a:xfrm>
              <a:prstGeom prst="straightConnector1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5" name="TextBox 234"/>
              <p:cNvSpPr txBox="1"/>
              <p:nvPr/>
            </p:nvSpPr>
            <p:spPr>
              <a:xfrm>
                <a:off x="6992646" y="561900"/>
                <a:ext cx="693417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Application thread</a:t>
                </a:r>
              </a:p>
            </p:txBody>
          </p:sp>
          <p:sp>
            <p:nvSpPr>
              <p:cNvPr id="236" name="TextBox 235"/>
              <p:cNvSpPr txBox="1"/>
              <p:nvPr/>
            </p:nvSpPr>
            <p:spPr>
              <a:xfrm>
                <a:off x="7027705" y="1340169"/>
                <a:ext cx="623300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Data object</a:t>
                </a:r>
              </a:p>
            </p:txBody>
          </p:sp>
        </p:grpSp>
        <p:grpSp>
          <p:nvGrpSpPr>
            <p:cNvPr id="220" name="Group 219"/>
            <p:cNvGrpSpPr/>
            <p:nvPr/>
          </p:nvGrpSpPr>
          <p:grpSpPr>
            <a:xfrm>
              <a:off x="8331890" y="2498780"/>
              <a:ext cx="629589" cy="1668156"/>
              <a:chOff x="6992646" y="456722"/>
              <a:chExt cx="693417" cy="1296246"/>
            </a:xfrm>
          </p:grpSpPr>
          <p:sp>
            <p:nvSpPr>
              <p:cNvPr id="227" name="Oval 226"/>
              <p:cNvSpPr/>
              <p:nvPr/>
            </p:nvSpPr>
            <p:spPr>
              <a:xfrm>
                <a:off x="7066661" y="1246555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228" name="Oval 227"/>
              <p:cNvSpPr/>
              <p:nvPr/>
            </p:nvSpPr>
            <p:spPr>
              <a:xfrm>
                <a:off x="7066661" y="456722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229" name="Straight Arrow Connector 228"/>
              <p:cNvCxnSpPr>
                <a:stCxn id="228" idx="4"/>
                <a:endCxn id="227" idx="0"/>
              </p:cNvCxnSpPr>
              <p:nvPr/>
            </p:nvCxnSpPr>
            <p:spPr>
              <a:xfrm>
                <a:off x="7339355" y="963135"/>
                <a:ext cx="0" cy="283420"/>
              </a:xfrm>
              <a:prstGeom prst="straightConnector1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0" name="TextBox 229"/>
              <p:cNvSpPr txBox="1"/>
              <p:nvPr/>
            </p:nvSpPr>
            <p:spPr>
              <a:xfrm>
                <a:off x="6992646" y="561900"/>
                <a:ext cx="693417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Application thread</a:t>
                </a:r>
              </a:p>
            </p:txBody>
          </p:sp>
          <p:sp>
            <p:nvSpPr>
              <p:cNvPr id="231" name="TextBox 230"/>
              <p:cNvSpPr txBox="1"/>
              <p:nvPr/>
            </p:nvSpPr>
            <p:spPr>
              <a:xfrm>
                <a:off x="7027705" y="1340169"/>
                <a:ext cx="623300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Data object</a:t>
                </a:r>
              </a:p>
            </p:txBody>
          </p:sp>
        </p:grpSp>
        <p:grpSp>
          <p:nvGrpSpPr>
            <p:cNvPr id="221" name="Group 220"/>
            <p:cNvGrpSpPr/>
            <p:nvPr/>
          </p:nvGrpSpPr>
          <p:grpSpPr>
            <a:xfrm>
              <a:off x="7999412" y="2498780"/>
              <a:ext cx="629589" cy="1668156"/>
              <a:chOff x="6992646" y="456722"/>
              <a:chExt cx="693417" cy="1296246"/>
            </a:xfrm>
          </p:grpSpPr>
          <p:sp>
            <p:nvSpPr>
              <p:cNvPr id="222" name="Oval 221"/>
              <p:cNvSpPr/>
              <p:nvPr/>
            </p:nvSpPr>
            <p:spPr>
              <a:xfrm>
                <a:off x="7066661" y="1246555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223" name="Oval 222"/>
              <p:cNvSpPr/>
              <p:nvPr/>
            </p:nvSpPr>
            <p:spPr>
              <a:xfrm>
                <a:off x="7066661" y="456722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224" name="Straight Arrow Connector 223"/>
              <p:cNvCxnSpPr>
                <a:stCxn id="223" idx="4"/>
                <a:endCxn id="222" idx="0"/>
              </p:cNvCxnSpPr>
              <p:nvPr/>
            </p:nvCxnSpPr>
            <p:spPr>
              <a:xfrm>
                <a:off x="7339355" y="963135"/>
                <a:ext cx="0" cy="283420"/>
              </a:xfrm>
              <a:prstGeom prst="straightConnector1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5" name="TextBox 224"/>
              <p:cNvSpPr txBox="1"/>
              <p:nvPr/>
            </p:nvSpPr>
            <p:spPr>
              <a:xfrm>
                <a:off x="6992646" y="561900"/>
                <a:ext cx="693417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Application thread</a:t>
                </a:r>
              </a:p>
            </p:txBody>
          </p:sp>
          <p:sp>
            <p:nvSpPr>
              <p:cNvPr id="226" name="TextBox 225"/>
              <p:cNvSpPr txBox="1"/>
              <p:nvPr/>
            </p:nvSpPr>
            <p:spPr>
              <a:xfrm>
                <a:off x="7027705" y="1340169"/>
                <a:ext cx="623300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Data object</a:t>
                </a:r>
              </a:p>
            </p:txBody>
          </p:sp>
        </p:grpSp>
      </p:grpSp>
      <p:grpSp>
        <p:nvGrpSpPr>
          <p:cNvPr id="237" name="Group 236"/>
          <p:cNvGrpSpPr/>
          <p:nvPr/>
        </p:nvGrpSpPr>
        <p:grpSpPr>
          <a:xfrm>
            <a:off x="2248212" y="3312402"/>
            <a:ext cx="1591388" cy="1766232"/>
            <a:chOff x="7999412" y="2362201"/>
            <a:chExt cx="1295400" cy="1905000"/>
          </a:xfrm>
        </p:grpSpPr>
        <p:cxnSp>
          <p:nvCxnSpPr>
            <p:cNvPr id="238" name="Straight Connector 237"/>
            <p:cNvCxnSpPr/>
            <p:nvPr/>
          </p:nvCxnSpPr>
          <p:spPr>
            <a:xfrm>
              <a:off x="8884087" y="2383476"/>
              <a:ext cx="7074" cy="95250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/>
            <p:cNvCxnSpPr/>
            <p:nvPr/>
          </p:nvCxnSpPr>
          <p:spPr>
            <a:xfrm>
              <a:off x="8498126" y="2362201"/>
              <a:ext cx="7074" cy="95250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Rectangle 239"/>
            <p:cNvSpPr/>
            <p:nvPr/>
          </p:nvSpPr>
          <p:spPr>
            <a:xfrm>
              <a:off x="8040296" y="2362201"/>
              <a:ext cx="1221830" cy="1905000"/>
            </a:xfrm>
            <a:prstGeom prst="rect">
              <a:avLst/>
            </a:prstGeom>
            <a:noFill/>
            <a:ln w="25400">
              <a:solidFill>
                <a:schemeClr val="accent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white"/>
                </a:solidFill>
              </a:endParaRPr>
            </a:p>
          </p:txBody>
        </p:sp>
        <p:cxnSp>
          <p:nvCxnSpPr>
            <p:cNvPr id="241" name="Straight Connector 240"/>
            <p:cNvCxnSpPr>
              <a:stCxn id="240" idx="1"/>
              <a:endCxn id="240" idx="3"/>
            </p:cNvCxnSpPr>
            <p:nvPr/>
          </p:nvCxnSpPr>
          <p:spPr>
            <a:xfrm>
              <a:off x="8040297" y="3314701"/>
              <a:ext cx="1221830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2" name="Group 241"/>
            <p:cNvGrpSpPr/>
            <p:nvPr/>
          </p:nvGrpSpPr>
          <p:grpSpPr>
            <a:xfrm>
              <a:off x="8665223" y="2484964"/>
              <a:ext cx="629589" cy="1681973"/>
              <a:chOff x="6992646" y="445986"/>
              <a:chExt cx="693417" cy="1306982"/>
            </a:xfrm>
          </p:grpSpPr>
          <p:sp>
            <p:nvSpPr>
              <p:cNvPr id="255" name="Oval 254"/>
              <p:cNvSpPr/>
              <p:nvPr/>
            </p:nvSpPr>
            <p:spPr>
              <a:xfrm>
                <a:off x="7066661" y="1246555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256" name="Oval 255"/>
              <p:cNvSpPr/>
              <p:nvPr/>
            </p:nvSpPr>
            <p:spPr>
              <a:xfrm>
                <a:off x="7066661" y="445986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257" name="Straight Arrow Connector 256"/>
              <p:cNvCxnSpPr>
                <a:stCxn id="256" idx="4"/>
                <a:endCxn id="255" idx="0"/>
              </p:cNvCxnSpPr>
              <p:nvPr/>
            </p:nvCxnSpPr>
            <p:spPr>
              <a:xfrm>
                <a:off x="7339355" y="952399"/>
                <a:ext cx="0" cy="294156"/>
              </a:xfrm>
              <a:prstGeom prst="straightConnector1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8" name="TextBox 257"/>
              <p:cNvSpPr txBox="1"/>
              <p:nvPr/>
            </p:nvSpPr>
            <p:spPr>
              <a:xfrm>
                <a:off x="6992646" y="561900"/>
                <a:ext cx="693417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Application thread</a:t>
                </a:r>
              </a:p>
            </p:txBody>
          </p:sp>
          <p:sp>
            <p:nvSpPr>
              <p:cNvPr id="259" name="TextBox 258"/>
              <p:cNvSpPr txBox="1"/>
              <p:nvPr/>
            </p:nvSpPr>
            <p:spPr>
              <a:xfrm>
                <a:off x="7027705" y="1340169"/>
                <a:ext cx="623300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Data object</a:t>
                </a:r>
              </a:p>
            </p:txBody>
          </p:sp>
        </p:grpSp>
        <p:grpSp>
          <p:nvGrpSpPr>
            <p:cNvPr id="243" name="Group 242"/>
            <p:cNvGrpSpPr/>
            <p:nvPr/>
          </p:nvGrpSpPr>
          <p:grpSpPr>
            <a:xfrm>
              <a:off x="8331890" y="2498780"/>
              <a:ext cx="629589" cy="1668156"/>
              <a:chOff x="6992646" y="456722"/>
              <a:chExt cx="693417" cy="1296246"/>
            </a:xfrm>
          </p:grpSpPr>
          <p:sp>
            <p:nvSpPr>
              <p:cNvPr id="250" name="Oval 249"/>
              <p:cNvSpPr/>
              <p:nvPr/>
            </p:nvSpPr>
            <p:spPr>
              <a:xfrm>
                <a:off x="7066661" y="1246555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251" name="Oval 250"/>
              <p:cNvSpPr/>
              <p:nvPr/>
            </p:nvSpPr>
            <p:spPr>
              <a:xfrm>
                <a:off x="7066661" y="456722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252" name="Straight Arrow Connector 251"/>
              <p:cNvCxnSpPr>
                <a:stCxn id="251" idx="4"/>
                <a:endCxn id="250" idx="0"/>
              </p:cNvCxnSpPr>
              <p:nvPr/>
            </p:nvCxnSpPr>
            <p:spPr>
              <a:xfrm>
                <a:off x="7339355" y="963135"/>
                <a:ext cx="0" cy="283420"/>
              </a:xfrm>
              <a:prstGeom prst="straightConnector1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3" name="TextBox 252"/>
              <p:cNvSpPr txBox="1"/>
              <p:nvPr/>
            </p:nvSpPr>
            <p:spPr>
              <a:xfrm>
                <a:off x="6992646" y="561900"/>
                <a:ext cx="693417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Application thread</a:t>
                </a:r>
              </a:p>
            </p:txBody>
          </p:sp>
          <p:sp>
            <p:nvSpPr>
              <p:cNvPr id="254" name="TextBox 253"/>
              <p:cNvSpPr txBox="1"/>
              <p:nvPr/>
            </p:nvSpPr>
            <p:spPr>
              <a:xfrm>
                <a:off x="7027705" y="1340169"/>
                <a:ext cx="623300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Data object</a:t>
                </a:r>
              </a:p>
            </p:txBody>
          </p:sp>
        </p:grpSp>
        <p:grpSp>
          <p:nvGrpSpPr>
            <p:cNvPr id="244" name="Group 243"/>
            <p:cNvGrpSpPr/>
            <p:nvPr/>
          </p:nvGrpSpPr>
          <p:grpSpPr>
            <a:xfrm>
              <a:off x="7999412" y="2498780"/>
              <a:ext cx="629589" cy="1668156"/>
              <a:chOff x="6992646" y="456722"/>
              <a:chExt cx="693417" cy="1296246"/>
            </a:xfrm>
          </p:grpSpPr>
          <p:sp>
            <p:nvSpPr>
              <p:cNvPr id="245" name="Oval 244"/>
              <p:cNvSpPr/>
              <p:nvPr/>
            </p:nvSpPr>
            <p:spPr>
              <a:xfrm>
                <a:off x="7066661" y="1246555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246" name="Oval 245"/>
              <p:cNvSpPr/>
              <p:nvPr/>
            </p:nvSpPr>
            <p:spPr>
              <a:xfrm>
                <a:off x="7066661" y="456722"/>
                <a:ext cx="545387" cy="50641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247" name="Straight Arrow Connector 246"/>
              <p:cNvCxnSpPr>
                <a:stCxn id="246" idx="4"/>
                <a:endCxn id="245" idx="0"/>
              </p:cNvCxnSpPr>
              <p:nvPr/>
            </p:nvCxnSpPr>
            <p:spPr>
              <a:xfrm>
                <a:off x="7339355" y="963135"/>
                <a:ext cx="0" cy="283420"/>
              </a:xfrm>
              <a:prstGeom prst="straightConnector1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8" name="TextBox 247"/>
              <p:cNvSpPr txBox="1"/>
              <p:nvPr/>
            </p:nvSpPr>
            <p:spPr>
              <a:xfrm>
                <a:off x="6992646" y="561900"/>
                <a:ext cx="693417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Application thread</a:t>
                </a:r>
              </a:p>
            </p:txBody>
          </p:sp>
          <p:sp>
            <p:nvSpPr>
              <p:cNvPr id="249" name="TextBox 248"/>
              <p:cNvSpPr txBox="1"/>
              <p:nvPr/>
            </p:nvSpPr>
            <p:spPr>
              <a:xfrm>
                <a:off x="7027705" y="1340169"/>
                <a:ext cx="623300" cy="3095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rgbClr val="000000"/>
                    </a:solidFill>
                  </a:rPr>
                  <a:t>Data objec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93625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9945E-6 0 L 0.49335 -0.10417 " pathEditMode="relative" rAng="0" ptsTypes="AA">
                                      <p:cBhvr>
                                        <p:cTn id="11" dur="1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668" y="-5208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9437E-6 4.44444E-6 L 0.53452 0.11944 " pathEditMode="relative" rAng="0" ptsTypes="AA">
                                      <p:cBhvr>
                                        <p:cTn id="18" dur="1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726" y="5972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10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5" grpId="0"/>
      <p:bldP spid="140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Protect:</a:t>
            </a:r>
            <a:r>
              <a:rPr lang="en-US" dirty="0" smtClean="0"/>
              <a:t> Data protection</a:t>
            </a:r>
            <a:endParaRPr lang="hi-IN" dirty="0"/>
          </a:p>
        </p:txBody>
      </p:sp>
      <p:sp>
        <p:nvSpPr>
          <p:cNvPr id="87" name="Freeform 34"/>
          <p:cNvSpPr>
            <a:spLocks noEditPoints="1"/>
          </p:cNvSpPr>
          <p:nvPr/>
        </p:nvSpPr>
        <p:spPr bwMode="auto">
          <a:xfrm>
            <a:off x="11134650" y="466550"/>
            <a:ext cx="362098" cy="428800"/>
          </a:xfrm>
          <a:custGeom>
            <a:avLst/>
            <a:gdLst>
              <a:gd name="T0" fmla="*/ 257 w 303"/>
              <a:gd name="T1" fmla="*/ 165 h 359"/>
              <a:gd name="T2" fmla="*/ 257 w 303"/>
              <a:gd name="T3" fmla="*/ 108 h 359"/>
              <a:gd name="T4" fmla="*/ 255 w 303"/>
              <a:gd name="T5" fmla="*/ 86 h 359"/>
              <a:gd name="T6" fmla="*/ 248 w 303"/>
              <a:gd name="T7" fmla="*/ 66 h 359"/>
              <a:gd name="T8" fmla="*/ 238 w 303"/>
              <a:gd name="T9" fmla="*/ 48 h 359"/>
              <a:gd name="T10" fmla="*/ 225 w 303"/>
              <a:gd name="T11" fmla="*/ 33 h 359"/>
              <a:gd name="T12" fmla="*/ 209 w 303"/>
              <a:gd name="T13" fmla="*/ 19 h 359"/>
              <a:gd name="T14" fmla="*/ 191 w 303"/>
              <a:gd name="T15" fmla="*/ 9 h 359"/>
              <a:gd name="T16" fmla="*/ 171 w 303"/>
              <a:gd name="T17" fmla="*/ 3 h 359"/>
              <a:gd name="T18" fmla="*/ 150 w 303"/>
              <a:gd name="T19" fmla="*/ 0 h 359"/>
              <a:gd name="T20" fmla="*/ 139 w 303"/>
              <a:gd name="T21" fmla="*/ 2 h 359"/>
              <a:gd name="T22" fmla="*/ 118 w 303"/>
              <a:gd name="T23" fmla="*/ 6 h 359"/>
              <a:gd name="T24" fmla="*/ 98 w 303"/>
              <a:gd name="T25" fmla="*/ 13 h 359"/>
              <a:gd name="T26" fmla="*/ 82 w 303"/>
              <a:gd name="T27" fmla="*/ 25 h 359"/>
              <a:gd name="T28" fmla="*/ 67 w 303"/>
              <a:gd name="T29" fmla="*/ 40 h 359"/>
              <a:gd name="T30" fmla="*/ 55 w 303"/>
              <a:gd name="T31" fmla="*/ 56 h 359"/>
              <a:gd name="T32" fmla="*/ 48 w 303"/>
              <a:gd name="T33" fmla="*/ 76 h 359"/>
              <a:gd name="T34" fmla="*/ 43 w 303"/>
              <a:gd name="T35" fmla="*/ 97 h 359"/>
              <a:gd name="T36" fmla="*/ 42 w 303"/>
              <a:gd name="T37" fmla="*/ 165 h 359"/>
              <a:gd name="T38" fmla="*/ 0 w 303"/>
              <a:gd name="T39" fmla="*/ 337 h 359"/>
              <a:gd name="T40" fmla="*/ 1 w 303"/>
              <a:gd name="T41" fmla="*/ 341 h 359"/>
              <a:gd name="T42" fmla="*/ 4 w 303"/>
              <a:gd name="T43" fmla="*/ 350 h 359"/>
              <a:gd name="T44" fmla="*/ 11 w 303"/>
              <a:gd name="T45" fmla="*/ 355 h 359"/>
              <a:gd name="T46" fmla="*/ 18 w 303"/>
              <a:gd name="T47" fmla="*/ 359 h 359"/>
              <a:gd name="T48" fmla="*/ 303 w 303"/>
              <a:gd name="T49" fmla="*/ 359 h 359"/>
              <a:gd name="T50" fmla="*/ 303 w 303"/>
              <a:gd name="T51" fmla="*/ 187 h 359"/>
              <a:gd name="T52" fmla="*/ 301 w 303"/>
              <a:gd name="T53" fmla="*/ 179 h 359"/>
              <a:gd name="T54" fmla="*/ 297 w 303"/>
              <a:gd name="T55" fmla="*/ 171 h 359"/>
              <a:gd name="T56" fmla="*/ 289 w 303"/>
              <a:gd name="T57" fmla="*/ 167 h 359"/>
              <a:gd name="T58" fmla="*/ 280 w 303"/>
              <a:gd name="T59" fmla="*/ 165 h 359"/>
              <a:gd name="T60" fmla="*/ 88 w 303"/>
              <a:gd name="T61" fmla="*/ 108 h 359"/>
              <a:gd name="T62" fmla="*/ 90 w 303"/>
              <a:gd name="T63" fmla="*/ 95 h 359"/>
              <a:gd name="T64" fmla="*/ 99 w 303"/>
              <a:gd name="T65" fmla="*/ 74 h 359"/>
              <a:gd name="T66" fmla="*/ 115 w 303"/>
              <a:gd name="T67" fmla="*/ 57 h 359"/>
              <a:gd name="T68" fmla="*/ 137 w 303"/>
              <a:gd name="T69" fmla="*/ 48 h 359"/>
              <a:gd name="T70" fmla="*/ 150 w 303"/>
              <a:gd name="T71" fmla="*/ 47 h 359"/>
              <a:gd name="T72" fmla="*/ 174 w 303"/>
              <a:gd name="T73" fmla="*/ 51 h 359"/>
              <a:gd name="T74" fmla="*/ 193 w 303"/>
              <a:gd name="T75" fmla="*/ 65 h 359"/>
              <a:gd name="T76" fmla="*/ 206 w 303"/>
              <a:gd name="T77" fmla="*/ 84 h 359"/>
              <a:gd name="T78" fmla="*/ 211 w 303"/>
              <a:gd name="T79" fmla="*/ 108 h 359"/>
              <a:gd name="T80" fmla="*/ 88 w 303"/>
              <a:gd name="T81" fmla="*/ 165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03" h="359">
                <a:moveTo>
                  <a:pt x="280" y="165"/>
                </a:moveTo>
                <a:lnTo>
                  <a:pt x="257" y="165"/>
                </a:lnTo>
                <a:lnTo>
                  <a:pt x="257" y="108"/>
                </a:lnTo>
                <a:lnTo>
                  <a:pt x="257" y="108"/>
                </a:lnTo>
                <a:lnTo>
                  <a:pt x="257" y="97"/>
                </a:lnTo>
                <a:lnTo>
                  <a:pt x="255" y="86"/>
                </a:lnTo>
                <a:lnTo>
                  <a:pt x="252" y="76"/>
                </a:lnTo>
                <a:lnTo>
                  <a:pt x="248" y="66"/>
                </a:lnTo>
                <a:lnTo>
                  <a:pt x="244" y="56"/>
                </a:lnTo>
                <a:lnTo>
                  <a:pt x="238" y="48"/>
                </a:lnTo>
                <a:lnTo>
                  <a:pt x="233" y="40"/>
                </a:lnTo>
                <a:lnTo>
                  <a:pt x="225" y="33"/>
                </a:lnTo>
                <a:lnTo>
                  <a:pt x="218" y="25"/>
                </a:lnTo>
                <a:lnTo>
                  <a:pt x="209" y="19"/>
                </a:lnTo>
                <a:lnTo>
                  <a:pt x="201" y="13"/>
                </a:lnTo>
                <a:lnTo>
                  <a:pt x="191" y="9"/>
                </a:lnTo>
                <a:lnTo>
                  <a:pt x="181" y="6"/>
                </a:lnTo>
                <a:lnTo>
                  <a:pt x="171" y="3"/>
                </a:lnTo>
                <a:lnTo>
                  <a:pt x="161" y="2"/>
                </a:lnTo>
                <a:lnTo>
                  <a:pt x="150" y="0"/>
                </a:lnTo>
                <a:lnTo>
                  <a:pt x="150" y="0"/>
                </a:lnTo>
                <a:lnTo>
                  <a:pt x="139" y="2"/>
                </a:lnTo>
                <a:lnTo>
                  <a:pt x="128" y="3"/>
                </a:lnTo>
                <a:lnTo>
                  <a:pt x="118" y="6"/>
                </a:lnTo>
                <a:lnTo>
                  <a:pt x="108" y="9"/>
                </a:lnTo>
                <a:lnTo>
                  <a:pt x="98" y="13"/>
                </a:lnTo>
                <a:lnTo>
                  <a:pt x="90" y="19"/>
                </a:lnTo>
                <a:lnTo>
                  <a:pt x="82" y="25"/>
                </a:lnTo>
                <a:lnTo>
                  <a:pt x="74" y="33"/>
                </a:lnTo>
                <a:lnTo>
                  <a:pt x="67" y="40"/>
                </a:lnTo>
                <a:lnTo>
                  <a:pt x="60" y="48"/>
                </a:lnTo>
                <a:lnTo>
                  <a:pt x="55" y="56"/>
                </a:lnTo>
                <a:lnTo>
                  <a:pt x="51" y="66"/>
                </a:lnTo>
                <a:lnTo>
                  <a:pt x="48" y="76"/>
                </a:lnTo>
                <a:lnTo>
                  <a:pt x="44" y="86"/>
                </a:lnTo>
                <a:lnTo>
                  <a:pt x="43" y="97"/>
                </a:lnTo>
                <a:lnTo>
                  <a:pt x="42" y="108"/>
                </a:lnTo>
                <a:lnTo>
                  <a:pt x="42" y="165"/>
                </a:lnTo>
                <a:lnTo>
                  <a:pt x="0" y="165"/>
                </a:lnTo>
                <a:lnTo>
                  <a:pt x="0" y="337"/>
                </a:lnTo>
                <a:lnTo>
                  <a:pt x="0" y="337"/>
                </a:lnTo>
                <a:lnTo>
                  <a:pt x="1" y="341"/>
                </a:lnTo>
                <a:lnTo>
                  <a:pt x="2" y="345"/>
                </a:lnTo>
                <a:lnTo>
                  <a:pt x="4" y="350"/>
                </a:lnTo>
                <a:lnTo>
                  <a:pt x="8" y="353"/>
                </a:lnTo>
                <a:lnTo>
                  <a:pt x="11" y="355"/>
                </a:lnTo>
                <a:lnTo>
                  <a:pt x="14" y="357"/>
                </a:lnTo>
                <a:lnTo>
                  <a:pt x="18" y="359"/>
                </a:lnTo>
                <a:lnTo>
                  <a:pt x="24" y="359"/>
                </a:lnTo>
                <a:lnTo>
                  <a:pt x="303" y="359"/>
                </a:lnTo>
                <a:lnTo>
                  <a:pt x="303" y="187"/>
                </a:lnTo>
                <a:lnTo>
                  <a:pt x="303" y="187"/>
                </a:lnTo>
                <a:lnTo>
                  <a:pt x="302" y="183"/>
                </a:lnTo>
                <a:lnTo>
                  <a:pt x="301" y="179"/>
                </a:lnTo>
                <a:lnTo>
                  <a:pt x="299" y="175"/>
                </a:lnTo>
                <a:lnTo>
                  <a:pt x="297" y="171"/>
                </a:lnTo>
                <a:lnTo>
                  <a:pt x="292" y="169"/>
                </a:lnTo>
                <a:lnTo>
                  <a:pt x="289" y="167"/>
                </a:lnTo>
                <a:lnTo>
                  <a:pt x="285" y="165"/>
                </a:lnTo>
                <a:lnTo>
                  <a:pt x="280" y="165"/>
                </a:lnTo>
                <a:lnTo>
                  <a:pt x="280" y="165"/>
                </a:lnTo>
                <a:close/>
                <a:moveTo>
                  <a:pt x="88" y="108"/>
                </a:moveTo>
                <a:lnTo>
                  <a:pt x="88" y="108"/>
                </a:lnTo>
                <a:lnTo>
                  <a:pt x="90" y="95"/>
                </a:lnTo>
                <a:lnTo>
                  <a:pt x="93" y="84"/>
                </a:lnTo>
                <a:lnTo>
                  <a:pt x="99" y="74"/>
                </a:lnTo>
                <a:lnTo>
                  <a:pt x="107" y="65"/>
                </a:lnTo>
                <a:lnTo>
                  <a:pt x="115" y="57"/>
                </a:lnTo>
                <a:lnTo>
                  <a:pt x="126" y="51"/>
                </a:lnTo>
                <a:lnTo>
                  <a:pt x="137" y="48"/>
                </a:lnTo>
                <a:lnTo>
                  <a:pt x="150" y="47"/>
                </a:lnTo>
                <a:lnTo>
                  <a:pt x="150" y="47"/>
                </a:lnTo>
                <a:lnTo>
                  <a:pt x="162" y="48"/>
                </a:lnTo>
                <a:lnTo>
                  <a:pt x="174" y="51"/>
                </a:lnTo>
                <a:lnTo>
                  <a:pt x="184" y="57"/>
                </a:lnTo>
                <a:lnTo>
                  <a:pt x="193" y="65"/>
                </a:lnTo>
                <a:lnTo>
                  <a:pt x="201" y="74"/>
                </a:lnTo>
                <a:lnTo>
                  <a:pt x="206" y="84"/>
                </a:lnTo>
                <a:lnTo>
                  <a:pt x="209" y="95"/>
                </a:lnTo>
                <a:lnTo>
                  <a:pt x="211" y="108"/>
                </a:lnTo>
                <a:lnTo>
                  <a:pt x="211" y="165"/>
                </a:lnTo>
                <a:lnTo>
                  <a:pt x="88" y="165"/>
                </a:lnTo>
                <a:lnTo>
                  <a:pt x="88" y="108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88" name="Group 87"/>
          <p:cNvGrpSpPr/>
          <p:nvPr/>
        </p:nvGrpSpPr>
        <p:grpSpPr>
          <a:xfrm rot="5400000" flipH="1">
            <a:off x="1359432" y="3036815"/>
            <a:ext cx="4195106" cy="1639480"/>
            <a:chOff x="1013273" y="1065562"/>
            <a:chExt cx="10150996" cy="3487508"/>
          </a:xfrm>
        </p:grpSpPr>
        <p:grpSp>
          <p:nvGrpSpPr>
            <p:cNvPr id="89" name="Group 88"/>
            <p:cNvGrpSpPr/>
            <p:nvPr/>
          </p:nvGrpSpPr>
          <p:grpSpPr>
            <a:xfrm>
              <a:off x="7386242" y="1065562"/>
              <a:ext cx="3778027" cy="3487508"/>
              <a:chOff x="823262" y="2395110"/>
              <a:chExt cx="1914328" cy="2002986"/>
            </a:xfrm>
          </p:grpSpPr>
          <p:sp>
            <p:nvSpPr>
              <p:cNvPr id="118" name="Round Diagonal Corner Rectangle 117"/>
              <p:cNvSpPr/>
              <p:nvPr/>
            </p:nvSpPr>
            <p:spPr>
              <a:xfrm>
                <a:off x="823262" y="2395110"/>
                <a:ext cx="1914328" cy="2002986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grpSp>
            <p:nvGrpSpPr>
              <p:cNvPr id="119" name="Group 118"/>
              <p:cNvGrpSpPr/>
              <p:nvPr/>
            </p:nvGrpSpPr>
            <p:grpSpPr>
              <a:xfrm>
                <a:off x="904258" y="2491861"/>
                <a:ext cx="1752336" cy="1809484"/>
                <a:chOff x="884969" y="2458561"/>
                <a:chExt cx="1752336" cy="1809484"/>
              </a:xfrm>
            </p:grpSpPr>
            <p:grpSp>
              <p:nvGrpSpPr>
                <p:cNvPr id="120" name="Group 119"/>
                <p:cNvGrpSpPr/>
                <p:nvPr/>
              </p:nvGrpSpPr>
              <p:grpSpPr>
                <a:xfrm>
                  <a:off x="884969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1" name="Group 120"/>
                <p:cNvGrpSpPr/>
                <p:nvPr/>
              </p:nvGrpSpPr>
              <p:grpSpPr>
                <a:xfrm>
                  <a:off x="1333755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2" name="Group 121"/>
                <p:cNvGrpSpPr/>
                <p:nvPr/>
              </p:nvGrpSpPr>
              <p:grpSpPr>
                <a:xfrm>
                  <a:off x="1782540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3" name="Group 122"/>
                <p:cNvGrpSpPr/>
                <p:nvPr/>
              </p:nvGrpSpPr>
              <p:grpSpPr>
                <a:xfrm>
                  <a:off x="2231325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6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6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4" name="Group 123"/>
                <p:cNvGrpSpPr/>
                <p:nvPr/>
              </p:nvGrpSpPr>
              <p:grpSpPr>
                <a:xfrm>
                  <a:off x="884969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5" name="Group 124"/>
                <p:cNvGrpSpPr/>
                <p:nvPr/>
              </p:nvGrpSpPr>
              <p:grpSpPr>
                <a:xfrm>
                  <a:off x="1333755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6" name="Group 125"/>
                <p:cNvGrpSpPr/>
                <p:nvPr/>
              </p:nvGrpSpPr>
              <p:grpSpPr>
                <a:xfrm>
                  <a:off x="1782540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7" name="Group 126"/>
                <p:cNvGrpSpPr/>
                <p:nvPr/>
              </p:nvGrpSpPr>
              <p:grpSpPr>
                <a:xfrm>
                  <a:off x="2231325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8" name="Group 127"/>
                <p:cNvGrpSpPr/>
                <p:nvPr/>
              </p:nvGrpSpPr>
              <p:grpSpPr>
                <a:xfrm>
                  <a:off x="884969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5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5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9" name="Group 128"/>
                <p:cNvGrpSpPr/>
                <p:nvPr/>
              </p:nvGrpSpPr>
              <p:grpSpPr>
                <a:xfrm>
                  <a:off x="1333755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0" name="Group 129"/>
                <p:cNvGrpSpPr/>
                <p:nvPr/>
              </p:nvGrpSpPr>
              <p:grpSpPr>
                <a:xfrm>
                  <a:off x="1782540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1" name="Group 130"/>
                <p:cNvGrpSpPr/>
                <p:nvPr/>
              </p:nvGrpSpPr>
              <p:grpSpPr>
                <a:xfrm>
                  <a:off x="2231325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2" name="Group 131"/>
                <p:cNvGrpSpPr/>
                <p:nvPr/>
              </p:nvGrpSpPr>
              <p:grpSpPr>
                <a:xfrm>
                  <a:off x="884969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3" name="Group 132"/>
                <p:cNvGrpSpPr/>
                <p:nvPr/>
              </p:nvGrpSpPr>
              <p:grpSpPr>
                <a:xfrm>
                  <a:off x="1333755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4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4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4" name="Group 133"/>
                <p:cNvGrpSpPr/>
                <p:nvPr/>
              </p:nvGrpSpPr>
              <p:grpSpPr>
                <a:xfrm>
                  <a:off x="1782540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3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3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5" name="Group 134"/>
                <p:cNvGrpSpPr/>
                <p:nvPr/>
              </p:nvGrpSpPr>
              <p:grpSpPr>
                <a:xfrm>
                  <a:off x="2231325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13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13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</p:grpSp>
        </p:grpSp>
        <p:grpSp>
          <p:nvGrpSpPr>
            <p:cNvPr id="90" name="Group 89"/>
            <p:cNvGrpSpPr/>
            <p:nvPr/>
          </p:nvGrpSpPr>
          <p:grpSpPr>
            <a:xfrm>
              <a:off x="1013273" y="1065562"/>
              <a:ext cx="3778027" cy="3487508"/>
              <a:chOff x="1495490" y="1832272"/>
              <a:chExt cx="1914328" cy="2002986"/>
            </a:xfrm>
          </p:grpSpPr>
          <p:sp>
            <p:nvSpPr>
              <p:cNvPr id="96" name="Round Diagonal Corner Rectangle 95"/>
              <p:cNvSpPr/>
              <p:nvPr/>
            </p:nvSpPr>
            <p:spPr>
              <a:xfrm>
                <a:off x="1495490" y="1832272"/>
                <a:ext cx="1914328" cy="2002986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grpSp>
            <p:nvGrpSpPr>
              <p:cNvPr id="97" name="Group 96"/>
              <p:cNvGrpSpPr/>
              <p:nvPr/>
            </p:nvGrpSpPr>
            <p:grpSpPr>
              <a:xfrm>
                <a:off x="1571547" y="1947128"/>
                <a:ext cx="1762214" cy="1773274"/>
                <a:chOff x="1576486" y="1934992"/>
                <a:chExt cx="1762214" cy="1773274"/>
              </a:xfrm>
            </p:grpSpPr>
            <p:grpSp>
              <p:nvGrpSpPr>
                <p:cNvPr id="98" name="Group 97"/>
                <p:cNvGrpSpPr/>
                <p:nvPr/>
              </p:nvGrpSpPr>
              <p:grpSpPr>
                <a:xfrm>
                  <a:off x="1576486" y="1934992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114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5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6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7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99" name="Group 98"/>
                <p:cNvGrpSpPr/>
                <p:nvPr/>
              </p:nvGrpSpPr>
              <p:grpSpPr>
                <a:xfrm>
                  <a:off x="1576486" y="2390757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110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1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2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13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00" name="Group 99"/>
                <p:cNvGrpSpPr/>
                <p:nvPr/>
              </p:nvGrpSpPr>
              <p:grpSpPr>
                <a:xfrm>
                  <a:off x="1576486" y="2846522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106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7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8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9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01" name="Group 100"/>
                <p:cNvGrpSpPr/>
                <p:nvPr/>
              </p:nvGrpSpPr>
              <p:grpSpPr>
                <a:xfrm>
                  <a:off x="1576486" y="3302286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102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3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4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105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</p:grpSp>
        </p:grpSp>
        <p:cxnSp>
          <p:nvCxnSpPr>
            <p:cNvPr id="91" name="Straight Connector 90"/>
            <p:cNvCxnSpPr/>
            <p:nvPr/>
          </p:nvCxnSpPr>
          <p:spPr>
            <a:xfrm>
              <a:off x="4791301" y="2809316"/>
              <a:ext cx="520167" cy="0"/>
            </a:xfrm>
            <a:prstGeom prst="line">
              <a:avLst/>
            </a:prstGeom>
            <a:ln w="5715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/>
            <p:cNvCxnSpPr/>
            <p:nvPr/>
          </p:nvCxnSpPr>
          <p:spPr>
            <a:xfrm>
              <a:off x="6823935" y="2809316"/>
              <a:ext cx="562308" cy="0"/>
            </a:xfrm>
            <a:prstGeom prst="line">
              <a:avLst/>
            </a:prstGeom>
            <a:ln w="5715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3" name="Group 92"/>
            <p:cNvGrpSpPr/>
            <p:nvPr/>
          </p:nvGrpSpPr>
          <p:grpSpPr>
            <a:xfrm>
              <a:off x="5311467" y="2111233"/>
              <a:ext cx="1512467" cy="1396163"/>
              <a:chOff x="3984638" y="1583425"/>
              <a:chExt cx="1134646" cy="1047122"/>
            </a:xfrm>
          </p:grpSpPr>
          <p:sp>
            <p:nvSpPr>
              <p:cNvPr id="94" name="Round Diagonal Corner Rectangle 93"/>
              <p:cNvSpPr/>
              <p:nvPr/>
            </p:nvSpPr>
            <p:spPr>
              <a:xfrm>
                <a:off x="3984638" y="1583425"/>
                <a:ext cx="1134646" cy="1047122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sp>
            <p:nvSpPr>
              <p:cNvPr id="95" name="Freeform 94"/>
              <p:cNvSpPr/>
              <p:nvPr/>
            </p:nvSpPr>
            <p:spPr>
              <a:xfrm>
                <a:off x="4108954" y="1693740"/>
                <a:ext cx="875235" cy="826492"/>
              </a:xfrm>
              <a:custGeom>
                <a:avLst/>
                <a:gdLst>
                  <a:gd name="connsiteX0" fmla="*/ 437712 w 875235"/>
                  <a:gd name="connsiteY0" fmla="*/ 753602 h 826492"/>
                  <a:gd name="connsiteX1" fmla="*/ 414852 w 875235"/>
                  <a:gd name="connsiteY1" fmla="*/ 776462 h 826492"/>
                  <a:gd name="connsiteX2" fmla="*/ 437712 w 875235"/>
                  <a:gd name="connsiteY2" fmla="*/ 799322 h 826492"/>
                  <a:gd name="connsiteX3" fmla="*/ 460572 w 875235"/>
                  <a:gd name="connsiteY3" fmla="*/ 776462 h 826492"/>
                  <a:gd name="connsiteX4" fmla="*/ 437712 w 875235"/>
                  <a:gd name="connsiteY4" fmla="*/ 753602 h 826492"/>
                  <a:gd name="connsiteX5" fmla="*/ 488486 w 875235"/>
                  <a:gd name="connsiteY5" fmla="*/ 726187 h 826492"/>
                  <a:gd name="connsiteX6" fmla="*/ 465626 w 875235"/>
                  <a:gd name="connsiteY6" fmla="*/ 749047 h 826492"/>
                  <a:gd name="connsiteX7" fmla="*/ 488486 w 875235"/>
                  <a:gd name="connsiteY7" fmla="*/ 771907 h 826492"/>
                  <a:gd name="connsiteX8" fmla="*/ 511346 w 875235"/>
                  <a:gd name="connsiteY8" fmla="*/ 749047 h 826492"/>
                  <a:gd name="connsiteX9" fmla="*/ 488486 w 875235"/>
                  <a:gd name="connsiteY9" fmla="*/ 726187 h 826492"/>
                  <a:gd name="connsiteX10" fmla="*/ 386938 w 875235"/>
                  <a:gd name="connsiteY10" fmla="*/ 726187 h 826492"/>
                  <a:gd name="connsiteX11" fmla="*/ 364078 w 875235"/>
                  <a:gd name="connsiteY11" fmla="*/ 749047 h 826492"/>
                  <a:gd name="connsiteX12" fmla="*/ 386938 w 875235"/>
                  <a:gd name="connsiteY12" fmla="*/ 771907 h 826492"/>
                  <a:gd name="connsiteX13" fmla="*/ 409798 w 875235"/>
                  <a:gd name="connsiteY13" fmla="*/ 749047 h 826492"/>
                  <a:gd name="connsiteX14" fmla="*/ 386938 w 875235"/>
                  <a:gd name="connsiteY14" fmla="*/ 726187 h 826492"/>
                  <a:gd name="connsiteX15" fmla="*/ 437712 w 875235"/>
                  <a:gd name="connsiteY15" fmla="*/ 696400 h 826492"/>
                  <a:gd name="connsiteX16" fmla="*/ 414852 w 875235"/>
                  <a:gd name="connsiteY16" fmla="*/ 719260 h 826492"/>
                  <a:gd name="connsiteX17" fmla="*/ 437712 w 875235"/>
                  <a:gd name="connsiteY17" fmla="*/ 742120 h 826492"/>
                  <a:gd name="connsiteX18" fmla="*/ 460572 w 875235"/>
                  <a:gd name="connsiteY18" fmla="*/ 719260 h 826492"/>
                  <a:gd name="connsiteX19" fmla="*/ 437712 w 875235"/>
                  <a:gd name="connsiteY19" fmla="*/ 696400 h 826492"/>
                  <a:gd name="connsiteX20" fmla="*/ 488486 w 875235"/>
                  <a:gd name="connsiteY20" fmla="*/ 665784 h 826492"/>
                  <a:gd name="connsiteX21" fmla="*/ 465626 w 875235"/>
                  <a:gd name="connsiteY21" fmla="*/ 688644 h 826492"/>
                  <a:gd name="connsiteX22" fmla="*/ 488486 w 875235"/>
                  <a:gd name="connsiteY22" fmla="*/ 711504 h 826492"/>
                  <a:gd name="connsiteX23" fmla="*/ 511346 w 875235"/>
                  <a:gd name="connsiteY23" fmla="*/ 688644 h 826492"/>
                  <a:gd name="connsiteX24" fmla="*/ 488486 w 875235"/>
                  <a:gd name="connsiteY24" fmla="*/ 665784 h 826492"/>
                  <a:gd name="connsiteX25" fmla="*/ 386938 w 875235"/>
                  <a:gd name="connsiteY25" fmla="*/ 665784 h 826492"/>
                  <a:gd name="connsiteX26" fmla="*/ 364078 w 875235"/>
                  <a:gd name="connsiteY26" fmla="*/ 688644 h 826492"/>
                  <a:gd name="connsiteX27" fmla="*/ 386938 w 875235"/>
                  <a:gd name="connsiteY27" fmla="*/ 711504 h 826492"/>
                  <a:gd name="connsiteX28" fmla="*/ 409798 w 875235"/>
                  <a:gd name="connsiteY28" fmla="*/ 688644 h 826492"/>
                  <a:gd name="connsiteX29" fmla="*/ 386938 w 875235"/>
                  <a:gd name="connsiteY29" fmla="*/ 665784 h 826492"/>
                  <a:gd name="connsiteX30" fmla="*/ 437712 w 875235"/>
                  <a:gd name="connsiteY30" fmla="*/ 639199 h 826492"/>
                  <a:gd name="connsiteX31" fmla="*/ 414852 w 875235"/>
                  <a:gd name="connsiteY31" fmla="*/ 662059 h 826492"/>
                  <a:gd name="connsiteX32" fmla="*/ 437712 w 875235"/>
                  <a:gd name="connsiteY32" fmla="*/ 684919 h 826492"/>
                  <a:gd name="connsiteX33" fmla="*/ 460572 w 875235"/>
                  <a:gd name="connsiteY33" fmla="*/ 662059 h 826492"/>
                  <a:gd name="connsiteX34" fmla="*/ 437712 w 875235"/>
                  <a:gd name="connsiteY34" fmla="*/ 639199 h 826492"/>
                  <a:gd name="connsiteX35" fmla="*/ 765165 w 875235"/>
                  <a:gd name="connsiteY35" fmla="*/ 449417 h 826492"/>
                  <a:gd name="connsiteX36" fmla="*/ 742305 w 875235"/>
                  <a:gd name="connsiteY36" fmla="*/ 472277 h 826492"/>
                  <a:gd name="connsiteX37" fmla="*/ 765165 w 875235"/>
                  <a:gd name="connsiteY37" fmla="*/ 495137 h 826492"/>
                  <a:gd name="connsiteX38" fmla="*/ 788025 w 875235"/>
                  <a:gd name="connsiteY38" fmla="*/ 472277 h 826492"/>
                  <a:gd name="connsiteX39" fmla="*/ 765165 w 875235"/>
                  <a:gd name="connsiteY39" fmla="*/ 449417 h 826492"/>
                  <a:gd name="connsiteX40" fmla="*/ 437712 w 875235"/>
                  <a:gd name="connsiteY40" fmla="*/ 449417 h 826492"/>
                  <a:gd name="connsiteX41" fmla="*/ 414852 w 875235"/>
                  <a:gd name="connsiteY41" fmla="*/ 472277 h 826492"/>
                  <a:gd name="connsiteX42" fmla="*/ 437712 w 875235"/>
                  <a:gd name="connsiteY42" fmla="*/ 495137 h 826492"/>
                  <a:gd name="connsiteX43" fmla="*/ 460572 w 875235"/>
                  <a:gd name="connsiteY43" fmla="*/ 472277 h 826492"/>
                  <a:gd name="connsiteX44" fmla="*/ 437712 w 875235"/>
                  <a:gd name="connsiteY44" fmla="*/ 449417 h 826492"/>
                  <a:gd name="connsiteX45" fmla="*/ 104693 w 875235"/>
                  <a:gd name="connsiteY45" fmla="*/ 449417 h 826492"/>
                  <a:gd name="connsiteX46" fmla="*/ 81833 w 875235"/>
                  <a:gd name="connsiteY46" fmla="*/ 472277 h 826492"/>
                  <a:gd name="connsiteX47" fmla="*/ 104693 w 875235"/>
                  <a:gd name="connsiteY47" fmla="*/ 495137 h 826492"/>
                  <a:gd name="connsiteX48" fmla="*/ 127553 w 875235"/>
                  <a:gd name="connsiteY48" fmla="*/ 472277 h 826492"/>
                  <a:gd name="connsiteX49" fmla="*/ 104693 w 875235"/>
                  <a:gd name="connsiteY49" fmla="*/ 449417 h 826492"/>
                  <a:gd name="connsiteX50" fmla="*/ 815266 w 875235"/>
                  <a:gd name="connsiteY50" fmla="*/ 425491 h 826492"/>
                  <a:gd name="connsiteX51" fmla="*/ 792406 w 875235"/>
                  <a:gd name="connsiteY51" fmla="*/ 448351 h 826492"/>
                  <a:gd name="connsiteX52" fmla="*/ 815266 w 875235"/>
                  <a:gd name="connsiteY52" fmla="*/ 471211 h 826492"/>
                  <a:gd name="connsiteX53" fmla="*/ 838126 w 875235"/>
                  <a:gd name="connsiteY53" fmla="*/ 448351 h 826492"/>
                  <a:gd name="connsiteX54" fmla="*/ 815266 w 875235"/>
                  <a:gd name="connsiteY54" fmla="*/ 425491 h 826492"/>
                  <a:gd name="connsiteX55" fmla="*/ 713718 w 875235"/>
                  <a:gd name="connsiteY55" fmla="*/ 425491 h 826492"/>
                  <a:gd name="connsiteX56" fmla="*/ 690858 w 875235"/>
                  <a:gd name="connsiteY56" fmla="*/ 448351 h 826492"/>
                  <a:gd name="connsiteX57" fmla="*/ 713718 w 875235"/>
                  <a:gd name="connsiteY57" fmla="*/ 471211 h 826492"/>
                  <a:gd name="connsiteX58" fmla="*/ 736578 w 875235"/>
                  <a:gd name="connsiteY58" fmla="*/ 448351 h 826492"/>
                  <a:gd name="connsiteX59" fmla="*/ 713718 w 875235"/>
                  <a:gd name="connsiteY59" fmla="*/ 425491 h 826492"/>
                  <a:gd name="connsiteX60" fmla="*/ 488486 w 875235"/>
                  <a:gd name="connsiteY60" fmla="*/ 425491 h 826492"/>
                  <a:gd name="connsiteX61" fmla="*/ 465626 w 875235"/>
                  <a:gd name="connsiteY61" fmla="*/ 448351 h 826492"/>
                  <a:gd name="connsiteX62" fmla="*/ 488486 w 875235"/>
                  <a:gd name="connsiteY62" fmla="*/ 471211 h 826492"/>
                  <a:gd name="connsiteX63" fmla="*/ 511346 w 875235"/>
                  <a:gd name="connsiteY63" fmla="*/ 448351 h 826492"/>
                  <a:gd name="connsiteX64" fmla="*/ 488486 w 875235"/>
                  <a:gd name="connsiteY64" fmla="*/ 425491 h 826492"/>
                  <a:gd name="connsiteX65" fmla="*/ 386938 w 875235"/>
                  <a:gd name="connsiteY65" fmla="*/ 425491 h 826492"/>
                  <a:gd name="connsiteX66" fmla="*/ 364078 w 875235"/>
                  <a:gd name="connsiteY66" fmla="*/ 448351 h 826492"/>
                  <a:gd name="connsiteX67" fmla="*/ 386938 w 875235"/>
                  <a:gd name="connsiteY67" fmla="*/ 471211 h 826492"/>
                  <a:gd name="connsiteX68" fmla="*/ 409798 w 875235"/>
                  <a:gd name="connsiteY68" fmla="*/ 448351 h 826492"/>
                  <a:gd name="connsiteX69" fmla="*/ 386938 w 875235"/>
                  <a:gd name="connsiteY69" fmla="*/ 425491 h 826492"/>
                  <a:gd name="connsiteX70" fmla="*/ 160771 w 875235"/>
                  <a:gd name="connsiteY70" fmla="*/ 425491 h 826492"/>
                  <a:gd name="connsiteX71" fmla="*/ 137911 w 875235"/>
                  <a:gd name="connsiteY71" fmla="*/ 448351 h 826492"/>
                  <a:gd name="connsiteX72" fmla="*/ 160771 w 875235"/>
                  <a:gd name="connsiteY72" fmla="*/ 471211 h 826492"/>
                  <a:gd name="connsiteX73" fmla="*/ 183631 w 875235"/>
                  <a:gd name="connsiteY73" fmla="*/ 448351 h 826492"/>
                  <a:gd name="connsiteX74" fmla="*/ 160771 w 875235"/>
                  <a:gd name="connsiteY74" fmla="*/ 425491 h 826492"/>
                  <a:gd name="connsiteX75" fmla="*/ 59223 w 875235"/>
                  <a:gd name="connsiteY75" fmla="*/ 425491 h 826492"/>
                  <a:gd name="connsiteX76" fmla="*/ 36363 w 875235"/>
                  <a:gd name="connsiteY76" fmla="*/ 448351 h 826492"/>
                  <a:gd name="connsiteX77" fmla="*/ 59223 w 875235"/>
                  <a:gd name="connsiteY77" fmla="*/ 471211 h 826492"/>
                  <a:gd name="connsiteX78" fmla="*/ 82083 w 875235"/>
                  <a:gd name="connsiteY78" fmla="*/ 448351 h 826492"/>
                  <a:gd name="connsiteX79" fmla="*/ 59223 w 875235"/>
                  <a:gd name="connsiteY79" fmla="*/ 425491 h 826492"/>
                  <a:gd name="connsiteX80" fmla="*/ 763819 w 875235"/>
                  <a:gd name="connsiteY80" fmla="*/ 393660 h 826492"/>
                  <a:gd name="connsiteX81" fmla="*/ 740959 w 875235"/>
                  <a:gd name="connsiteY81" fmla="*/ 416520 h 826492"/>
                  <a:gd name="connsiteX82" fmla="*/ 763819 w 875235"/>
                  <a:gd name="connsiteY82" fmla="*/ 439380 h 826492"/>
                  <a:gd name="connsiteX83" fmla="*/ 786679 w 875235"/>
                  <a:gd name="connsiteY83" fmla="*/ 416520 h 826492"/>
                  <a:gd name="connsiteX84" fmla="*/ 763819 w 875235"/>
                  <a:gd name="connsiteY84" fmla="*/ 393660 h 826492"/>
                  <a:gd name="connsiteX85" fmla="*/ 437712 w 875235"/>
                  <a:gd name="connsiteY85" fmla="*/ 393660 h 826492"/>
                  <a:gd name="connsiteX86" fmla="*/ 414852 w 875235"/>
                  <a:gd name="connsiteY86" fmla="*/ 416520 h 826492"/>
                  <a:gd name="connsiteX87" fmla="*/ 437712 w 875235"/>
                  <a:gd name="connsiteY87" fmla="*/ 439380 h 826492"/>
                  <a:gd name="connsiteX88" fmla="*/ 460572 w 875235"/>
                  <a:gd name="connsiteY88" fmla="*/ 416520 h 826492"/>
                  <a:gd name="connsiteX89" fmla="*/ 437712 w 875235"/>
                  <a:gd name="connsiteY89" fmla="*/ 393660 h 826492"/>
                  <a:gd name="connsiteX90" fmla="*/ 104266 w 875235"/>
                  <a:gd name="connsiteY90" fmla="*/ 393660 h 826492"/>
                  <a:gd name="connsiteX91" fmla="*/ 81406 w 875235"/>
                  <a:gd name="connsiteY91" fmla="*/ 416520 h 826492"/>
                  <a:gd name="connsiteX92" fmla="*/ 104266 w 875235"/>
                  <a:gd name="connsiteY92" fmla="*/ 439380 h 826492"/>
                  <a:gd name="connsiteX93" fmla="*/ 127126 w 875235"/>
                  <a:gd name="connsiteY93" fmla="*/ 416520 h 826492"/>
                  <a:gd name="connsiteX94" fmla="*/ 104266 w 875235"/>
                  <a:gd name="connsiteY94" fmla="*/ 393660 h 826492"/>
                  <a:gd name="connsiteX95" fmla="*/ 815266 w 875235"/>
                  <a:gd name="connsiteY95" fmla="*/ 365088 h 826492"/>
                  <a:gd name="connsiteX96" fmla="*/ 792406 w 875235"/>
                  <a:gd name="connsiteY96" fmla="*/ 387948 h 826492"/>
                  <a:gd name="connsiteX97" fmla="*/ 815266 w 875235"/>
                  <a:gd name="connsiteY97" fmla="*/ 410808 h 826492"/>
                  <a:gd name="connsiteX98" fmla="*/ 838126 w 875235"/>
                  <a:gd name="connsiteY98" fmla="*/ 387948 h 826492"/>
                  <a:gd name="connsiteX99" fmla="*/ 815266 w 875235"/>
                  <a:gd name="connsiteY99" fmla="*/ 365088 h 826492"/>
                  <a:gd name="connsiteX100" fmla="*/ 713718 w 875235"/>
                  <a:gd name="connsiteY100" fmla="*/ 365088 h 826492"/>
                  <a:gd name="connsiteX101" fmla="*/ 690858 w 875235"/>
                  <a:gd name="connsiteY101" fmla="*/ 387948 h 826492"/>
                  <a:gd name="connsiteX102" fmla="*/ 713718 w 875235"/>
                  <a:gd name="connsiteY102" fmla="*/ 410808 h 826492"/>
                  <a:gd name="connsiteX103" fmla="*/ 736578 w 875235"/>
                  <a:gd name="connsiteY103" fmla="*/ 387948 h 826492"/>
                  <a:gd name="connsiteX104" fmla="*/ 713718 w 875235"/>
                  <a:gd name="connsiteY104" fmla="*/ 365088 h 826492"/>
                  <a:gd name="connsiteX105" fmla="*/ 488486 w 875235"/>
                  <a:gd name="connsiteY105" fmla="*/ 365088 h 826492"/>
                  <a:gd name="connsiteX106" fmla="*/ 465626 w 875235"/>
                  <a:gd name="connsiteY106" fmla="*/ 387948 h 826492"/>
                  <a:gd name="connsiteX107" fmla="*/ 488486 w 875235"/>
                  <a:gd name="connsiteY107" fmla="*/ 410808 h 826492"/>
                  <a:gd name="connsiteX108" fmla="*/ 511346 w 875235"/>
                  <a:gd name="connsiteY108" fmla="*/ 387948 h 826492"/>
                  <a:gd name="connsiteX109" fmla="*/ 488486 w 875235"/>
                  <a:gd name="connsiteY109" fmla="*/ 365088 h 826492"/>
                  <a:gd name="connsiteX110" fmla="*/ 386938 w 875235"/>
                  <a:gd name="connsiteY110" fmla="*/ 365088 h 826492"/>
                  <a:gd name="connsiteX111" fmla="*/ 364078 w 875235"/>
                  <a:gd name="connsiteY111" fmla="*/ 387948 h 826492"/>
                  <a:gd name="connsiteX112" fmla="*/ 386938 w 875235"/>
                  <a:gd name="connsiteY112" fmla="*/ 410808 h 826492"/>
                  <a:gd name="connsiteX113" fmla="*/ 409798 w 875235"/>
                  <a:gd name="connsiteY113" fmla="*/ 387948 h 826492"/>
                  <a:gd name="connsiteX114" fmla="*/ 386938 w 875235"/>
                  <a:gd name="connsiteY114" fmla="*/ 365088 h 826492"/>
                  <a:gd name="connsiteX115" fmla="*/ 160771 w 875235"/>
                  <a:gd name="connsiteY115" fmla="*/ 365088 h 826492"/>
                  <a:gd name="connsiteX116" fmla="*/ 137911 w 875235"/>
                  <a:gd name="connsiteY116" fmla="*/ 387948 h 826492"/>
                  <a:gd name="connsiteX117" fmla="*/ 160771 w 875235"/>
                  <a:gd name="connsiteY117" fmla="*/ 410808 h 826492"/>
                  <a:gd name="connsiteX118" fmla="*/ 183631 w 875235"/>
                  <a:gd name="connsiteY118" fmla="*/ 387948 h 826492"/>
                  <a:gd name="connsiteX119" fmla="*/ 160771 w 875235"/>
                  <a:gd name="connsiteY119" fmla="*/ 365088 h 826492"/>
                  <a:gd name="connsiteX120" fmla="*/ 59223 w 875235"/>
                  <a:gd name="connsiteY120" fmla="*/ 365088 h 826492"/>
                  <a:gd name="connsiteX121" fmla="*/ 36363 w 875235"/>
                  <a:gd name="connsiteY121" fmla="*/ 387948 h 826492"/>
                  <a:gd name="connsiteX122" fmla="*/ 59223 w 875235"/>
                  <a:gd name="connsiteY122" fmla="*/ 410808 h 826492"/>
                  <a:gd name="connsiteX123" fmla="*/ 82083 w 875235"/>
                  <a:gd name="connsiteY123" fmla="*/ 387948 h 826492"/>
                  <a:gd name="connsiteX124" fmla="*/ 59223 w 875235"/>
                  <a:gd name="connsiteY124" fmla="*/ 365088 h 826492"/>
                  <a:gd name="connsiteX125" fmla="*/ 765165 w 875235"/>
                  <a:gd name="connsiteY125" fmla="*/ 335014 h 826492"/>
                  <a:gd name="connsiteX126" fmla="*/ 742305 w 875235"/>
                  <a:gd name="connsiteY126" fmla="*/ 357874 h 826492"/>
                  <a:gd name="connsiteX127" fmla="*/ 765165 w 875235"/>
                  <a:gd name="connsiteY127" fmla="*/ 380734 h 826492"/>
                  <a:gd name="connsiteX128" fmla="*/ 788025 w 875235"/>
                  <a:gd name="connsiteY128" fmla="*/ 357874 h 826492"/>
                  <a:gd name="connsiteX129" fmla="*/ 765165 w 875235"/>
                  <a:gd name="connsiteY129" fmla="*/ 335014 h 826492"/>
                  <a:gd name="connsiteX130" fmla="*/ 437712 w 875235"/>
                  <a:gd name="connsiteY130" fmla="*/ 335014 h 826492"/>
                  <a:gd name="connsiteX131" fmla="*/ 414852 w 875235"/>
                  <a:gd name="connsiteY131" fmla="*/ 357874 h 826492"/>
                  <a:gd name="connsiteX132" fmla="*/ 437712 w 875235"/>
                  <a:gd name="connsiteY132" fmla="*/ 380734 h 826492"/>
                  <a:gd name="connsiteX133" fmla="*/ 460572 w 875235"/>
                  <a:gd name="connsiteY133" fmla="*/ 357874 h 826492"/>
                  <a:gd name="connsiteX134" fmla="*/ 437712 w 875235"/>
                  <a:gd name="connsiteY134" fmla="*/ 335014 h 826492"/>
                  <a:gd name="connsiteX135" fmla="*/ 104693 w 875235"/>
                  <a:gd name="connsiteY135" fmla="*/ 335014 h 826492"/>
                  <a:gd name="connsiteX136" fmla="*/ 81833 w 875235"/>
                  <a:gd name="connsiteY136" fmla="*/ 357874 h 826492"/>
                  <a:gd name="connsiteX137" fmla="*/ 104693 w 875235"/>
                  <a:gd name="connsiteY137" fmla="*/ 380734 h 826492"/>
                  <a:gd name="connsiteX138" fmla="*/ 127553 w 875235"/>
                  <a:gd name="connsiteY138" fmla="*/ 357874 h 826492"/>
                  <a:gd name="connsiteX139" fmla="*/ 104693 w 875235"/>
                  <a:gd name="connsiteY139" fmla="*/ 335014 h 826492"/>
                  <a:gd name="connsiteX140" fmla="*/ 437712 w 875235"/>
                  <a:gd name="connsiteY140" fmla="*/ 138633 h 826492"/>
                  <a:gd name="connsiteX141" fmla="*/ 414852 w 875235"/>
                  <a:gd name="connsiteY141" fmla="*/ 161493 h 826492"/>
                  <a:gd name="connsiteX142" fmla="*/ 437712 w 875235"/>
                  <a:gd name="connsiteY142" fmla="*/ 184353 h 826492"/>
                  <a:gd name="connsiteX143" fmla="*/ 460572 w 875235"/>
                  <a:gd name="connsiteY143" fmla="*/ 161493 h 826492"/>
                  <a:gd name="connsiteX144" fmla="*/ 437712 w 875235"/>
                  <a:gd name="connsiteY144" fmla="*/ 138633 h 826492"/>
                  <a:gd name="connsiteX145" fmla="*/ 488486 w 875235"/>
                  <a:gd name="connsiteY145" fmla="*/ 113932 h 826492"/>
                  <a:gd name="connsiteX146" fmla="*/ 465626 w 875235"/>
                  <a:gd name="connsiteY146" fmla="*/ 136792 h 826492"/>
                  <a:gd name="connsiteX147" fmla="*/ 488486 w 875235"/>
                  <a:gd name="connsiteY147" fmla="*/ 159652 h 826492"/>
                  <a:gd name="connsiteX148" fmla="*/ 511346 w 875235"/>
                  <a:gd name="connsiteY148" fmla="*/ 136792 h 826492"/>
                  <a:gd name="connsiteX149" fmla="*/ 488486 w 875235"/>
                  <a:gd name="connsiteY149" fmla="*/ 113932 h 826492"/>
                  <a:gd name="connsiteX150" fmla="*/ 386938 w 875235"/>
                  <a:gd name="connsiteY150" fmla="*/ 113932 h 826492"/>
                  <a:gd name="connsiteX151" fmla="*/ 364078 w 875235"/>
                  <a:gd name="connsiteY151" fmla="*/ 136792 h 826492"/>
                  <a:gd name="connsiteX152" fmla="*/ 386938 w 875235"/>
                  <a:gd name="connsiteY152" fmla="*/ 159652 h 826492"/>
                  <a:gd name="connsiteX153" fmla="*/ 409798 w 875235"/>
                  <a:gd name="connsiteY153" fmla="*/ 136792 h 826492"/>
                  <a:gd name="connsiteX154" fmla="*/ 386938 w 875235"/>
                  <a:gd name="connsiteY154" fmla="*/ 113932 h 826492"/>
                  <a:gd name="connsiteX155" fmla="*/ 437712 w 875235"/>
                  <a:gd name="connsiteY155" fmla="*/ 81407 h 826492"/>
                  <a:gd name="connsiteX156" fmla="*/ 414852 w 875235"/>
                  <a:gd name="connsiteY156" fmla="*/ 104267 h 826492"/>
                  <a:gd name="connsiteX157" fmla="*/ 437712 w 875235"/>
                  <a:gd name="connsiteY157" fmla="*/ 127127 h 826492"/>
                  <a:gd name="connsiteX158" fmla="*/ 460572 w 875235"/>
                  <a:gd name="connsiteY158" fmla="*/ 104267 h 826492"/>
                  <a:gd name="connsiteX159" fmla="*/ 437712 w 875235"/>
                  <a:gd name="connsiteY159" fmla="*/ 81407 h 826492"/>
                  <a:gd name="connsiteX160" fmla="*/ 488486 w 875235"/>
                  <a:gd name="connsiteY160" fmla="*/ 53529 h 826492"/>
                  <a:gd name="connsiteX161" fmla="*/ 465626 w 875235"/>
                  <a:gd name="connsiteY161" fmla="*/ 76389 h 826492"/>
                  <a:gd name="connsiteX162" fmla="*/ 488486 w 875235"/>
                  <a:gd name="connsiteY162" fmla="*/ 99249 h 826492"/>
                  <a:gd name="connsiteX163" fmla="*/ 511346 w 875235"/>
                  <a:gd name="connsiteY163" fmla="*/ 76389 h 826492"/>
                  <a:gd name="connsiteX164" fmla="*/ 488486 w 875235"/>
                  <a:gd name="connsiteY164" fmla="*/ 53529 h 826492"/>
                  <a:gd name="connsiteX165" fmla="*/ 386938 w 875235"/>
                  <a:gd name="connsiteY165" fmla="*/ 53529 h 826492"/>
                  <a:gd name="connsiteX166" fmla="*/ 364078 w 875235"/>
                  <a:gd name="connsiteY166" fmla="*/ 76389 h 826492"/>
                  <a:gd name="connsiteX167" fmla="*/ 386938 w 875235"/>
                  <a:gd name="connsiteY167" fmla="*/ 99249 h 826492"/>
                  <a:gd name="connsiteX168" fmla="*/ 409798 w 875235"/>
                  <a:gd name="connsiteY168" fmla="*/ 76389 h 826492"/>
                  <a:gd name="connsiteX169" fmla="*/ 386938 w 875235"/>
                  <a:gd name="connsiteY169" fmla="*/ 53529 h 826492"/>
                  <a:gd name="connsiteX170" fmla="*/ 437712 w 875235"/>
                  <a:gd name="connsiteY170" fmla="*/ 24230 h 826492"/>
                  <a:gd name="connsiteX171" fmla="*/ 414852 w 875235"/>
                  <a:gd name="connsiteY171" fmla="*/ 47090 h 826492"/>
                  <a:gd name="connsiteX172" fmla="*/ 437712 w 875235"/>
                  <a:gd name="connsiteY172" fmla="*/ 69950 h 826492"/>
                  <a:gd name="connsiteX173" fmla="*/ 460572 w 875235"/>
                  <a:gd name="connsiteY173" fmla="*/ 47090 h 826492"/>
                  <a:gd name="connsiteX174" fmla="*/ 437712 w 875235"/>
                  <a:gd name="connsiteY174" fmla="*/ 24230 h 826492"/>
                  <a:gd name="connsiteX175" fmla="*/ 437617 w 875235"/>
                  <a:gd name="connsiteY175" fmla="*/ 0 h 826492"/>
                  <a:gd name="connsiteX176" fmla="*/ 545922 w 875235"/>
                  <a:gd name="connsiteY176" fmla="*/ 108305 h 826492"/>
                  <a:gd name="connsiteX177" fmla="*/ 479774 w 875235"/>
                  <a:gd name="connsiteY177" fmla="*/ 208099 h 826492"/>
                  <a:gd name="connsiteX178" fmla="*/ 477170 w 875235"/>
                  <a:gd name="connsiteY178" fmla="*/ 208624 h 826492"/>
                  <a:gd name="connsiteX179" fmla="*/ 477170 w 875235"/>
                  <a:gd name="connsiteY179" fmla="*/ 312925 h 826492"/>
                  <a:gd name="connsiteX180" fmla="*/ 479774 w 875235"/>
                  <a:gd name="connsiteY180" fmla="*/ 313451 h 826492"/>
                  <a:gd name="connsiteX181" fmla="*/ 537411 w 875235"/>
                  <a:gd name="connsiteY181" fmla="*/ 371087 h 826492"/>
                  <a:gd name="connsiteX182" fmla="*/ 537655 w 875235"/>
                  <a:gd name="connsiteY182" fmla="*/ 372297 h 826492"/>
                  <a:gd name="connsiteX183" fmla="*/ 666891 w 875235"/>
                  <a:gd name="connsiteY183" fmla="*/ 372297 h 826492"/>
                  <a:gd name="connsiteX184" fmla="*/ 667135 w 875235"/>
                  <a:gd name="connsiteY184" fmla="*/ 371088 h 826492"/>
                  <a:gd name="connsiteX185" fmla="*/ 766930 w 875235"/>
                  <a:gd name="connsiteY185" fmla="*/ 304940 h 826492"/>
                  <a:gd name="connsiteX186" fmla="*/ 875235 w 875235"/>
                  <a:gd name="connsiteY186" fmla="*/ 413246 h 826492"/>
                  <a:gd name="connsiteX187" fmla="*/ 766930 w 875235"/>
                  <a:gd name="connsiteY187" fmla="*/ 521551 h 826492"/>
                  <a:gd name="connsiteX188" fmla="*/ 667135 w 875235"/>
                  <a:gd name="connsiteY188" fmla="*/ 455403 h 826492"/>
                  <a:gd name="connsiteX189" fmla="*/ 666328 w 875235"/>
                  <a:gd name="connsiteY189" fmla="*/ 451404 h 826492"/>
                  <a:gd name="connsiteX190" fmla="*/ 538218 w 875235"/>
                  <a:gd name="connsiteY190" fmla="*/ 451404 h 826492"/>
                  <a:gd name="connsiteX191" fmla="*/ 537411 w 875235"/>
                  <a:gd name="connsiteY191" fmla="*/ 455402 h 826492"/>
                  <a:gd name="connsiteX192" fmla="*/ 479774 w 875235"/>
                  <a:gd name="connsiteY192" fmla="*/ 513039 h 826492"/>
                  <a:gd name="connsiteX193" fmla="*/ 477170 w 875235"/>
                  <a:gd name="connsiteY193" fmla="*/ 513565 h 826492"/>
                  <a:gd name="connsiteX194" fmla="*/ 477170 w 875235"/>
                  <a:gd name="connsiteY194" fmla="*/ 617868 h 826492"/>
                  <a:gd name="connsiteX195" fmla="*/ 479774 w 875235"/>
                  <a:gd name="connsiteY195" fmla="*/ 618393 h 826492"/>
                  <a:gd name="connsiteX196" fmla="*/ 545922 w 875235"/>
                  <a:gd name="connsiteY196" fmla="*/ 718187 h 826492"/>
                  <a:gd name="connsiteX197" fmla="*/ 437617 w 875235"/>
                  <a:gd name="connsiteY197" fmla="*/ 826492 h 826492"/>
                  <a:gd name="connsiteX198" fmla="*/ 329312 w 875235"/>
                  <a:gd name="connsiteY198" fmla="*/ 718187 h 826492"/>
                  <a:gd name="connsiteX199" fmla="*/ 395460 w 875235"/>
                  <a:gd name="connsiteY199" fmla="*/ 618393 h 826492"/>
                  <a:gd name="connsiteX200" fmla="*/ 398064 w 875235"/>
                  <a:gd name="connsiteY200" fmla="*/ 617868 h 826492"/>
                  <a:gd name="connsiteX201" fmla="*/ 398064 w 875235"/>
                  <a:gd name="connsiteY201" fmla="*/ 513565 h 826492"/>
                  <a:gd name="connsiteX202" fmla="*/ 395460 w 875235"/>
                  <a:gd name="connsiteY202" fmla="*/ 513039 h 826492"/>
                  <a:gd name="connsiteX203" fmla="*/ 337823 w 875235"/>
                  <a:gd name="connsiteY203" fmla="*/ 455402 h 826492"/>
                  <a:gd name="connsiteX204" fmla="*/ 337016 w 875235"/>
                  <a:gd name="connsiteY204" fmla="*/ 451404 h 826492"/>
                  <a:gd name="connsiteX205" fmla="*/ 208906 w 875235"/>
                  <a:gd name="connsiteY205" fmla="*/ 451404 h 826492"/>
                  <a:gd name="connsiteX206" fmla="*/ 208099 w 875235"/>
                  <a:gd name="connsiteY206" fmla="*/ 455403 h 826492"/>
                  <a:gd name="connsiteX207" fmla="*/ 108305 w 875235"/>
                  <a:gd name="connsiteY207" fmla="*/ 521551 h 826492"/>
                  <a:gd name="connsiteX208" fmla="*/ 0 w 875235"/>
                  <a:gd name="connsiteY208" fmla="*/ 413246 h 826492"/>
                  <a:gd name="connsiteX209" fmla="*/ 108305 w 875235"/>
                  <a:gd name="connsiteY209" fmla="*/ 304940 h 826492"/>
                  <a:gd name="connsiteX210" fmla="*/ 208099 w 875235"/>
                  <a:gd name="connsiteY210" fmla="*/ 371088 h 826492"/>
                  <a:gd name="connsiteX211" fmla="*/ 208343 w 875235"/>
                  <a:gd name="connsiteY211" fmla="*/ 372297 h 826492"/>
                  <a:gd name="connsiteX212" fmla="*/ 337579 w 875235"/>
                  <a:gd name="connsiteY212" fmla="*/ 372297 h 826492"/>
                  <a:gd name="connsiteX213" fmla="*/ 337823 w 875235"/>
                  <a:gd name="connsiteY213" fmla="*/ 371087 h 826492"/>
                  <a:gd name="connsiteX214" fmla="*/ 395460 w 875235"/>
                  <a:gd name="connsiteY214" fmla="*/ 313451 h 826492"/>
                  <a:gd name="connsiteX215" fmla="*/ 398064 w 875235"/>
                  <a:gd name="connsiteY215" fmla="*/ 312925 h 826492"/>
                  <a:gd name="connsiteX216" fmla="*/ 398064 w 875235"/>
                  <a:gd name="connsiteY216" fmla="*/ 208624 h 826492"/>
                  <a:gd name="connsiteX217" fmla="*/ 395460 w 875235"/>
                  <a:gd name="connsiteY217" fmla="*/ 208099 h 826492"/>
                  <a:gd name="connsiteX218" fmla="*/ 329312 w 875235"/>
                  <a:gd name="connsiteY218" fmla="*/ 108305 h 826492"/>
                  <a:gd name="connsiteX219" fmla="*/ 437617 w 875235"/>
                  <a:gd name="connsiteY219" fmla="*/ 0 h 826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875235" h="826492">
                    <a:moveTo>
                      <a:pt x="437712" y="753602"/>
                    </a:moveTo>
                    <a:cubicBezTo>
                      <a:pt x="425087" y="753602"/>
                      <a:pt x="414852" y="763837"/>
                      <a:pt x="414852" y="776462"/>
                    </a:cubicBezTo>
                    <a:cubicBezTo>
                      <a:pt x="414852" y="789087"/>
                      <a:pt x="425087" y="799322"/>
                      <a:pt x="437712" y="799322"/>
                    </a:cubicBezTo>
                    <a:cubicBezTo>
                      <a:pt x="450337" y="799322"/>
                      <a:pt x="460572" y="789087"/>
                      <a:pt x="460572" y="776462"/>
                    </a:cubicBezTo>
                    <a:cubicBezTo>
                      <a:pt x="460572" y="763837"/>
                      <a:pt x="450337" y="753602"/>
                      <a:pt x="437712" y="753602"/>
                    </a:cubicBezTo>
                    <a:close/>
                    <a:moveTo>
                      <a:pt x="488486" y="726187"/>
                    </a:moveTo>
                    <a:cubicBezTo>
                      <a:pt x="475861" y="726187"/>
                      <a:pt x="465626" y="736422"/>
                      <a:pt x="465626" y="749047"/>
                    </a:cubicBezTo>
                    <a:cubicBezTo>
                      <a:pt x="465626" y="761672"/>
                      <a:pt x="475861" y="771907"/>
                      <a:pt x="488486" y="771907"/>
                    </a:cubicBezTo>
                    <a:cubicBezTo>
                      <a:pt x="501111" y="771907"/>
                      <a:pt x="511346" y="761672"/>
                      <a:pt x="511346" y="749047"/>
                    </a:cubicBezTo>
                    <a:cubicBezTo>
                      <a:pt x="511346" y="736422"/>
                      <a:pt x="501111" y="726187"/>
                      <a:pt x="488486" y="726187"/>
                    </a:cubicBezTo>
                    <a:close/>
                    <a:moveTo>
                      <a:pt x="386938" y="726187"/>
                    </a:moveTo>
                    <a:cubicBezTo>
                      <a:pt x="374313" y="726187"/>
                      <a:pt x="364078" y="736422"/>
                      <a:pt x="364078" y="749047"/>
                    </a:cubicBezTo>
                    <a:cubicBezTo>
                      <a:pt x="364078" y="761672"/>
                      <a:pt x="374313" y="771907"/>
                      <a:pt x="386938" y="771907"/>
                    </a:cubicBezTo>
                    <a:cubicBezTo>
                      <a:pt x="399563" y="771907"/>
                      <a:pt x="409798" y="761672"/>
                      <a:pt x="409798" y="749047"/>
                    </a:cubicBezTo>
                    <a:cubicBezTo>
                      <a:pt x="409798" y="736422"/>
                      <a:pt x="399563" y="726187"/>
                      <a:pt x="386938" y="726187"/>
                    </a:cubicBezTo>
                    <a:close/>
                    <a:moveTo>
                      <a:pt x="437712" y="696400"/>
                    </a:moveTo>
                    <a:cubicBezTo>
                      <a:pt x="425087" y="696400"/>
                      <a:pt x="414852" y="706635"/>
                      <a:pt x="414852" y="719260"/>
                    </a:cubicBezTo>
                    <a:cubicBezTo>
                      <a:pt x="414852" y="731885"/>
                      <a:pt x="425087" y="742120"/>
                      <a:pt x="437712" y="742120"/>
                    </a:cubicBezTo>
                    <a:cubicBezTo>
                      <a:pt x="450337" y="742120"/>
                      <a:pt x="460572" y="731885"/>
                      <a:pt x="460572" y="719260"/>
                    </a:cubicBezTo>
                    <a:cubicBezTo>
                      <a:pt x="460572" y="706635"/>
                      <a:pt x="450337" y="696400"/>
                      <a:pt x="437712" y="696400"/>
                    </a:cubicBezTo>
                    <a:close/>
                    <a:moveTo>
                      <a:pt x="488486" y="665784"/>
                    </a:moveTo>
                    <a:cubicBezTo>
                      <a:pt x="475861" y="665784"/>
                      <a:pt x="465626" y="676019"/>
                      <a:pt x="465626" y="688644"/>
                    </a:cubicBezTo>
                    <a:cubicBezTo>
                      <a:pt x="465626" y="701269"/>
                      <a:pt x="475861" y="711504"/>
                      <a:pt x="488486" y="711504"/>
                    </a:cubicBezTo>
                    <a:cubicBezTo>
                      <a:pt x="501111" y="711504"/>
                      <a:pt x="511346" y="701269"/>
                      <a:pt x="511346" y="688644"/>
                    </a:cubicBezTo>
                    <a:cubicBezTo>
                      <a:pt x="511346" y="676019"/>
                      <a:pt x="501111" y="665784"/>
                      <a:pt x="488486" y="665784"/>
                    </a:cubicBezTo>
                    <a:close/>
                    <a:moveTo>
                      <a:pt x="386938" y="665784"/>
                    </a:moveTo>
                    <a:cubicBezTo>
                      <a:pt x="374313" y="665784"/>
                      <a:pt x="364078" y="676019"/>
                      <a:pt x="364078" y="688644"/>
                    </a:cubicBezTo>
                    <a:cubicBezTo>
                      <a:pt x="364078" y="701269"/>
                      <a:pt x="374313" y="711504"/>
                      <a:pt x="386938" y="711504"/>
                    </a:cubicBezTo>
                    <a:cubicBezTo>
                      <a:pt x="399563" y="711504"/>
                      <a:pt x="409798" y="701269"/>
                      <a:pt x="409798" y="688644"/>
                    </a:cubicBezTo>
                    <a:cubicBezTo>
                      <a:pt x="409798" y="676019"/>
                      <a:pt x="399563" y="665784"/>
                      <a:pt x="386938" y="665784"/>
                    </a:cubicBezTo>
                    <a:close/>
                    <a:moveTo>
                      <a:pt x="437712" y="639199"/>
                    </a:moveTo>
                    <a:cubicBezTo>
                      <a:pt x="425087" y="639199"/>
                      <a:pt x="414852" y="649434"/>
                      <a:pt x="414852" y="662059"/>
                    </a:cubicBezTo>
                    <a:cubicBezTo>
                      <a:pt x="414852" y="674684"/>
                      <a:pt x="425087" y="684919"/>
                      <a:pt x="437712" y="684919"/>
                    </a:cubicBezTo>
                    <a:cubicBezTo>
                      <a:pt x="450337" y="684919"/>
                      <a:pt x="460572" y="674684"/>
                      <a:pt x="460572" y="662059"/>
                    </a:cubicBezTo>
                    <a:cubicBezTo>
                      <a:pt x="460572" y="649434"/>
                      <a:pt x="450337" y="639199"/>
                      <a:pt x="437712" y="639199"/>
                    </a:cubicBezTo>
                    <a:close/>
                    <a:moveTo>
                      <a:pt x="765165" y="449417"/>
                    </a:moveTo>
                    <a:cubicBezTo>
                      <a:pt x="752540" y="449417"/>
                      <a:pt x="742305" y="459652"/>
                      <a:pt x="742305" y="472277"/>
                    </a:cubicBezTo>
                    <a:cubicBezTo>
                      <a:pt x="742305" y="484902"/>
                      <a:pt x="752540" y="495137"/>
                      <a:pt x="765165" y="495137"/>
                    </a:cubicBezTo>
                    <a:cubicBezTo>
                      <a:pt x="777790" y="495137"/>
                      <a:pt x="788025" y="484902"/>
                      <a:pt x="788025" y="472277"/>
                    </a:cubicBezTo>
                    <a:cubicBezTo>
                      <a:pt x="788025" y="459652"/>
                      <a:pt x="777790" y="449417"/>
                      <a:pt x="765165" y="449417"/>
                    </a:cubicBezTo>
                    <a:close/>
                    <a:moveTo>
                      <a:pt x="437712" y="449417"/>
                    </a:moveTo>
                    <a:cubicBezTo>
                      <a:pt x="425087" y="449417"/>
                      <a:pt x="414852" y="459652"/>
                      <a:pt x="414852" y="472277"/>
                    </a:cubicBezTo>
                    <a:cubicBezTo>
                      <a:pt x="414852" y="484902"/>
                      <a:pt x="425087" y="495137"/>
                      <a:pt x="437712" y="495137"/>
                    </a:cubicBezTo>
                    <a:cubicBezTo>
                      <a:pt x="450337" y="495137"/>
                      <a:pt x="460572" y="484902"/>
                      <a:pt x="460572" y="472277"/>
                    </a:cubicBezTo>
                    <a:cubicBezTo>
                      <a:pt x="460572" y="459652"/>
                      <a:pt x="450337" y="449417"/>
                      <a:pt x="437712" y="449417"/>
                    </a:cubicBezTo>
                    <a:close/>
                    <a:moveTo>
                      <a:pt x="104693" y="449417"/>
                    </a:moveTo>
                    <a:cubicBezTo>
                      <a:pt x="92068" y="449417"/>
                      <a:pt x="81833" y="459652"/>
                      <a:pt x="81833" y="472277"/>
                    </a:cubicBezTo>
                    <a:cubicBezTo>
                      <a:pt x="81833" y="484902"/>
                      <a:pt x="92068" y="495137"/>
                      <a:pt x="104693" y="495137"/>
                    </a:cubicBezTo>
                    <a:cubicBezTo>
                      <a:pt x="117318" y="495137"/>
                      <a:pt x="127553" y="484902"/>
                      <a:pt x="127553" y="472277"/>
                    </a:cubicBezTo>
                    <a:cubicBezTo>
                      <a:pt x="127553" y="459652"/>
                      <a:pt x="117318" y="449417"/>
                      <a:pt x="104693" y="449417"/>
                    </a:cubicBezTo>
                    <a:close/>
                    <a:moveTo>
                      <a:pt x="815266" y="425491"/>
                    </a:moveTo>
                    <a:cubicBezTo>
                      <a:pt x="802641" y="425491"/>
                      <a:pt x="792406" y="435726"/>
                      <a:pt x="792406" y="448351"/>
                    </a:cubicBezTo>
                    <a:cubicBezTo>
                      <a:pt x="792406" y="460976"/>
                      <a:pt x="802641" y="471211"/>
                      <a:pt x="815266" y="471211"/>
                    </a:cubicBezTo>
                    <a:cubicBezTo>
                      <a:pt x="827891" y="471211"/>
                      <a:pt x="838126" y="460976"/>
                      <a:pt x="838126" y="448351"/>
                    </a:cubicBezTo>
                    <a:cubicBezTo>
                      <a:pt x="838126" y="435726"/>
                      <a:pt x="827891" y="425491"/>
                      <a:pt x="815266" y="425491"/>
                    </a:cubicBezTo>
                    <a:close/>
                    <a:moveTo>
                      <a:pt x="713718" y="425491"/>
                    </a:moveTo>
                    <a:cubicBezTo>
                      <a:pt x="701093" y="425491"/>
                      <a:pt x="690858" y="435726"/>
                      <a:pt x="690858" y="448351"/>
                    </a:cubicBezTo>
                    <a:cubicBezTo>
                      <a:pt x="690858" y="460976"/>
                      <a:pt x="701093" y="471211"/>
                      <a:pt x="713718" y="471211"/>
                    </a:cubicBezTo>
                    <a:cubicBezTo>
                      <a:pt x="726343" y="471211"/>
                      <a:pt x="736578" y="460976"/>
                      <a:pt x="736578" y="448351"/>
                    </a:cubicBezTo>
                    <a:cubicBezTo>
                      <a:pt x="736578" y="435726"/>
                      <a:pt x="726343" y="425491"/>
                      <a:pt x="713718" y="425491"/>
                    </a:cubicBezTo>
                    <a:close/>
                    <a:moveTo>
                      <a:pt x="488486" y="425491"/>
                    </a:moveTo>
                    <a:cubicBezTo>
                      <a:pt x="475861" y="425491"/>
                      <a:pt x="465626" y="435726"/>
                      <a:pt x="465626" y="448351"/>
                    </a:cubicBezTo>
                    <a:cubicBezTo>
                      <a:pt x="465626" y="460976"/>
                      <a:pt x="475861" y="471211"/>
                      <a:pt x="488486" y="471211"/>
                    </a:cubicBezTo>
                    <a:cubicBezTo>
                      <a:pt x="501111" y="471211"/>
                      <a:pt x="511346" y="460976"/>
                      <a:pt x="511346" y="448351"/>
                    </a:cubicBezTo>
                    <a:cubicBezTo>
                      <a:pt x="511346" y="435726"/>
                      <a:pt x="501111" y="425491"/>
                      <a:pt x="488486" y="425491"/>
                    </a:cubicBezTo>
                    <a:close/>
                    <a:moveTo>
                      <a:pt x="386938" y="425491"/>
                    </a:moveTo>
                    <a:cubicBezTo>
                      <a:pt x="374313" y="425491"/>
                      <a:pt x="364078" y="435726"/>
                      <a:pt x="364078" y="448351"/>
                    </a:cubicBezTo>
                    <a:cubicBezTo>
                      <a:pt x="364078" y="460976"/>
                      <a:pt x="374313" y="471211"/>
                      <a:pt x="386938" y="471211"/>
                    </a:cubicBezTo>
                    <a:cubicBezTo>
                      <a:pt x="399563" y="471211"/>
                      <a:pt x="409798" y="460976"/>
                      <a:pt x="409798" y="448351"/>
                    </a:cubicBezTo>
                    <a:cubicBezTo>
                      <a:pt x="409798" y="435726"/>
                      <a:pt x="399563" y="425491"/>
                      <a:pt x="386938" y="425491"/>
                    </a:cubicBezTo>
                    <a:close/>
                    <a:moveTo>
                      <a:pt x="160771" y="425491"/>
                    </a:moveTo>
                    <a:cubicBezTo>
                      <a:pt x="148146" y="425491"/>
                      <a:pt x="137911" y="435726"/>
                      <a:pt x="137911" y="448351"/>
                    </a:cubicBezTo>
                    <a:cubicBezTo>
                      <a:pt x="137911" y="460976"/>
                      <a:pt x="148146" y="471211"/>
                      <a:pt x="160771" y="471211"/>
                    </a:cubicBezTo>
                    <a:cubicBezTo>
                      <a:pt x="173396" y="471211"/>
                      <a:pt x="183631" y="460976"/>
                      <a:pt x="183631" y="448351"/>
                    </a:cubicBezTo>
                    <a:cubicBezTo>
                      <a:pt x="183631" y="435726"/>
                      <a:pt x="173396" y="425491"/>
                      <a:pt x="160771" y="425491"/>
                    </a:cubicBezTo>
                    <a:close/>
                    <a:moveTo>
                      <a:pt x="59223" y="425491"/>
                    </a:moveTo>
                    <a:cubicBezTo>
                      <a:pt x="46598" y="425491"/>
                      <a:pt x="36363" y="435726"/>
                      <a:pt x="36363" y="448351"/>
                    </a:cubicBezTo>
                    <a:cubicBezTo>
                      <a:pt x="36363" y="460976"/>
                      <a:pt x="46598" y="471211"/>
                      <a:pt x="59223" y="471211"/>
                    </a:cubicBezTo>
                    <a:cubicBezTo>
                      <a:pt x="71848" y="471211"/>
                      <a:pt x="82083" y="460976"/>
                      <a:pt x="82083" y="448351"/>
                    </a:cubicBezTo>
                    <a:cubicBezTo>
                      <a:pt x="82083" y="435726"/>
                      <a:pt x="71848" y="425491"/>
                      <a:pt x="59223" y="425491"/>
                    </a:cubicBezTo>
                    <a:close/>
                    <a:moveTo>
                      <a:pt x="763819" y="393660"/>
                    </a:moveTo>
                    <a:cubicBezTo>
                      <a:pt x="751194" y="393660"/>
                      <a:pt x="740959" y="403895"/>
                      <a:pt x="740959" y="416520"/>
                    </a:cubicBezTo>
                    <a:cubicBezTo>
                      <a:pt x="740959" y="429145"/>
                      <a:pt x="751194" y="439380"/>
                      <a:pt x="763819" y="439380"/>
                    </a:cubicBezTo>
                    <a:cubicBezTo>
                      <a:pt x="776444" y="439380"/>
                      <a:pt x="786679" y="429145"/>
                      <a:pt x="786679" y="416520"/>
                    </a:cubicBezTo>
                    <a:cubicBezTo>
                      <a:pt x="786679" y="403895"/>
                      <a:pt x="776444" y="393660"/>
                      <a:pt x="763819" y="393660"/>
                    </a:cubicBezTo>
                    <a:close/>
                    <a:moveTo>
                      <a:pt x="437712" y="393660"/>
                    </a:moveTo>
                    <a:cubicBezTo>
                      <a:pt x="425087" y="393660"/>
                      <a:pt x="414852" y="403895"/>
                      <a:pt x="414852" y="416520"/>
                    </a:cubicBezTo>
                    <a:cubicBezTo>
                      <a:pt x="414852" y="429145"/>
                      <a:pt x="425087" y="439380"/>
                      <a:pt x="437712" y="439380"/>
                    </a:cubicBezTo>
                    <a:cubicBezTo>
                      <a:pt x="450337" y="439380"/>
                      <a:pt x="460572" y="429145"/>
                      <a:pt x="460572" y="416520"/>
                    </a:cubicBezTo>
                    <a:cubicBezTo>
                      <a:pt x="460572" y="403895"/>
                      <a:pt x="450337" y="393660"/>
                      <a:pt x="437712" y="393660"/>
                    </a:cubicBezTo>
                    <a:close/>
                    <a:moveTo>
                      <a:pt x="104266" y="393660"/>
                    </a:moveTo>
                    <a:cubicBezTo>
                      <a:pt x="91641" y="393660"/>
                      <a:pt x="81406" y="403895"/>
                      <a:pt x="81406" y="416520"/>
                    </a:cubicBezTo>
                    <a:cubicBezTo>
                      <a:pt x="81406" y="429145"/>
                      <a:pt x="91641" y="439380"/>
                      <a:pt x="104266" y="439380"/>
                    </a:cubicBezTo>
                    <a:cubicBezTo>
                      <a:pt x="116891" y="439380"/>
                      <a:pt x="127126" y="429145"/>
                      <a:pt x="127126" y="416520"/>
                    </a:cubicBezTo>
                    <a:cubicBezTo>
                      <a:pt x="127126" y="403895"/>
                      <a:pt x="116891" y="393660"/>
                      <a:pt x="104266" y="393660"/>
                    </a:cubicBezTo>
                    <a:close/>
                    <a:moveTo>
                      <a:pt x="815266" y="365088"/>
                    </a:moveTo>
                    <a:cubicBezTo>
                      <a:pt x="802641" y="365088"/>
                      <a:pt x="792406" y="375323"/>
                      <a:pt x="792406" y="387948"/>
                    </a:cubicBezTo>
                    <a:cubicBezTo>
                      <a:pt x="792406" y="400573"/>
                      <a:pt x="802641" y="410808"/>
                      <a:pt x="815266" y="410808"/>
                    </a:cubicBezTo>
                    <a:cubicBezTo>
                      <a:pt x="827891" y="410808"/>
                      <a:pt x="838126" y="400573"/>
                      <a:pt x="838126" y="387948"/>
                    </a:cubicBezTo>
                    <a:cubicBezTo>
                      <a:pt x="838126" y="375323"/>
                      <a:pt x="827891" y="365088"/>
                      <a:pt x="815266" y="365088"/>
                    </a:cubicBezTo>
                    <a:close/>
                    <a:moveTo>
                      <a:pt x="713718" y="365088"/>
                    </a:moveTo>
                    <a:cubicBezTo>
                      <a:pt x="701093" y="365088"/>
                      <a:pt x="690858" y="375323"/>
                      <a:pt x="690858" y="387948"/>
                    </a:cubicBezTo>
                    <a:cubicBezTo>
                      <a:pt x="690858" y="400573"/>
                      <a:pt x="701093" y="410808"/>
                      <a:pt x="713718" y="410808"/>
                    </a:cubicBezTo>
                    <a:cubicBezTo>
                      <a:pt x="726343" y="410808"/>
                      <a:pt x="736578" y="400573"/>
                      <a:pt x="736578" y="387948"/>
                    </a:cubicBezTo>
                    <a:cubicBezTo>
                      <a:pt x="736578" y="375323"/>
                      <a:pt x="726343" y="365088"/>
                      <a:pt x="713718" y="365088"/>
                    </a:cubicBezTo>
                    <a:close/>
                    <a:moveTo>
                      <a:pt x="488486" y="365088"/>
                    </a:moveTo>
                    <a:cubicBezTo>
                      <a:pt x="475861" y="365088"/>
                      <a:pt x="465626" y="375323"/>
                      <a:pt x="465626" y="387948"/>
                    </a:cubicBezTo>
                    <a:cubicBezTo>
                      <a:pt x="465626" y="400573"/>
                      <a:pt x="475861" y="410808"/>
                      <a:pt x="488486" y="410808"/>
                    </a:cubicBezTo>
                    <a:cubicBezTo>
                      <a:pt x="501111" y="410808"/>
                      <a:pt x="511346" y="400573"/>
                      <a:pt x="511346" y="387948"/>
                    </a:cubicBezTo>
                    <a:cubicBezTo>
                      <a:pt x="511346" y="375323"/>
                      <a:pt x="501111" y="365088"/>
                      <a:pt x="488486" y="365088"/>
                    </a:cubicBezTo>
                    <a:close/>
                    <a:moveTo>
                      <a:pt x="386938" y="365088"/>
                    </a:moveTo>
                    <a:cubicBezTo>
                      <a:pt x="374313" y="365088"/>
                      <a:pt x="364078" y="375323"/>
                      <a:pt x="364078" y="387948"/>
                    </a:cubicBezTo>
                    <a:cubicBezTo>
                      <a:pt x="364078" y="400573"/>
                      <a:pt x="374313" y="410808"/>
                      <a:pt x="386938" y="410808"/>
                    </a:cubicBezTo>
                    <a:cubicBezTo>
                      <a:pt x="399563" y="410808"/>
                      <a:pt x="409798" y="400573"/>
                      <a:pt x="409798" y="387948"/>
                    </a:cubicBezTo>
                    <a:cubicBezTo>
                      <a:pt x="409798" y="375323"/>
                      <a:pt x="399563" y="365088"/>
                      <a:pt x="386938" y="365088"/>
                    </a:cubicBezTo>
                    <a:close/>
                    <a:moveTo>
                      <a:pt x="160771" y="365088"/>
                    </a:moveTo>
                    <a:cubicBezTo>
                      <a:pt x="148146" y="365088"/>
                      <a:pt x="137911" y="375323"/>
                      <a:pt x="137911" y="387948"/>
                    </a:cubicBezTo>
                    <a:cubicBezTo>
                      <a:pt x="137911" y="400573"/>
                      <a:pt x="148146" y="410808"/>
                      <a:pt x="160771" y="410808"/>
                    </a:cubicBezTo>
                    <a:cubicBezTo>
                      <a:pt x="173396" y="410808"/>
                      <a:pt x="183631" y="400573"/>
                      <a:pt x="183631" y="387948"/>
                    </a:cubicBezTo>
                    <a:cubicBezTo>
                      <a:pt x="183631" y="375323"/>
                      <a:pt x="173396" y="365088"/>
                      <a:pt x="160771" y="365088"/>
                    </a:cubicBezTo>
                    <a:close/>
                    <a:moveTo>
                      <a:pt x="59223" y="365088"/>
                    </a:moveTo>
                    <a:cubicBezTo>
                      <a:pt x="46598" y="365088"/>
                      <a:pt x="36363" y="375323"/>
                      <a:pt x="36363" y="387948"/>
                    </a:cubicBezTo>
                    <a:cubicBezTo>
                      <a:pt x="36363" y="400573"/>
                      <a:pt x="46598" y="410808"/>
                      <a:pt x="59223" y="410808"/>
                    </a:cubicBezTo>
                    <a:cubicBezTo>
                      <a:pt x="71848" y="410808"/>
                      <a:pt x="82083" y="400573"/>
                      <a:pt x="82083" y="387948"/>
                    </a:cubicBezTo>
                    <a:cubicBezTo>
                      <a:pt x="82083" y="375323"/>
                      <a:pt x="71848" y="365088"/>
                      <a:pt x="59223" y="365088"/>
                    </a:cubicBezTo>
                    <a:close/>
                    <a:moveTo>
                      <a:pt x="765165" y="335014"/>
                    </a:moveTo>
                    <a:cubicBezTo>
                      <a:pt x="752540" y="335014"/>
                      <a:pt x="742305" y="345249"/>
                      <a:pt x="742305" y="357874"/>
                    </a:cubicBezTo>
                    <a:cubicBezTo>
                      <a:pt x="742305" y="370499"/>
                      <a:pt x="752540" y="380734"/>
                      <a:pt x="765165" y="380734"/>
                    </a:cubicBezTo>
                    <a:cubicBezTo>
                      <a:pt x="777790" y="380734"/>
                      <a:pt x="788025" y="370499"/>
                      <a:pt x="788025" y="357874"/>
                    </a:cubicBezTo>
                    <a:cubicBezTo>
                      <a:pt x="788025" y="345249"/>
                      <a:pt x="777790" y="335014"/>
                      <a:pt x="765165" y="335014"/>
                    </a:cubicBezTo>
                    <a:close/>
                    <a:moveTo>
                      <a:pt x="437712" y="335014"/>
                    </a:moveTo>
                    <a:cubicBezTo>
                      <a:pt x="425087" y="335014"/>
                      <a:pt x="414852" y="345249"/>
                      <a:pt x="414852" y="357874"/>
                    </a:cubicBezTo>
                    <a:cubicBezTo>
                      <a:pt x="414852" y="370499"/>
                      <a:pt x="425087" y="380734"/>
                      <a:pt x="437712" y="380734"/>
                    </a:cubicBezTo>
                    <a:cubicBezTo>
                      <a:pt x="450337" y="380734"/>
                      <a:pt x="460572" y="370499"/>
                      <a:pt x="460572" y="357874"/>
                    </a:cubicBezTo>
                    <a:cubicBezTo>
                      <a:pt x="460572" y="345249"/>
                      <a:pt x="450337" y="335014"/>
                      <a:pt x="437712" y="335014"/>
                    </a:cubicBezTo>
                    <a:close/>
                    <a:moveTo>
                      <a:pt x="104693" y="335014"/>
                    </a:moveTo>
                    <a:cubicBezTo>
                      <a:pt x="92068" y="335014"/>
                      <a:pt x="81833" y="345249"/>
                      <a:pt x="81833" y="357874"/>
                    </a:cubicBezTo>
                    <a:cubicBezTo>
                      <a:pt x="81833" y="370499"/>
                      <a:pt x="92068" y="380734"/>
                      <a:pt x="104693" y="380734"/>
                    </a:cubicBezTo>
                    <a:cubicBezTo>
                      <a:pt x="117318" y="380734"/>
                      <a:pt x="127553" y="370499"/>
                      <a:pt x="127553" y="357874"/>
                    </a:cubicBezTo>
                    <a:cubicBezTo>
                      <a:pt x="127553" y="345249"/>
                      <a:pt x="117318" y="335014"/>
                      <a:pt x="104693" y="335014"/>
                    </a:cubicBezTo>
                    <a:close/>
                    <a:moveTo>
                      <a:pt x="437712" y="138633"/>
                    </a:moveTo>
                    <a:cubicBezTo>
                      <a:pt x="425087" y="138633"/>
                      <a:pt x="414852" y="148868"/>
                      <a:pt x="414852" y="161493"/>
                    </a:cubicBezTo>
                    <a:cubicBezTo>
                      <a:pt x="414852" y="174118"/>
                      <a:pt x="425087" y="184353"/>
                      <a:pt x="437712" y="184353"/>
                    </a:cubicBezTo>
                    <a:cubicBezTo>
                      <a:pt x="450337" y="184353"/>
                      <a:pt x="460572" y="174118"/>
                      <a:pt x="460572" y="161493"/>
                    </a:cubicBezTo>
                    <a:cubicBezTo>
                      <a:pt x="460572" y="148868"/>
                      <a:pt x="450337" y="138633"/>
                      <a:pt x="437712" y="138633"/>
                    </a:cubicBezTo>
                    <a:close/>
                    <a:moveTo>
                      <a:pt x="488486" y="113932"/>
                    </a:moveTo>
                    <a:cubicBezTo>
                      <a:pt x="475861" y="113932"/>
                      <a:pt x="465626" y="124167"/>
                      <a:pt x="465626" y="136792"/>
                    </a:cubicBezTo>
                    <a:cubicBezTo>
                      <a:pt x="465626" y="149417"/>
                      <a:pt x="475861" y="159652"/>
                      <a:pt x="488486" y="159652"/>
                    </a:cubicBezTo>
                    <a:cubicBezTo>
                      <a:pt x="501111" y="159652"/>
                      <a:pt x="511346" y="149417"/>
                      <a:pt x="511346" y="136792"/>
                    </a:cubicBezTo>
                    <a:cubicBezTo>
                      <a:pt x="511346" y="124167"/>
                      <a:pt x="501111" y="113932"/>
                      <a:pt x="488486" y="113932"/>
                    </a:cubicBezTo>
                    <a:close/>
                    <a:moveTo>
                      <a:pt x="386938" y="113932"/>
                    </a:moveTo>
                    <a:cubicBezTo>
                      <a:pt x="374313" y="113932"/>
                      <a:pt x="364078" y="124167"/>
                      <a:pt x="364078" y="136792"/>
                    </a:cubicBezTo>
                    <a:cubicBezTo>
                      <a:pt x="364078" y="149417"/>
                      <a:pt x="374313" y="159652"/>
                      <a:pt x="386938" y="159652"/>
                    </a:cubicBezTo>
                    <a:cubicBezTo>
                      <a:pt x="399563" y="159652"/>
                      <a:pt x="409798" y="149417"/>
                      <a:pt x="409798" y="136792"/>
                    </a:cubicBezTo>
                    <a:cubicBezTo>
                      <a:pt x="409798" y="124167"/>
                      <a:pt x="399563" y="113932"/>
                      <a:pt x="386938" y="113932"/>
                    </a:cubicBezTo>
                    <a:close/>
                    <a:moveTo>
                      <a:pt x="437712" y="81407"/>
                    </a:moveTo>
                    <a:cubicBezTo>
                      <a:pt x="425087" y="81407"/>
                      <a:pt x="414852" y="91642"/>
                      <a:pt x="414852" y="104267"/>
                    </a:cubicBezTo>
                    <a:cubicBezTo>
                      <a:pt x="414852" y="116892"/>
                      <a:pt x="425087" y="127127"/>
                      <a:pt x="437712" y="127127"/>
                    </a:cubicBezTo>
                    <a:cubicBezTo>
                      <a:pt x="450337" y="127127"/>
                      <a:pt x="460572" y="116892"/>
                      <a:pt x="460572" y="104267"/>
                    </a:cubicBezTo>
                    <a:cubicBezTo>
                      <a:pt x="460572" y="91642"/>
                      <a:pt x="450337" y="81407"/>
                      <a:pt x="437712" y="81407"/>
                    </a:cubicBezTo>
                    <a:close/>
                    <a:moveTo>
                      <a:pt x="488486" y="53529"/>
                    </a:moveTo>
                    <a:cubicBezTo>
                      <a:pt x="475861" y="53529"/>
                      <a:pt x="465626" y="63764"/>
                      <a:pt x="465626" y="76389"/>
                    </a:cubicBezTo>
                    <a:cubicBezTo>
                      <a:pt x="465626" y="89014"/>
                      <a:pt x="475861" y="99249"/>
                      <a:pt x="488486" y="99249"/>
                    </a:cubicBezTo>
                    <a:cubicBezTo>
                      <a:pt x="501111" y="99249"/>
                      <a:pt x="511346" y="89014"/>
                      <a:pt x="511346" y="76389"/>
                    </a:cubicBezTo>
                    <a:cubicBezTo>
                      <a:pt x="511346" y="63764"/>
                      <a:pt x="501111" y="53529"/>
                      <a:pt x="488486" y="53529"/>
                    </a:cubicBezTo>
                    <a:close/>
                    <a:moveTo>
                      <a:pt x="386938" y="53529"/>
                    </a:moveTo>
                    <a:cubicBezTo>
                      <a:pt x="374313" y="53529"/>
                      <a:pt x="364078" y="63764"/>
                      <a:pt x="364078" y="76389"/>
                    </a:cubicBezTo>
                    <a:cubicBezTo>
                      <a:pt x="364078" y="89014"/>
                      <a:pt x="374313" y="99249"/>
                      <a:pt x="386938" y="99249"/>
                    </a:cubicBezTo>
                    <a:cubicBezTo>
                      <a:pt x="399563" y="99249"/>
                      <a:pt x="409798" y="89014"/>
                      <a:pt x="409798" y="76389"/>
                    </a:cubicBezTo>
                    <a:cubicBezTo>
                      <a:pt x="409798" y="63764"/>
                      <a:pt x="399563" y="53529"/>
                      <a:pt x="386938" y="53529"/>
                    </a:cubicBezTo>
                    <a:close/>
                    <a:moveTo>
                      <a:pt x="437712" y="24230"/>
                    </a:moveTo>
                    <a:cubicBezTo>
                      <a:pt x="425087" y="24230"/>
                      <a:pt x="414852" y="34465"/>
                      <a:pt x="414852" y="47090"/>
                    </a:cubicBezTo>
                    <a:cubicBezTo>
                      <a:pt x="414852" y="59715"/>
                      <a:pt x="425087" y="69950"/>
                      <a:pt x="437712" y="69950"/>
                    </a:cubicBezTo>
                    <a:cubicBezTo>
                      <a:pt x="450337" y="69950"/>
                      <a:pt x="460572" y="59715"/>
                      <a:pt x="460572" y="47090"/>
                    </a:cubicBezTo>
                    <a:cubicBezTo>
                      <a:pt x="460572" y="34465"/>
                      <a:pt x="450337" y="24230"/>
                      <a:pt x="437712" y="24230"/>
                    </a:cubicBezTo>
                    <a:close/>
                    <a:moveTo>
                      <a:pt x="437617" y="0"/>
                    </a:moveTo>
                    <a:cubicBezTo>
                      <a:pt x="497432" y="0"/>
                      <a:pt x="545922" y="48490"/>
                      <a:pt x="545922" y="108305"/>
                    </a:cubicBezTo>
                    <a:cubicBezTo>
                      <a:pt x="545922" y="153166"/>
                      <a:pt x="518647" y="191657"/>
                      <a:pt x="479774" y="208099"/>
                    </a:cubicBezTo>
                    <a:lnTo>
                      <a:pt x="477170" y="208624"/>
                    </a:lnTo>
                    <a:lnTo>
                      <a:pt x="477170" y="312925"/>
                    </a:lnTo>
                    <a:lnTo>
                      <a:pt x="479774" y="313451"/>
                    </a:lnTo>
                    <a:cubicBezTo>
                      <a:pt x="505689" y="324412"/>
                      <a:pt x="526449" y="345172"/>
                      <a:pt x="537411" y="371087"/>
                    </a:cubicBezTo>
                    <a:lnTo>
                      <a:pt x="537655" y="372297"/>
                    </a:lnTo>
                    <a:lnTo>
                      <a:pt x="666891" y="372297"/>
                    </a:lnTo>
                    <a:lnTo>
                      <a:pt x="667135" y="371088"/>
                    </a:lnTo>
                    <a:cubicBezTo>
                      <a:pt x="683577" y="332216"/>
                      <a:pt x="722068" y="304940"/>
                      <a:pt x="766930" y="304940"/>
                    </a:cubicBezTo>
                    <a:cubicBezTo>
                      <a:pt x="826745" y="304940"/>
                      <a:pt x="875235" y="353430"/>
                      <a:pt x="875235" y="413246"/>
                    </a:cubicBezTo>
                    <a:cubicBezTo>
                      <a:pt x="875235" y="473061"/>
                      <a:pt x="826745" y="521551"/>
                      <a:pt x="766930" y="521551"/>
                    </a:cubicBezTo>
                    <a:cubicBezTo>
                      <a:pt x="722068" y="521551"/>
                      <a:pt x="683577" y="494276"/>
                      <a:pt x="667135" y="455403"/>
                    </a:cubicBezTo>
                    <a:lnTo>
                      <a:pt x="666328" y="451404"/>
                    </a:lnTo>
                    <a:lnTo>
                      <a:pt x="538218" y="451404"/>
                    </a:lnTo>
                    <a:lnTo>
                      <a:pt x="537411" y="455402"/>
                    </a:lnTo>
                    <a:cubicBezTo>
                      <a:pt x="526449" y="481317"/>
                      <a:pt x="505689" y="502078"/>
                      <a:pt x="479774" y="513039"/>
                    </a:cubicBezTo>
                    <a:lnTo>
                      <a:pt x="477170" y="513565"/>
                    </a:lnTo>
                    <a:lnTo>
                      <a:pt x="477170" y="617868"/>
                    </a:lnTo>
                    <a:lnTo>
                      <a:pt x="479774" y="618393"/>
                    </a:lnTo>
                    <a:cubicBezTo>
                      <a:pt x="518647" y="634835"/>
                      <a:pt x="545922" y="673326"/>
                      <a:pt x="545922" y="718187"/>
                    </a:cubicBezTo>
                    <a:cubicBezTo>
                      <a:pt x="545922" y="778002"/>
                      <a:pt x="497432" y="826492"/>
                      <a:pt x="437617" y="826492"/>
                    </a:cubicBezTo>
                    <a:cubicBezTo>
                      <a:pt x="377802" y="826492"/>
                      <a:pt x="329312" y="778002"/>
                      <a:pt x="329312" y="718187"/>
                    </a:cubicBezTo>
                    <a:cubicBezTo>
                      <a:pt x="329312" y="673326"/>
                      <a:pt x="356588" y="634835"/>
                      <a:pt x="395460" y="618393"/>
                    </a:cubicBezTo>
                    <a:lnTo>
                      <a:pt x="398064" y="617868"/>
                    </a:lnTo>
                    <a:lnTo>
                      <a:pt x="398064" y="513565"/>
                    </a:lnTo>
                    <a:lnTo>
                      <a:pt x="395460" y="513039"/>
                    </a:lnTo>
                    <a:cubicBezTo>
                      <a:pt x="369545" y="502078"/>
                      <a:pt x="348784" y="481317"/>
                      <a:pt x="337823" y="455402"/>
                    </a:cubicBezTo>
                    <a:lnTo>
                      <a:pt x="337016" y="451404"/>
                    </a:lnTo>
                    <a:lnTo>
                      <a:pt x="208906" y="451404"/>
                    </a:lnTo>
                    <a:lnTo>
                      <a:pt x="208099" y="455403"/>
                    </a:lnTo>
                    <a:cubicBezTo>
                      <a:pt x="191657" y="494276"/>
                      <a:pt x="153167" y="521551"/>
                      <a:pt x="108305" y="521551"/>
                    </a:cubicBezTo>
                    <a:cubicBezTo>
                      <a:pt x="48490" y="521551"/>
                      <a:pt x="0" y="473061"/>
                      <a:pt x="0" y="413246"/>
                    </a:cubicBezTo>
                    <a:cubicBezTo>
                      <a:pt x="0" y="353430"/>
                      <a:pt x="48490" y="304940"/>
                      <a:pt x="108305" y="304940"/>
                    </a:cubicBezTo>
                    <a:cubicBezTo>
                      <a:pt x="153167" y="304940"/>
                      <a:pt x="191657" y="332216"/>
                      <a:pt x="208099" y="371088"/>
                    </a:cubicBezTo>
                    <a:lnTo>
                      <a:pt x="208343" y="372297"/>
                    </a:lnTo>
                    <a:lnTo>
                      <a:pt x="337579" y="372297"/>
                    </a:lnTo>
                    <a:lnTo>
                      <a:pt x="337823" y="371087"/>
                    </a:lnTo>
                    <a:cubicBezTo>
                      <a:pt x="348784" y="345172"/>
                      <a:pt x="369545" y="324412"/>
                      <a:pt x="395460" y="313451"/>
                    </a:cubicBezTo>
                    <a:lnTo>
                      <a:pt x="398064" y="312925"/>
                    </a:lnTo>
                    <a:lnTo>
                      <a:pt x="398064" y="208624"/>
                    </a:lnTo>
                    <a:lnTo>
                      <a:pt x="395460" y="208099"/>
                    </a:lnTo>
                    <a:cubicBezTo>
                      <a:pt x="356588" y="191657"/>
                      <a:pt x="329312" y="153166"/>
                      <a:pt x="329312" y="108305"/>
                    </a:cubicBezTo>
                    <a:cubicBezTo>
                      <a:pt x="329312" y="48490"/>
                      <a:pt x="377802" y="0"/>
                      <a:pt x="43761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68" name="Round Diagonal Corner Rectangle 167"/>
          <p:cNvSpPr/>
          <p:nvPr/>
        </p:nvSpPr>
        <p:spPr>
          <a:xfrm flipH="1">
            <a:off x="4636661" y="1759001"/>
            <a:ext cx="4572000" cy="1255594"/>
          </a:xfrm>
          <a:prstGeom prst="round2DiagRect">
            <a:avLst/>
          </a:prstGeom>
          <a:noFill/>
        </p:spPr>
        <p:txBody>
          <a:bodyPr wrap="square" lIns="18288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4000" b="1" dirty="0">
                <a:solidFill>
                  <a:srgbClr val="E5E8E8">
                    <a:lumMod val="50000"/>
                  </a:srgbClr>
                </a:solidFill>
              </a:rPr>
              <a:t>Data at </a:t>
            </a:r>
            <a:r>
              <a:rPr lang="en-US" sz="4000" b="1" dirty="0" smtClean="0">
                <a:solidFill>
                  <a:srgbClr val="E5E8E8">
                    <a:lumMod val="50000"/>
                  </a:srgbClr>
                </a:solidFill>
              </a:rPr>
              <a:t>rest</a:t>
            </a:r>
            <a:endParaRPr lang="hi-IN" sz="4000" b="1" dirty="0" err="1">
              <a:solidFill>
                <a:srgbClr val="E5E8E8">
                  <a:lumMod val="50000"/>
                </a:srgbClr>
              </a:solidFill>
            </a:endParaRPr>
          </a:p>
        </p:txBody>
      </p:sp>
      <p:sp>
        <p:nvSpPr>
          <p:cNvPr id="169" name="Round Diagonal Corner Rectangle 168"/>
          <p:cNvSpPr/>
          <p:nvPr/>
        </p:nvSpPr>
        <p:spPr>
          <a:xfrm flipH="1">
            <a:off x="4636661" y="3251482"/>
            <a:ext cx="4572000" cy="1255594"/>
          </a:xfrm>
          <a:prstGeom prst="round2DiagRect">
            <a:avLst/>
          </a:prstGeom>
          <a:noFill/>
        </p:spPr>
        <p:txBody>
          <a:bodyPr wrap="square" lIns="18288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4000" b="1" dirty="0">
                <a:solidFill>
                  <a:srgbClr val="E5E8E8">
                    <a:lumMod val="50000"/>
                  </a:srgbClr>
                </a:solidFill>
              </a:rPr>
              <a:t>Data in motion</a:t>
            </a:r>
            <a:endParaRPr lang="hi-IN" sz="4000" b="1" dirty="0" err="1">
              <a:solidFill>
                <a:srgbClr val="E5E8E8">
                  <a:lumMod val="50000"/>
                </a:srgbClr>
              </a:solidFill>
            </a:endParaRPr>
          </a:p>
        </p:txBody>
      </p:sp>
      <p:sp>
        <p:nvSpPr>
          <p:cNvPr id="170" name="Round Diagonal Corner Rectangle 169"/>
          <p:cNvSpPr/>
          <p:nvPr/>
        </p:nvSpPr>
        <p:spPr>
          <a:xfrm flipH="1">
            <a:off x="4636661" y="4743964"/>
            <a:ext cx="4572000" cy="1255594"/>
          </a:xfrm>
          <a:prstGeom prst="round2DiagRect">
            <a:avLst/>
          </a:prstGeom>
          <a:noFill/>
        </p:spPr>
        <p:txBody>
          <a:bodyPr wrap="square" lIns="18288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4000" b="1" dirty="0">
                <a:solidFill>
                  <a:srgbClr val="E5E8E8">
                    <a:lumMod val="50000"/>
                  </a:srgbClr>
                </a:solidFill>
              </a:rPr>
              <a:t>Data in use</a:t>
            </a:r>
            <a:endParaRPr lang="hi-IN" sz="4000" b="1" dirty="0" err="1">
              <a:solidFill>
                <a:srgbClr val="E5E8E8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900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Detect: </a:t>
            </a:r>
            <a:r>
              <a:rPr lang="en-US" dirty="0" smtClean="0"/>
              <a:t>Detect malicious actions</a:t>
            </a:r>
            <a:endParaRPr lang="hi-IN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Some examples  of detection “in The Machine”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2781" y="564055"/>
            <a:ext cx="1205837" cy="243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Content Placeholder 2"/>
          <p:cNvSpPr txBox="1">
            <a:spLocks/>
          </p:cNvSpPr>
          <p:nvPr/>
        </p:nvSpPr>
        <p:spPr>
          <a:xfrm flipH="1">
            <a:off x="876300" y="2447926"/>
            <a:ext cx="2526084" cy="2181224"/>
          </a:xfrm>
          <a:prstGeom prst="round2DiagRect">
            <a:avLst>
              <a:gd name="adj1" fmla="val 6284"/>
              <a:gd name="adj2" fmla="val 0"/>
            </a:avLst>
          </a:prstGeom>
          <a:solidFill>
            <a:schemeClr val="bg2"/>
          </a:solidFill>
        </p:spPr>
        <p:txBody>
          <a:bodyPr vert="horz" lIns="137160" tIns="1280160" rIns="137160" bIns="13716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b="1" dirty="0">
                <a:solidFill>
                  <a:srgbClr val="0096D6"/>
                </a:solidFill>
              </a:rPr>
              <a:t>Detect compromised</a:t>
            </a:r>
            <a:r>
              <a:rPr lang="en-US" b="1" dirty="0" smtClean="0">
                <a:solidFill>
                  <a:srgbClr val="0096D6"/>
                </a:solidFill>
              </a:rPr>
              <a:t>/ malicious </a:t>
            </a:r>
            <a:r>
              <a:rPr lang="en-US" b="1" dirty="0">
                <a:solidFill>
                  <a:srgbClr val="0096D6"/>
                </a:solidFill>
              </a:rPr>
              <a:t>hardware components</a:t>
            </a: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 flipH="1">
            <a:off x="3514072" y="2447926"/>
            <a:ext cx="2526084" cy="2181224"/>
          </a:xfrm>
          <a:prstGeom prst="round2DiagRect">
            <a:avLst>
              <a:gd name="adj1" fmla="val 5738"/>
              <a:gd name="adj2" fmla="val 0"/>
            </a:avLst>
          </a:prstGeom>
          <a:solidFill>
            <a:schemeClr val="bg2"/>
          </a:solidFill>
        </p:spPr>
        <p:txBody>
          <a:bodyPr vert="horz" lIns="137160" tIns="1280160" rIns="137160" bIns="13716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b="1" dirty="0" smtClean="0">
                <a:solidFill>
                  <a:srgbClr val="0096D6"/>
                </a:solidFill>
              </a:rPr>
              <a:t>Detect firmware and </a:t>
            </a:r>
            <a:r>
              <a:rPr lang="en-US" b="1" dirty="0">
                <a:solidFill>
                  <a:srgbClr val="0096D6"/>
                </a:solidFill>
              </a:rPr>
              <a:t>kernel tampering</a:t>
            </a: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 flipH="1">
            <a:off x="6151844" y="2447926"/>
            <a:ext cx="2526084" cy="2181224"/>
          </a:xfrm>
          <a:prstGeom prst="round2DiagRect">
            <a:avLst>
              <a:gd name="adj1" fmla="val 5738"/>
              <a:gd name="adj2" fmla="val 0"/>
            </a:avLst>
          </a:prstGeom>
          <a:solidFill>
            <a:schemeClr val="bg2"/>
          </a:solidFill>
        </p:spPr>
        <p:txBody>
          <a:bodyPr vert="horz" lIns="137160" tIns="1280160" rIns="137160" bIns="13716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b="1" dirty="0">
                <a:solidFill>
                  <a:srgbClr val="0096D6"/>
                </a:solidFill>
              </a:rPr>
              <a:t>Runtime monitoring for malware detection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 flipH="1">
            <a:off x="8789616" y="2447926"/>
            <a:ext cx="2526084" cy="2181224"/>
          </a:xfrm>
          <a:prstGeom prst="round2DiagRect">
            <a:avLst>
              <a:gd name="adj1" fmla="val 6284"/>
              <a:gd name="adj2" fmla="val 0"/>
            </a:avLst>
          </a:prstGeom>
          <a:solidFill>
            <a:schemeClr val="bg2"/>
          </a:solidFill>
        </p:spPr>
        <p:txBody>
          <a:bodyPr vert="horz" lIns="137160" tIns="1280160" rIns="137160" bIns="13716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b="1" dirty="0">
                <a:solidFill>
                  <a:srgbClr val="0096D6"/>
                </a:solidFill>
              </a:rPr>
              <a:t>Monitoring for data leakage</a:t>
            </a:r>
          </a:p>
        </p:txBody>
      </p:sp>
      <p:sp>
        <p:nvSpPr>
          <p:cNvPr id="14" name="Freeform 5"/>
          <p:cNvSpPr>
            <a:spLocks noEditPoints="1"/>
          </p:cNvSpPr>
          <p:nvPr/>
        </p:nvSpPr>
        <p:spPr bwMode="auto">
          <a:xfrm>
            <a:off x="9751641" y="2863636"/>
            <a:ext cx="602034" cy="607712"/>
          </a:xfrm>
          <a:custGeom>
            <a:avLst/>
            <a:gdLst>
              <a:gd name="T0" fmla="*/ 426 w 426"/>
              <a:gd name="T1" fmla="*/ 138 h 426"/>
              <a:gd name="T2" fmla="*/ 426 w 426"/>
              <a:gd name="T3" fmla="*/ 138 h 426"/>
              <a:gd name="T4" fmla="*/ 425 w 426"/>
              <a:gd name="T5" fmla="*/ 131 h 426"/>
              <a:gd name="T6" fmla="*/ 424 w 426"/>
              <a:gd name="T7" fmla="*/ 126 h 426"/>
              <a:gd name="T8" fmla="*/ 420 w 426"/>
              <a:gd name="T9" fmla="*/ 120 h 426"/>
              <a:gd name="T10" fmla="*/ 416 w 426"/>
              <a:gd name="T11" fmla="*/ 116 h 426"/>
              <a:gd name="T12" fmla="*/ 412 w 426"/>
              <a:gd name="T13" fmla="*/ 112 h 426"/>
              <a:gd name="T14" fmla="*/ 407 w 426"/>
              <a:gd name="T15" fmla="*/ 108 h 426"/>
              <a:gd name="T16" fmla="*/ 401 w 426"/>
              <a:gd name="T17" fmla="*/ 107 h 426"/>
              <a:gd name="T18" fmla="*/ 395 w 426"/>
              <a:gd name="T19" fmla="*/ 106 h 426"/>
              <a:gd name="T20" fmla="*/ 395 w 426"/>
              <a:gd name="T21" fmla="*/ 106 h 426"/>
              <a:gd name="T22" fmla="*/ 394 w 426"/>
              <a:gd name="T23" fmla="*/ 106 h 426"/>
              <a:gd name="T24" fmla="*/ 394 w 426"/>
              <a:gd name="T25" fmla="*/ 106 h 426"/>
              <a:gd name="T26" fmla="*/ 394 w 426"/>
              <a:gd name="T27" fmla="*/ 106 h 426"/>
              <a:gd name="T28" fmla="*/ 319 w 426"/>
              <a:gd name="T29" fmla="*/ 106 h 426"/>
              <a:gd name="T30" fmla="*/ 319 w 426"/>
              <a:gd name="T31" fmla="*/ 213 h 426"/>
              <a:gd name="T32" fmla="*/ 213 w 426"/>
              <a:gd name="T33" fmla="*/ 213 h 426"/>
              <a:gd name="T34" fmla="*/ 213 w 426"/>
              <a:gd name="T35" fmla="*/ 106 h 426"/>
              <a:gd name="T36" fmla="*/ 107 w 426"/>
              <a:gd name="T37" fmla="*/ 106 h 426"/>
              <a:gd name="T38" fmla="*/ 107 w 426"/>
              <a:gd name="T39" fmla="*/ 213 h 426"/>
              <a:gd name="T40" fmla="*/ 213 w 426"/>
              <a:gd name="T41" fmla="*/ 213 h 426"/>
              <a:gd name="T42" fmla="*/ 213 w 426"/>
              <a:gd name="T43" fmla="*/ 320 h 426"/>
              <a:gd name="T44" fmla="*/ 107 w 426"/>
              <a:gd name="T45" fmla="*/ 320 h 426"/>
              <a:gd name="T46" fmla="*/ 107 w 426"/>
              <a:gd name="T47" fmla="*/ 393 h 426"/>
              <a:gd name="T48" fmla="*/ 107 w 426"/>
              <a:gd name="T49" fmla="*/ 393 h 426"/>
              <a:gd name="T50" fmla="*/ 107 w 426"/>
              <a:gd name="T51" fmla="*/ 394 h 426"/>
              <a:gd name="T52" fmla="*/ 107 w 426"/>
              <a:gd name="T53" fmla="*/ 394 h 426"/>
              <a:gd name="T54" fmla="*/ 107 w 426"/>
              <a:gd name="T55" fmla="*/ 396 h 426"/>
              <a:gd name="T56" fmla="*/ 107 w 426"/>
              <a:gd name="T57" fmla="*/ 396 h 426"/>
              <a:gd name="T58" fmla="*/ 108 w 426"/>
              <a:gd name="T59" fmla="*/ 402 h 426"/>
              <a:gd name="T60" fmla="*/ 110 w 426"/>
              <a:gd name="T61" fmla="*/ 408 h 426"/>
              <a:gd name="T62" fmla="*/ 112 w 426"/>
              <a:gd name="T63" fmla="*/ 412 h 426"/>
              <a:gd name="T64" fmla="*/ 116 w 426"/>
              <a:gd name="T65" fmla="*/ 417 h 426"/>
              <a:gd name="T66" fmla="*/ 121 w 426"/>
              <a:gd name="T67" fmla="*/ 421 h 426"/>
              <a:gd name="T68" fmla="*/ 125 w 426"/>
              <a:gd name="T69" fmla="*/ 423 h 426"/>
              <a:gd name="T70" fmla="*/ 131 w 426"/>
              <a:gd name="T71" fmla="*/ 425 h 426"/>
              <a:gd name="T72" fmla="*/ 137 w 426"/>
              <a:gd name="T73" fmla="*/ 426 h 426"/>
              <a:gd name="T74" fmla="*/ 137 w 426"/>
              <a:gd name="T75" fmla="*/ 426 h 426"/>
              <a:gd name="T76" fmla="*/ 139 w 426"/>
              <a:gd name="T77" fmla="*/ 426 h 426"/>
              <a:gd name="T78" fmla="*/ 139 w 426"/>
              <a:gd name="T79" fmla="*/ 426 h 426"/>
              <a:gd name="T80" fmla="*/ 140 w 426"/>
              <a:gd name="T81" fmla="*/ 426 h 426"/>
              <a:gd name="T82" fmla="*/ 426 w 426"/>
              <a:gd name="T83" fmla="*/ 426 h 426"/>
              <a:gd name="T84" fmla="*/ 426 w 426"/>
              <a:gd name="T85" fmla="*/ 139 h 426"/>
              <a:gd name="T86" fmla="*/ 426 w 426"/>
              <a:gd name="T87" fmla="*/ 139 h 426"/>
              <a:gd name="T88" fmla="*/ 426 w 426"/>
              <a:gd name="T89" fmla="*/ 139 h 426"/>
              <a:gd name="T90" fmla="*/ 426 w 426"/>
              <a:gd name="T91" fmla="*/ 139 h 426"/>
              <a:gd name="T92" fmla="*/ 426 w 426"/>
              <a:gd name="T93" fmla="*/ 138 h 426"/>
              <a:gd name="T94" fmla="*/ 426 w 426"/>
              <a:gd name="T95" fmla="*/ 138 h 426"/>
              <a:gd name="T96" fmla="*/ 107 w 426"/>
              <a:gd name="T97" fmla="*/ 213 h 426"/>
              <a:gd name="T98" fmla="*/ 0 w 426"/>
              <a:gd name="T99" fmla="*/ 213 h 426"/>
              <a:gd name="T100" fmla="*/ 0 w 426"/>
              <a:gd name="T101" fmla="*/ 320 h 426"/>
              <a:gd name="T102" fmla="*/ 107 w 426"/>
              <a:gd name="T103" fmla="*/ 320 h 426"/>
              <a:gd name="T104" fmla="*/ 107 w 426"/>
              <a:gd name="T105" fmla="*/ 213 h 426"/>
              <a:gd name="T106" fmla="*/ 0 w 426"/>
              <a:gd name="T107" fmla="*/ 0 h 426"/>
              <a:gd name="T108" fmla="*/ 0 w 426"/>
              <a:gd name="T109" fmla="*/ 106 h 426"/>
              <a:gd name="T110" fmla="*/ 107 w 426"/>
              <a:gd name="T111" fmla="*/ 106 h 426"/>
              <a:gd name="T112" fmla="*/ 107 w 426"/>
              <a:gd name="T113" fmla="*/ 0 h 426"/>
              <a:gd name="T114" fmla="*/ 0 w 426"/>
              <a:gd name="T115" fmla="*/ 0 h 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26" h="426">
                <a:moveTo>
                  <a:pt x="426" y="138"/>
                </a:moveTo>
                <a:lnTo>
                  <a:pt x="426" y="138"/>
                </a:lnTo>
                <a:lnTo>
                  <a:pt x="425" y="131"/>
                </a:lnTo>
                <a:lnTo>
                  <a:pt x="424" y="126"/>
                </a:lnTo>
                <a:lnTo>
                  <a:pt x="420" y="120"/>
                </a:lnTo>
                <a:lnTo>
                  <a:pt x="416" y="116"/>
                </a:lnTo>
                <a:lnTo>
                  <a:pt x="412" y="112"/>
                </a:lnTo>
                <a:lnTo>
                  <a:pt x="407" y="108"/>
                </a:lnTo>
                <a:lnTo>
                  <a:pt x="401" y="107"/>
                </a:lnTo>
                <a:lnTo>
                  <a:pt x="395" y="106"/>
                </a:lnTo>
                <a:lnTo>
                  <a:pt x="395" y="106"/>
                </a:lnTo>
                <a:lnTo>
                  <a:pt x="394" y="106"/>
                </a:lnTo>
                <a:lnTo>
                  <a:pt x="394" y="106"/>
                </a:lnTo>
                <a:lnTo>
                  <a:pt x="394" y="106"/>
                </a:lnTo>
                <a:lnTo>
                  <a:pt x="319" y="106"/>
                </a:lnTo>
                <a:lnTo>
                  <a:pt x="319" y="213"/>
                </a:lnTo>
                <a:lnTo>
                  <a:pt x="213" y="213"/>
                </a:lnTo>
                <a:lnTo>
                  <a:pt x="213" y="106"/>
                </a:lnTo>
                <a:lnTo>
                  <a:pt x="107" y="106"/>
                </a:lnTo>
                <a:lnTo>
                  <a:pt x="107" y="213"/>
                </a:lnTo>
                <a:lnTo>
                  <a:pt x="213" y="213"/>
                </a:lnTo>
                <a:lnTo>
                  <a:pt x="213" y="320"/>
                </a:lnTo>
                <a:lnTo>
                  <a:pt x="107" y="320"/>
                </a:lnTo>
                <a:lnTo>
                  <a:pt x="107" y="393"/>
                </a:lnTo>
                <a:lnTo>
                  <a:pt x="107" y="393"/>
                </a:lnTo>
                <a:lnTo>
                  <a:pt x="107" y="394"/>
                </a:lnTo>
                <a:lnTo>
                  <a:pt x="107" y="394"/>
                </a:lnTo>
                <a:lnTo>
                  <a:pt x="107" y="396"/>
                </a:lnTo>
                <a:lnTo>
                  <a:pt x="107" y="396"/>
                </a:lnTo>
                <a:lnTo>
                  <a:pt x="108" y="402"/>
                </a:lnTo>
                <a:lnTo>
                  <a:pt x="110" y="408"/>
                </a:lnTo>
                <a:lnTo>
                  <a:pt x="112" y="412"/>
                </a:lnTo>
                <a:lnTo>
                  <a:pt x="116" y="417"/>
                </a:lnTo>
                <a:lnTo>
                  <a:pt x="121" y="421"/>
                </a:lnTo>
                <a:lnTo>
                  <a:pt x="125" y="423"/>
                </a:lnTo>
                <a:lnTo>
                  <a:pt x="131" y="425"/>
                </a:lnTo>
                <a:lnTo>
                  <a:pt x="137" y="426"/>
                </a:lnTo>
                <a:lnTo>
                  <a:pt x="137" y="426"/>
                </a:lnTo>
                <a:lnTo>
                  <a:pt x="139" y="426"/>
                </a:lnTo>
                <a:lnTo>
                  <a:pt x="139" y="426"/>
                </a:lnTo>
                <a:lnTo>
                  <a:pt x="140" y="426"/>
                </a:lnTo>
                <a:lnTo>
                  <a:pt x="426" y="426"/>
                </a:lnTo>
                <a:lnTo>
                  <a:pt x="426" y="139"/>
                </a:lnTo>
                <a:lnTo>
                  <a:pt x="426" y="139"/>
                </a:lnTo>
                <a:lnTo>
                  <a:pt x="426" y="139"/>
                </a:lnTo>
                <a:lnTo>
                  <a:pt x="426" y="139"/>
                </a:lnTo>
                <a:lnTo>
                  <a:pt x="426" y="138"/>
                </a:lnTo>
                <a:lnTo>
                  <a:pt x="426" y="138"/>
                </a:lnTo>
                <a:close/>
                <a:moveTo>
                  <a:pt x="107" y="213"/>
                </a:moveTo>
                <a:lnTo>
                  <a:pt x="0" y="213"/>
                </a:lnTo>
                <a:lnTo>
                  <a:pt x="0" y="320"/>
                </a:lnTo>
                <a:lnTo>
                  <a:pt x="107" y="320"/>
                </a:lnTo>
                <a:lnTo>
                  <a:pt x="107" y="213"/>
                </a:lnTo>
                <a:close/>
                <a:moveTo>
                  <a:pt x="0" y="0"/>
                </a:moveTo>
                <a:lnTo>
                  <a:pt x="0" y="106"/>
                </a:lnTo>
                <a:lnTo>
                  <a:pt x="107" y="106"/>
                </a:lnTo>
                <a:lnTo>
                  <a:pt x="107" y="0"/>
                </a:lnTo>
                <a:lnTo>
                  <a:pt x="0" y="0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15" name="Group 4"/>
          <p:cNvGrpSpPr>
            <a:grpSpLocks noChangeAspect="1"/>
          </p:cNvGrpSpPr>
          <p:nvPr/>
        </p:nvGrpSpPr>
        <p:grpSpPr bwMode="auto">
          <a:xfrm>
            <a:off x="7002181" y="2787882"/>
            <a:ext cx="825410" cy="759220"/>
            <a:chOff x="3036" y="1185"/>
            <a:chExt cx="212" cy="195"/>
          </a:xfrm>
        </p:grpSpPr>
        <p:sp>
          <p:nvSpPr>
            <p:cNvPr id="16" name="Freeform 5"/>
            <p:cNvSpPr>
              <a:spLocks noEditPoints="1"/>
            </p:cNvSpPr>
            <p:nvPr/>
          </p:nvSpPr>
          <p:spPr bwMode="auto">
            <a:xfrm>
              <a:off x="3036" y="1185"/>
              <a:ext cx="196" cy="195"/>
            </a:xfrm>
            <a:custGeom>
              <a:avLst/>
              <a:gdLst>
                <a:gd name="T0" fmla="*/ 137 w 390"/>
                <a:gd name="T1" fmla="*/ 11 h 391"/>
                <a:gd name="T2" fmla="*/ 83 w 390"/>
                <a:gd name="T3" fmla="*/ 1 h 391"/>
                <a:gd name="T4" fmla="*/ 106 w 390"/>
                <a:gd name="T5" fmla="*/ 58 h 391"/>
                <a:gd name="T6" fmla="*/ 116 w 390"/>
                <a:gd name="T7" fmla="*/ 82 h 391"/>
                <a:gd name="T8" fmla="*/ 106 w 390"/>
                <a:gd name="T9" fmla="*/ 107 h 391"/>
                <a:gd name="T10" fmla="*/ 89 w 390"/>
                <a:gd name="T11" fmla="*/ 116 h 391"/>
                <a:gd name="T12" fmla="*/ 63 w 390"/>
                <a:gd name="T13" fmla="*/ 111 h 391"/>
                <a:gd name="T14" fmla="*/ 3 w 390"/>
                <a:gd name="T15" fmla="*/ 70 h 391"/>
                <a:gd name="T16" fmla="*/ 4 w 390"/>
                <a:gd name="T17" fmla="*/ 124 h 391"/>
                <a:gd name="T18" fmla="*/ 27 w 390"/>
                <a:gd name="T19" fmla="*/ 161 h 391"/>
                <a:gd name="T20" fmla="*/ 69 w 390"/>
                <a:gd name="T21" fmla="*/ 186 h 391"/>
                <a:gd name="T22" fmla="*/ 117 w 390"/>
                <a:gd name="T23" fmla="*/ 186 h 391"/>
                <a:gd name="T24" fmla="*/ 159 w 390"/>
                <a:gd name="T25" fmla="*/ 206 h 391"/>
                <a:gd name="T26" fmla="*/ 155 w 390"/>
                <a:gd name="T27" fmla="*/ 203 h 391"/>
                <a:gd name="T28" fmla="*/ 148 w 390"/>
                <a:gd name="T29" fmla="*/ 196 h 391"/>
                <a:gd name="T30" fmla="*/ 143 w 390"/>
                <a:gd name="T31" fmla="*/ 178 h 391"/>
                <a:gd name="T32" fmla="*/ 151 w 390"/>
                <a:gd name="T33" fmla="*/ 150 h 391"/>
                <a:gd name="T34" fmla="*/ 164 w 390"/>
                <a:gd name="T35" fmla="*/ 138 h 391"/>
                <a:gd name="T36" fmla="*/ 186 w 390"/>
                <a:gd name="T37" fmla="*/ 117 h 391"/>
                <a:gd name="T38" fmla="*/ 187 w 390"/>
                <a:gd name="T39" fmla="*/ 81 h 391"/>
                <a:gd name="T40" fmla="*/ 169 w 390"/>
                <a:gd name="T41" fmla="*/ 38 h 391"/>
                <a:gd name="T42" fmla="*/ 256 w 390"/>
                <a:gd name="T43" fmla="*/ 187 h 391"/>
                <a:gd name="T44" fmla="*/ 207 w 390"/>
                <a:gd name="T45" fmla="*/ 206 h 391"/>
                <a:gd name="T46" fmla="*/ 202 w 390"/>
                <a:gd name="T47" fmla="*/ 210 h 391"/>
                <a:gd name="T48" fmla="*/ 208 w 390"/>
                <a:gd name="T49" fmla="*/ 215 h 391"/>
                <a:gd name="T50" fmla="*/ 215 w 390"/>
                <a:gd name="T51" fmla="*/ 219 h 391"/>
                <a:gd name="T52" fmla="*/ 241 w 390"/>
                <a:gd name="T53" fmla="*/ 230 h 391"/>
                <a:gd name="T54" fmla="*/ 251 w 390"/>
                <a:gd name="T55" fmla="*/ 247 h 391"/>
                <a:gd name="T56" fmla="*/ 266 w 390"/>
                <a:gd name="T57" fmla="*/ 261 h 391"/>
                <a:gd name="T58" fmla="*/ 276 w 390"/>
                <a:gd name="T59" fmla="*/ 282 h 391"/>
                <a:gd name="T60" fmla="*/ 281 w 390"/>
                <a:gd name="T61" fmla="*/ 294 h 391"/>
                <a:gd name="T62" fmla="*/ 294 w 390"/>
                <a:gd name="T63" fmla="*/ 319 h 391"/>
                <a:gd name="T64" fmla="*/ 290 w 390"/>
                <a:gd name="T65" fmla="*/ 338 h 391"/>
                <a:gd name="T66" fmla="*/ 307 w 390"/>
                <a:gd name="T67" fmla="*/ 376 h 391"/>
                <a:gd name="T68" fmla="*/ 342 w 390"/>
                <a:gd name="T69" fmla="*/ 391 h 391"/>
                <a:gd name="T70" fmla="*/ 368 w 390"/>
                <a:gd name="T71" fmla="*/ 382 h 391"/>
                <a:gd name="T72" fmla="*/ 386 w 390"/>
                <a:gd name="T73" fmla="*/ 361 h 391"/>
                <a:gd name="T74" fmla="*/ 386 w 390"/>
                <a:gd name="T75" fmla="*/ 323 h 391"/>
                <a:gd name="T76" fmla="*/ 357 w 390"/>
                <a:gd name="T77" fmla="*/ 356 h 391"/>
                <a:gd name="T78" fmla="*/ 345 w 390"/>
                <a:gd name="T79" fmla="*/ 363 h 391"/>
                <a:gd name="T80" fmla="*/ 330 w 390"/>
                <a:gd name="T81" fmla="*/ 360 h 391"/>
                <a:gd name="T82" fmla="*/ 321 w 390"/>
                <a:gd name="T83" fmla="*/ 350 h 391"/>
                <a:gd name="T84" fmla="*/ 321 w 390"/>
                <a:gd name="T85" fmla="*/ 334 h 391"/>
                <a:gd name="T86" fmla="*/ 330 w 390"/>
                <a:gd name="T87" fmla="*/ 324 h 391"/>
                <a:gd name="T88" fmla="*/ 345 w 390"/>
                <a:gd name="T89" fmla="*/ 321 h 391"/>
                <a:gd name="T90" fmla="*/ 357 w 390"/>
                <a:gd name="T91" fmla="*/ 326 h 391"/>
                <a:gd name="T92" fmla="*/ 362 w 390"/>
                <a:gd name="T93" fmla="*/ 341 h 391"/>
                <a:gd name="T94" fmla="*/ 357 w 390"/>
                <a:gd name="T95" fmla="*/ 35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90" h="391">
                  <a:moveTo>
                    <a:pt x="161" y="28"/>
                  </a:moveTo>
                  <a:lnTo>
                    <a:pt x="161" y="28"/>
                  </a:lnTo>
                  <a:lnTo>
                    <a:pt x="149" y="18"/>
                  </a:lnTo>
                  <a:lnTo>
                    <a:pt x="137" y="11"/>
                  </a:lnTo>
                  <a:lnTo>
                    <a:pt x="124" y="6"/>
                  </a:lnTo>
                  <a:lnTo>
                    <a:pt x="110" y="2"/>
                  </a:lnTo>
                  <a:lnTo>
                    <a:pt x="97" y="0"/>
                  </a:lnTo>
                  <a:lnTo>
                    <a:pt x="83" y="1"/>
                  </a:lnTo>
                  <a:lnTo>
                    <a:pt x="69" y="3"/>
                  </a:lnTo>
                  <a:lnTo>
                    <a:pt x="56" y="9"/>
                  </a:lnTo>
                  <a:lnTo>
                    <a:pt x="106" y="58"/>
                  </a:lnTo>
                  <a:lnTo>
                    <a:pt x="106" y="58"/>
                  </a:lnTo>
                  <a:lnTo>
                    <a:pt x="110" y="64"/>
                  </a:lnTo>
                  <a:lnTo>
                    <a:pt x="114" y="69"/>
                  </a:lnTo>
                  <a:lnTo>
                    <a:pt x="116" y="76"/>
                  </a:lnTo>
                  <a:lnTo>
                    <a:pt x="116" y="82"/>
                  </a:lnTo>
                  <a:lnTo>
                    <a:pt x="116" y="89"/>
                  </a:lnTo>
                  <a:lnTo>
                    <a:pt x="114" y="95"/>
                  </a:lnTo>
                  <a:lnTo>
                    <a:pt x="110" y="102"/>
                  </a:lnTo>
                  <a:lnTo>
                    <a:pt x="106" y="107"/>
                  </a:lnTo>
                  <a:lnTo>
                    <a:pt x="106" y="107"/>
                  </a:lnTo>
                  <a:lnTo>
                    <a:pt x="101" y="111"/>
                  </a:lnTo>
                  <a:lnTo>
                    <a:pt x="95" y="115"/>
                  </a:lnTo>
                  <a:lnTo>
                    <a:pt x="89" y="116"/>
                  </a:lnTo>
                  <a:lnTo>
                    <a:pt x="82" y="117"/>
                  </a:lnTo>
                  <a:lnTo>
                    <a:pt x="76" y="116"/>
                  </a:lnTo>
                  <a:lnTo>
                    <a:pt x="69" y="115"/>
                  </a:lnTo>
                  <a:lnTo>
                    <a:pt x="63" y="111"/>
                  </a:lnTo>
                  <a:lnTo>
                    <a:pt x="57" y="107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3" y="70"/>
                  </a:lnTo>
                  <a:lnTo>
                    <a:pt x="0" y="83"/>
                  </a:lnTo>
                  <a:lnTo>
                    <a:pt x="0" y="97"/>
                  </a:lnTo>
                  <a:lnTo>
                    <a:pt x="1" y="111"/>
                  </a:lnTo>
                  <a:lnTo>
                    <a:pt x="4" y="124"/>
                  </a:lnTo>
                  <a:lnTo>
                    <a:pt x="10" y="138"/>
                  </a:lnTo>
                  <a:lnTo>
                    <a:pt x="17" y="150"/>
                  </a:lnTo>
                  <a:lnTo>
                    <a:pt x="27" y="161"/>
                  </a:lnTo>
                  <a:lnTo>
                    <a:pt x="27" y="161"/>
                  </a:lnTo>
                  <a:lnTo>
                    <a:pt x="37" y="170"/>
                  </a:lnTo>
                  <a:lnTo>
                    <a:pt x="46" y="176"/>
                  </a:lnTo>
                  <a:lnTo>
                    <a:pt x="58" y="182"/>
                  </a:lnTo>
                  <a:lnTo>
                    <a:pt x="69" y="186"/>
                  </a:lnTo>
                  <a:lnTo>
                    <a:pt x="81" y="188"/>
                  </a:lnTo>
                  <a:lnTo>
                    <a:pt x="93" y="189"/>
                  </a:lnTo>
                  <a:lnTo>
                    <a:pt x="105" y="188"/>
                  </a:lnTo>
                  <a:lnTo>
                    <a:pt x="117" y="186"/>
                  </a:lnTo>
                  <a:lnTo>
                    <a:pt x="147" y="217"/>
                  </a:lnTo>
                  <a:lnTo>
                    <a:pt x="154" y="212"/>
                  </a:lnTo>
                  <a:lnTo>
                    <a:pt x="154" y="212"/>
                  </a:lnTo>
                  <a:lnTo>
                    <a:pt x="159" y="206"/>
                  </a:lnTo>
                  <a:lnTo>
                    <a:pt x="159" y="206"/>
                  </a:lnTo>
                  <a:lnTo>
                    <a:pt x="156" y="204"/>
                  </a:lnTo>
                  <a:lnTo>
                    <a:pt x="156" y="204"/>
                  </a:lnTo>
                  <a:lnTo>
                    <a:pt x="155" y="203"/>
                  </a:lnTo>
                  <a:lnTo>
                    <a:pt x="155" y="203"/>
                  </a:lnTo>
                  <a:lnTo>
                    <a:pt x="155" y="203"/>
                  </a:lnTo>
                  <a:lnTo>
                    <a:pt x="148" y="196"/>
                  </a:lnTo>
                  <a:lnTo>
                    <a:pt x="148" y="196"/>
                  </a:lnTo>
                  <a:lnTo>
                    <a:pt x="146" y="190"/>
                  </a:lnTo>
                  <a:lnTo>
                    <a:pt x="144" y="184"/>
                  </a:lnTo>
                  <a:lnTo>
                    <a:pt x="144" y="184"/>
                  </a:lnTo>
                  <a:lnTo>
                    <a:pt x="143" y="178"/>
                  </a:lnTo>
                  <a:lnTo>
                    <a:pt x="143" y="174"/>
                  </a:lnTo>
                  <a:lnTo>
                    <a:pt x="145" y="164"/>
                  </a:lnTo>
                  <a:lnTo>
                    <a:pt x="148" y="155"/>
                  </a:lnTo>
                  <a:lnTo>
                    <a:pt x="151" y="150"/>
                  </a:lnTo>
                  <a:lnTo>
                    <a:pt x="155" y="147"/>
                  </a:lnTo>
                  <a:lnTo>
                    <a:pt x="155" y="147"/>
                  </a:lnTo>
                  <a:lnTo>
                    <a:pt x="155" y="146"/>
                  </a:lnTo>
                  <a:lnTo>
                    <a:pt x="164" y="138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86" y="117"/>
                  </a:lnTo>
                  <a:lnTo>
                    <a:pt x="186" y="117"/>
                  </a:lnTo>
                  <a:lnTo>
                    <a:pt x="186" y="117"/>
                  </a:lnTo>
                  <a:lnTo>
                    <a:pt x="187" y="105"/>
                  </a:lnTo>
                  <a:lnTo>
                    <a:pt x="188" y="93"/>
                  </a:lnTo>
                  <a:lnTo>
                    <a:pt x="187" y="81"/>
                  </a:lnTo>
                  <a:lnTo>
                    <a:pt x="185" y="70"/>
                  </a:lnTo>
                  <a:lnTo>
                    <a:pt x="181" y="58"/>
                  </a:lnTo>
                  <a:lnTo>
                    <a:pt x="176" y="48"/>
                  </a:lnTo>
                  <a:lnTo>
                    <a:pt x="169" y="38"/>
                  </a:lnTo>
                  <a:lnTo>
                    <a:pt x="161" y="28"/>
                  </a:lnTo>
                  <a:lnTo>
                    <a:pt x="161" y="28"/>
                  </a:lnTo>
                  <a:close/>
                  <a:moveTo>
                    <a:pt x="376" y="307"/>
                  </a:moveTo>
                  <a:lnTo>
                    <a:pt x="256" y="187"/>
                  </a:lnTo>
                  <a:lnTo>
                    <a:pt x="227" y="187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07" y="206"/>
                  </a:lnTo>
                  <a:lnTo>
                    <a:pt x="201" y="210"/>
                  </a:lnTo>
                  <a:lnTo>
                    <a:pt x="201" y="210"/>
                  </a:lnTo>
                  <a:lnTo>
                    <a:pt x="202" y="210"/>
                  </a:lnTo>
                  <a:lnTo>
                    <a:pt x="202" y="210"/>
                  </a:lnTo>
                  <a:lnTo>
                    <a:pt x="203" y="211"/>
                  </a:lnTo>
                  <a:lnTo>
                    <a:pt x="204" y="212"/>
                  </a:lnTo>
                  <a:lnTo>
                    <a:pt x="204" y="212"/>
                  </a:lnTo>
                  <a:lnTo>
                    <a:pt x="208" y="215"/>
                  </a:lnTo>
                  <a:lnTo>
                    <a:pt x="211" y="220"/>
                  </a:lnTo>
                  <a:lnTo>
                    <a:pt x="211" y="220"/>
                  </a:lnTo>
                  <a:lnTo>
                    <a:pt x="215" y="219"/>
                  </a:lnTo>
                  <a:lnTo>
                    <a:pt x="215" y="219"/>
                  </a:lnTo>
                  <a:lnTo>
                    <a:pt x="223" y="220"/>
                  </a:lnTo>
                  <a:lnTo>
                    <a:pt x="229" y="223"/>
                  </a:lnTo>
                  <a:lnTo>
                    <a:pt x="236" y="226"/>
                  </a:lnTo>
                  <a:lnTo>
                    <a:pt x="241" y="230"/>
                  </a:lnTo>
                  <a:lnTo>
                    <a:pt x="241" y="230"/>
                  </a:lnTo>
                  <a:lnTo>
                    <a:pt x="245" y="235"/>
                  </a:lnTo>
                  <a:lnTo>
                    <a:pt x="249" y="241"/>
                  </a:lnTo>
                  <a:lnTo>
                    <a:pt x="251" y="247"/>
                  </a:lnTo>
                  <a:lnTo>
                    <a:pt x="252" y="253"/>
                  </a:lnTo>
                  <a:lnTo>
                    <a:pt x="252" y="253"/>
                  </a:lnTo>
                  <a:lnTo>
                    <a:pt x="259" y="256"/>
                  </a:lnTo>
                  <a:lnTo>
                    <a:pt x="266" y="261"/>
                  </a:lnTo>
                  <a:lnTo>
                    <a:pt x="266" y="261"/>
                  </a:lnTo>
                  <a:lnTo>
                    <a:pt x="270" y="268"/>
                  </a:lnTo>
                  <a:lnTo>
                    <a:pt x="274" y="275"/>
                  </a:lnTo>
                  <a:lnTo>
                    <a:pt x="276" y="282"/>
                  </a:lnTo>
                  <a:lnTo>
                    <a:pt x="276" y="289"/>
                  </a:lnTo>
                  <a:lnTo>
                    <a:pt x="276" y="289"/>
                  </a:lnTo>
                  <a:lnTo>
                    <a:pt x="281" y="294"/>
                  </a:lnTo>
                  <a:lnTo>
                    <a:pt x="281" y="294"/>
                  </a:lnTo>
                  <a:lnTo>
                    <a:pt x="287" y="299"/>
                  </a:lnTo>
                  <a:lnTo>
                    <a:pt x="290" y="305"/>
                  </a:lnTo>
                  <a:lnTo>
                    <a:pt x="293" y="311"/>
                  </a:lnTo>
                  <a:lnTo>
                    <a:pt x="294" y="319"/>
                  </a:lnTo>
                  <a:lnTo>
                    <a:pt x="294" y="319"/>
                  </a:lnTo>
                  <a:lnTo>
                    <a:pt x="294" y="325"/>
                  </a:lnTo>
                  <a:lnTo>
                    <a:pt x="293" y="332"/>
                  </a:lnTo>
                  <a:lnTo>
                    <a:pt x="290" y="338"/>
                  </a:lnTo>
                  <a:lnTo>
                    <a:pt x="285" y="345"/>
                  </a:lnTo>
                  <a:lnTo>
                    <a:pt x="281" y="351"/>
                  </a:lnTo>
                  <a:lnTo>
                    <a:pt x="307" y="376"/>
                  </a:lnTo>
                  <a:lnTo>
                    <a:pt x="307" y="376"/>
                  </a:lnTo>
                  <a:lnTo>
                    <a:pt x="315" y="382"/>
                  </a:lnTo>
                  <a:lnTo>
                    <a:pt x="322" y="387"/>
                  </a:lnTo>
                  <a:lnTo>
                    <a:pt x="332" y="390"/>
                  </a:lnTo>
                  <a:lnTo>
                    <a:pt x="342" y="391"/>
                  </a:lnTo>
                  <a:lnTo>
                    <a:pt x="342" y="391"/>
                  </a:lnTo>
                  <a:lnTo>
                    <a:pt x="350" y="390"/>
                  </a:lnTo>
                  <a:lnTo>
                    <a:pt x="360" y="387"/>
                  </a:lnTo>
                  <a:lnTo>
                    <a:pt x="368" y="382"/>
                  </a:lnTo>
                  <a:lnTo>
                    <a:pt x="376" y="376"/>
                  </a:lnTo>
                  <a:lnTo>
                    <a:pt x="376" y="376"/>
                  </a:lnTo>
                  <a:lnTo>
                    <a:pt x="382" y="368"/>
                  </a:lnTo>
                  <a:lnTo>
                    <a:pt x="386" y="361"/>
                  </a:lnTo>
                  <a:lnTo>
                    <a:pt x="389" y="351"/>
                  </a:lnTo>
                  <a:lnTo>
                    <a:pt x="390" y="341"/>
                  </a:lnTo>
                  <a:lnTo>
                    <a:pt x="389" y="333"/>
                  </a:lnTo>
                  <a:lnTo>
                    <a:pt x="386" y="323"/>
                  </a:lnTo>
                  <a:lnTo>
                    <a:pt x="382" y="315"/>
                  </a:lnTo>
                  <a:lnTo>
                    <a:pt x="376" y="307"/>
                  </a:lnTo>
                  <a:lnTo>
                    <a:pt x="376" y="307"/>
                  </a:lnTo>
                  <a:close/>
                  <a:moveTo>
                    <a:pt x="357" y="356"/>
                  </a:moveTo>
                  <a:lnTo>
                    <a:pt x="357" y="356"/>
                  </a:lnTo>
                  <a:lnTo>
                    <a:pt x="352" y="360"/>
                  </a:lnTo>
                  <a:lnTo>
                    <a:pt x="349" y="362"/>
                  </a:lnTo>
                  <a:lnTo>
                    <a:pt x="345" y="363"/>
                  </a:lnTo>
                  <a:lnTo>
                    <a:pt x="342" y="363"/>
                  </a:lnTo>
                  <a:lnTo>
                    <a:pt x="337" y="363"/>
                  </a:lnTo>
                  <a:lnTo>
                    <a:pt x="333" y="362"/>
                  </a:lnTo>
                  <a:lnTo>
                    <a:pt x="330" y="360"/>
                  </a:lnTo>
                  <a:lnTo>
                    <a:pt x="327" y="356"/>
                  </a:lnTo>
                  <a:lnTo>
                    <a:pt x="327" y="356"/>
                  </a:lnTo>
                  <a:lnTo>
                    <a:pt x="323" y="353"/>
                  </a:lnTo>
                  <a:lnTo>
                    <a:pt x="321" y="350"/>
                  </a:lnTo>
                  <a:lnTo>
                    <a:pt x="320" y="346"/>
                  </a:lnTo>
                  <a:lnTo>
                    <a:pt x="320" y="341"/>
                  </a:lnTo>
                  <a:lnTo>
                    <a:pt x="320" y="338"/>
                  </a:lnTo>
                  <a:lnTo>
                    <a:pt x="321" y="334"/>
                  </a:lnTo>
                  <a:lnTo>
                    <a:pt x="323" y="330"/>
                  </a:lnTo>
                  <a:lnTo>
                    <a:pt x="327" y="326"/>
                  </a:lnTo>
                  <a:lnTo>
                    <a:pt x="327" y="326"/>
                  </a:lnTo>
                  <a:lnTo>
                    <a:pt x="330" y="324"/>
                  </a:lnTo>
                  <a:lnTo>
                    <a:pt x="333" y="322"/>
                  </a:lnTo>
                  <a:lnTo>
                    <a:pt x="337" y="321"/>
                  </a:lnTo>
                  <a:lnTo>
                    <a:pt x="342" y="321"/>
                  </a:lnTo>
                  <a:lnTo>
                    <a:pt x="345" y="321"/>
                  </a:lnTo>
                  <a:lnTo>
                    <a:pt x="349" y="322"/>
                  </a:lnTo>
                  <a:lnTo>
                    <a:pt x="352" y="324"/>
                  </a:lnTo>
                  <a:lnTo>
                    <a:pt x="357" y="326"/>
                  </a:lnTo>
                  <a:lnTo>
                    <a:pt x="357" y="326"/>
                  </a:lnTo>
                  <a:lnTo>
                    <a:pt x="359" y="330"/>
                  </a:lnTo>
                  <a:lnTo>
                    <a:pt x="361" y="334"/>
                  </a:lnTo>
                  <a:lnTo>
                    <a:pt x="362" y="338"/>
                  </a:lnTo>
                  <a:lnTo>
                    <a:pt x="362" y="341"/>
                  </a:lnTo>
                  <a:lnTo>
                    <a:pt x="362" y="346"/>
                  </a:lnTo>
                  <a:lnTo>
                    <a:pt x="361" y="350"/>
                  </a:lnTo>
                  <a:lnTo>
                    <a:pt x="359" y="353"/>
                  </a:lnTo>
                  <a:lnTo>
                    <a:pt x="357" y="356"/>
                  </a:lnTo>
                  <a:lnTo>
                    <a:pt x="357" y="356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auto">
            <a:xfrm>
              <a:off x="3105" y="1294"/>
              <a:ext cx="70" cy="71"/>
            </a:xfrm>
            <a:custGeom>
              <a:avLst/>
              <a:gdLst>
                <a:gd name="T0" fmla="*/ 133 w 140"/>
                <a:gd name="T1" fmla="*/ 89 h 144"/>
                <a:gd name="T2" fmla="*/ 127 w 140"/>
                <a:gd name="T3" fmla="*/ 85 h 144"/>
                <a:gd name="T4" fmla="*/ 119 w 140"/>
                <a:gd name="T5" fmla="*/ 84 h 144"/>
                <a:gd name="T6" fmla="*/ 117 w 140"/>
                <a:gd name="T7" fmla="*/ 81 h 144"/>
                <a:gd name="T8" fmla="*/ 119 w 140"/>
                <a:gd name="T9" fmla="*/ 78 h 144"/>
                <a:gd name="T10" fmla="*/ 121 w 140"/>
                <a:gd name="T11" fmla="*/ 68 h 144"/>
                <a:gd name="T12" fmla="*/ 118 w 140"/>
                <a:gd name="T13" fmla="*/ 59 h 144"/>
                <a:gd name="T14" fmla="*/ 116 w 140"/>
                <a:gd name="T15" fmla="*/ 56 h 144"/>
                <a:gd name="T16" fmla="*/ 107 w 140"/>
                <a:gd name="T17" fmla="*/ 51 h 144"/>
                <a:gd name="T18" fmla="*/ 97 w 140"/>
                <a:gd name="T19" fmla="*/ 52 h 144"/>
                <a:gd name="T20" fmla="*/ 94 w 140"/>
                <a:gd name="T21" fmla="*/ 48 h 144"/>
                <a:gd name="T22" fmla="*/ 97 w 140"/>
                <a:gd name="T23" fmla="*/ 42 h 144"/>
                <a:gd name="T24" fmla="*/ 95 w 140"/>
                <a:gd name="T25" fmla="*/ 29 h 144"/>
                <a:gd name="T26" fmla="*/ 92 w 140"/>
                <a:gd name="T27" fmla="*/ 24 h 144"/>
                <a:gd name="T28" fmla="*/ 86 w 140"/>
                <a:gd name="T29" fmla="*/ 21 h 144"/>
                <a:gd name="T30" fmla="*/ 78 w 140"/>
                <a:gd name="T31" fmla="*/ 19 h 144"/>
                <a:gd name="T32" fmla="*/ 75 w 140"/>
                <a:gd name="T33" fmla="*/ 20 h 144"/>
                <a:gd name="T34" fmla="*/ 68 w 140"/>
                <a:gd name="T35" fmla="*/ 22 h 144"/>
                <a:gd name="T36" fmla="*/ 57 w 140"/>
                <a:gd name="T37" fmla="*/ 34 h 144"/>
                <a:gd name="T38" fmla="*/ 60 w 140"/>
                <a:gd name="T39" fmla="*/ 24 h 144"/>
                <a:gd name="T40" fmla="*/ 60 w 140"/>
                <a:gd name="T41" fmla="*/ 14 h 144"/>
                <a:gd name="T42" fmla="*/ 54 w 140"/>
                <a:gd name="T43" fmla="*/ 6 h 144"/>
                <a:gd name="T44" fmla="*/ 54 w 140"/>
                <a:gd name="T45" fmla="*/ 5 h 144"/>
                <a:gd name="T46" fmla="*/ 45 w 140"/>
                <a:gd name="T47" fmla="*/ 0 h 144"/>
                <a:gd name="T48" fmla="*/ 41 w 140"/>
                <a:gd name="T49" fmla="*/ 0 h 144"/>
                <a:gd name="T50" fmla="*/ 37 w 140"/>
                <a:gd name="T51" fmla="*/ 0 h 144"/>
                <a:gd name="T52" fmla="*/ 28 w 140"/>
                <a:gd name="T53" fmla="*/ 6 h 144"/>
                <a:gd name="T54" fmla="*/ 6 w 140"/>
                <a:gd name="T55" fmla="*/ 28 h 144"/>
                <a:gd name="T56" fmla="*/ 5 w 140"/>
                <a:gd name="T57" fmla="*/ 30 h 144"/>
                <a:gd name="T58" fmla="*/ 1 w 140"/>
                <a:gd name="T59" fmla="*/ 36 h 144"/>
                <a:gd name="T60" fmla="*/ 2 w 140"/>
                <a:gd name="T61" fmla="*/ 49 h 144"/>
                <a:gd name="T62" fmla="*/ 6 w 140"/>
                <a:gd name="T63" fmla="*/ 54 h 144"/>
                <a:gd name="T64" fmla="*/ 15 w 140"/>
                <a:gd name="T65" fmla="*/ 60 h 144"/>
                <a:gd name="T66" fmla="*/ 27 w 140"/>
                <a:gd name="T67" fmla="*/ 57 h 144"/>
                <a:gd name="T68" fmla="*/ 31 w 140"/>
                <a:gd name="T69" fmla="*/ 61 h 144"/>
                <a:gd name="T70" fmla="*/ 28 w 140"/>
                <a:gd name="T71" fmla="*/ 66 h 144"/>
                <a:gd name="T72" fmla="*/ 31 w 140"/>
                <a:gd name="T73" fmla="*/ 78 h 144"/>
                <a:gd name="T74" fmla="*/ 34 w 140"/>
                <a:gd name="T75" fmla="*/ 82 h 144"/>
                <a:gd name="T76" fmla="*/ 44 w 140"/>
                <a:gd name="T77" fmla="*/ 88 h 144"/>
                <a:gd name="T78" fmla="*/ 55 w 140"/>
                <a:gd name="T79" fmla="*/ 85 h 144"/>
                <a:gd name="T80" fmla="*/ 59 w 140"/>
                <a:gd name="T81" fmla="*/ 89 h 144"/>
                <a:gd name="T82" fmla="*/ 57 w 140"/>
                <a:gd name="T83" fmla="*/ 94 h 144"/>
                <a:gd name="T84" fmla="*/ 59 w 140"/>
                <a:gd name="T85" fmla="*/ 106 h 144"/>
                <a:gd name="T86" fmla="*/ 62 w 140"/>
                <a:gd name="T87" fmla="*/ 110 h 144"/>
                <a:gd name="T88" fmla="*/ 72 w 140"/>
                <a:gd name="T89" fmla="*/ 116 h 144"/>
                <a:gd name="T90" fmla="*/ 84 w 140"/>
                <a:gd name="T91" fmla="*/ 114 h 144"/>
                <a:gd name="T92" fmla="*/ 86 w 140"/>
                <a:gd name="T93" fmla="*/ 117 h 144"/>
                <a:gd name="T94" fmla="*/ 85 w 140"/>
                <a:gd name="T95" fmla="*/ 123 h 144"/>
                <a:gd name="T96" fmla="*/ 87 w 140"/>
                <a:gd name="T97" fmla="*/ 134 h 144"/>
                <a:gd name="T98" fmla="*/ 91 w 140"/>
                <a:gd name="T99" fmla="*/ 139 h 144"/>
                <a:gd name="T100" fmla="*/ 103 w 140"/>
                <a:gd name="T101" fmla="*/ 144 h 144"/>
                <a:gd name="T102" fmla="*/ 107 w 140"/>
                <a:gd name="T103" fmla="*/ 144 h 144"/>
                <a:gd name="T104" fmla="*/ 114 w 140"/>
                <a:gd name="T105" fmla="*/ 141 h 144"/>
                <a:gd name="T106" fmla="*/ 117 w 140"/>
                <a:gd name="T107" fmla="*/ 137 h 144"/>
                <a:gd name="T108" fmla="*/ 135 w 140"/>
                <a:gd name="T109" fmla="*/ 116 h 144"/>
                <a:gd name="T110" fmla="*/ 139 w 140"/>
                <a:gd name="T111" fmla="*/ 109 h 144"/>
                <a:gd name="T112" fmla="*/ 140 w 140"/>
                <a:gd name="T113" fmla="*/ 102 h 144"/>
                <a:gd name="T114" fmla="*/ 140 w 140"/>
                <a:gd name="T115" fmla="*/ 98 h 144"/>
                <a:gd name="T116" fmla="*/ 135 w 140"/>
                <a:gd name="T117" fmla="*/ 92 h 144"/>
                <a:gd name="T118" fmla="*/ 133 w 140"/>
                <a:gd name="T119" fmla="*/ 8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0" h="144">
                  <a:moveTo>
                    <a:pt x="133" y="89"/>
                  </a:moveTo>
                  <a:lnTo>
                    <a:pt x="133" y="89"/>
                  </a:lnTo>
                  <a:lnTo>
                    <a:pt x="130" y="87"/>
                  </a:lnTo>
                  <a:lnTo>
                    <a:pt x="127" y="85"/>
                  </a:lnTo>
                  <a:lnTo>
                    <a:pt x="124" y="84"/>
                  </a:lnTo>
                  <a:lnTo>
                    <a:pt x="119" y="84"/>
                  </a:lnTo>
                  <a:lnTo>
                    <a:pt x="114" y="85"/>
                  </a:lnTo>
                  <a:lnTo>
                    <a:pt x="117" y="81"/>
                  </a:lnTo>
                  <a:lnTo>
                    <a:pt x="117" y="81"/>
                  </a:lnTo>
                  <a:lnTo>
                    <a:pt x="119" y="78"/>
                  </a:lnTo>
                  <a:lnTo>
                    <a:pt x="120" y="75"/>
                  </a:lnTo>
                  <a:lnTo>
                    <a:pt x="121" y="68"/>
                  </a:lnTo>
                  <a:lnTo>
                    <a:pt x="120" y="62"/>
                  </a:lnTo>
                  <a:lnTo>
                    <a:pt x="118" y="59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2" y="53"/>
                  </a:lnTo>
                  <a:lnTo>
                    <a:pt x="107" y="51"/>
                  </a:lnTo>
                  <a:lnTo>
                    <a:pt x="102" y="51"/>
                  </a:lnTo>
                  <a:lnTo>
                    <a:pt x="97" y="52"/>
                  </a:lnTo>
                  <a:lnTo>
                    <a:pt x="90" y="54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7" y="42"/>
                  </a:lnTo>
                  <a:lnTo>
                    <a:pt x="98" y="36"/>
                  </a:lnTo>
                  <a:lnTo>
                    <a:pt x="95" y="29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89" y="22"/>
                  </a:lnTo>
                  <a:lnTo>
                    <a:pt x="86" y="21"/>
                  </a:lnTo>
                  <a:lnTo>
                    <a:pt x="82" y="20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5" y="20"/>
                  </a:lnTo>
                  <a:lnTo>
                    <a:pt x="72" y="21"/>
                  </a:lnTo>
                  <a:lnTo>
                    <a:pt x="68" y="22"/>
                  </a:lnTo>
                  <a:lnTo>
                    <a:pt x="65" y="24"/>
                  </a:lnTo>
                  <a:lnTo>
                    <a:pt x="57" y="3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0"/>
                  </a:lnTo>
                  <a:lnTo>
                    <a:pt x="60" y="14"/>
                  </a:lnTo>
                  <a:lnTo>
                    <a:pt x="58" y="10"/>
                  </a:lnTo>
                  <a:lnTo>
                    <a:pt x="54" y="6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48" y="1"/>
                  </a:lnTo>
                  <a:lnTo>
                    <a:pt x="45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3" y="2"/>
                  </a:lnTo>
                  <a:lnTo>
                    <a:pt x="28" y="6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5" y="29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1" y="36"/>
                  </a:lnTo>
                  <a:lnTo>
                    <a:pt x="0" y="42"/>
                  </a:lnTo>
                  <a:lnTo>
                    <a:pt x="2" y="49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10" y="57"/>
                  </a:lnTo>
                  <a:lnTo>
                    <a:pt x="15" y="60"/>
                  </a:lnTo>
                  <a:lnTo>
                    <a:pt x="22" y="60"/>
                  </a:lnTo>
                  <a:lnTo>
                    <a:pt x="27" y="57"/>
                  </a:lnTo>
                  <a:lnTo>
                    <a:pt x="34" y="55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28" y="66"/>
                  </a:lnTo>
                  <a:lnTo>
                    <a:pt x="28" y="73"/>
                  </a:lnTo>
                  <a:lnTo>
                    <a:pt x="31" y="78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8" y="85"/>
                  </a:lnTo>
                  <a:lnTo>
                    <a:pt x="44" y="88"/>
                  </a:lnTo>
                  <a:lnTo>
                    <a:pt x="49" y="88"/>
                  </a:lnTo>
                  <a:lnTo>
                    <a:pt x="55" y="85"/>
                  </a:lnTo>
                  <a:lnTo>
                    <a:pt x="61" y="83"/>
                  </a:lnTo>
                  <a:lnTo>
                    <a:pt x="59" y="89"/>
                  </a:lnTo>
                  <a:lnTo>
                    <a:pt x="59" y="89"/>
                  </a:lnTo>
                  <a:lnTo>
                    <a:pt x="57" y="94"/>
                  </a:lnTo>
                  <a:lnTo>
                    <a:pt x="57" y="101"/>
                  </a:lnTo>
                  <a:lnTo>
                    <a:pt x="59" y="106"/>
                  </a:lnTo>
                  <a:lnTo>
                    <a:pt x="62" y="110"/>
                  </a:lnTo>
                  <a:lnTo>
                    <a:pt x="62" y="110"/>
                  </a:lnTo>
                  <a:lnTo>
                    <a:pt x="66" y="114"/>
                  </a:lnTo>
                  <a:lnTo>
                    <a:pt x="72" y="116"/>
                  </a:lnTo>
                  <a:lnTo>
                    <a:pt x="77" y="116"/>
                  </a:lnTo>
                  <a:lnTo>
                    <a:pt x="84" y="114"/>
                  </a:lnTo>
                  <a:lnTo>
                    <a:pt x="89" y="111"/>
                  </a:lnTo>
                  <a:lnTo>
                    <a:pt x="86" y="117"/>
                  </a:lnTo>
                  <a:lnTo>
                    <a:pt x="86" y="117"/>
                  </a:lnTo>
                  <a:lnTo>
                    <a:pt x="85" y="123"/>
                  </a:lnTo>
                  <a:lnTo>
                    <a:pt x="85" y="129"/>
                  </a:lnTo>
                  <a:lnTo>
                    <a:pt x="87" y="134"/>
                  </a:lnTo>
                  <a:lnTo>
                    <a:pt x="91" y="139"/>
                  </a:lnTo>
                  <a:lnTo>
                    <a:pt x="91" y="139"/>
                  </a:lnTo>
                  <a:lnTo>
                    <a:pt x="97" y="143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7" y="144"/>
                  </a:lnTo>
                  <a:lnTo>
                    <a:pt x="111" y="142"/>
                  </a:lnTo>
                  <a:lnTo>
                    <a:pt x="114" y="141"/>
                  </a:lnTo>
                  <a:lnTo>
                    <a:pt x="117" y="137"/>
                  </a:lnTo>
                  <a:lnTo>
                    <a:pt x="117" y="137"/>
                  </a:lnTo>
                  <a:lnTo>
                    <a:pt x="135" y="116"/>
                  </a:lnTo>
                  <a:lnTo>
                    <a:pt x="135" y="116"/>
                  </a:lnTo>
                  <a:lnTo>
                    <a:pt x="138" y="112"/>
                  </a:lnTo>
                  <a:lnTo>
                    <a:pt x="139" y="109"/>
                  </a:lnTo>
                  <a:lnTo>
                    <a:pt x="140" y="105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40" y="98"/>
                  </a:lnTo>
                  <a:lnTo>
                    <a:pt x="138" y="94"/>
                  </a:lnTo>
                  <a:lnTo>
                    <a:pt x="135" y="92"/>
                  </a:lnTo>
                  <a:lnTo>
                    <a:pt x="133" y="89"/>
                  </a:lnTo>
                  <a:lnTo>
                    <a:pt x="133" y="89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3117" y="1220"/>
              <a:ext cx="131" cy="87"/>
            </a:xfrm>
            <a:custGeom>
              <a:avLst/>
              <a:gdLst>
                <a:gd name="T0" fmla="*/ 257 w 264"/>
                <a:gd name="T1" fmla="*/ 66 h 175"/>
                <a:gd name="T2" fmla="*/ 191 w 264"/>
                <a:gd name="T3" fmla="*/ 0 h 175"/>
                <a:gd name="T4" fmla="*/ 135 w 264"/>
                <a:gd name="T5" fmla="*/ 55 h 175"/>
                <a:gd name="T6" fmla="*/ 134 w 264"/>
                <a:gd name="T7" fmla="*/ 55 h 175"/>
                <a:gd name="T8" fmla="*/ 134 w 264"/>
                <a:gd name="T9" fmla="*/ 55 h 175"/>
                <a:gd name="T10" fmla="*/ 134 w 264"/>
                <a:gd name="T11" fmla="*/ 55 h 175"/>
                <a:gd name="T12" fmla="*/ 134 w 264"/>
                <a:gd name="T13" fmla="*/ 55 h 175"/>
                <a:gd name="T14" fmla="*/ 133 w 264"/>
                <a:gd name="T15" fmla="*/ 55 h 175"/>
                <a:gd name="T16" fmla="*/ 51 w 264"/>
                <a:gd name="T17" fmla="*/ 55 h 175"/>
                <a:gd name="T18" fmla="*/ 51 w 264"/>
                <a:gd name="T19" fmla="*/ 55 h 175"/>
                <a:gd name="T20" fmla="*/ 47 w 264"/>
                <a:gd name="T21" fmla="*/ 56 h 175"/>
                <a:gd name="T22" fmla="*/ 42 w 264"/>
                <a:gd name="T23" fmla="*/ 58 h 175"/>
                <a:gd name="T24" fmla="*/ 38 w 264"/>
                <a:gd name="T25" fmla="*/ 60 h 175"/>
                <a:gd name="T26" fmla="*/ 35 w 264"/>
                <a:gd name="T27" fmla="*/ 62 h 175"/>
                <a:gd name="T28" fmla="*/ 16 w 264"/>
                <a:gd name="T29" fmla="*/ 81 h 175"/>
                <a:gd name="T30" fmla="*/ 7 w 264"/>
                <a:gd name="T31" fmla="*/ 89 h 175"/>
                <a:gd name="T32" fmla="*/ 7 w 264"/>
                <a:gd name="T33" fmla="*/ 89 h 175"/>
                <a:gd name="T34" fmla="*/ 3 w 264"/>
                <a:gd name="T35" fmla="*/ 93 h 175"/>
                <a:gd name="T36" fmla="*/ 1 w 264"/>
                <a:gd name="T37" fmla="*/ 99 h 175"/>
                <a:gd name="T38" fmla="*/ 0 w 264"/>
                <a:gd name="T39" fmla="*/ 104 h 175"/>
                <a:gd name="T40" fmla="*/ 1 w 264"/>
                <a:gd name="T41" fmla="*/ 109 h 175"/>
                <a:gd name="T42" fmla="*/ 1 w 264"/>
                <a:gd name="T43" fmla="*/ 109 h 175"/>
                <a:gd name="T44" fmla="*/ 3 w 264"/>
                <a:gd name="T45" fmla="*/ 116 h 175"/>
                <a:gd name="T46" fmla="*/ 3 w 264"/>
                <a:gd name="T47" fmla="*/ 116 h 175"/>
                <a:gd name="T48" fmla="*/ 7 w 264"/>
                <a:gd name="T49" fmla="*/ 120 h 175"/>
                <a:gd name="T50" fmla="*/ 8 w 264"/>
                <a:gd name="T51" fmla="*/ 121 h 175"/>
                <a:gd name="T52" fmla="*/ 8 w 264"/>
                <a:gd name="T53" fmla="*/ 121 h 175"/>
                <a:gd name="T54" fmla="*/ 11 w 264"/>
                <a:gd name="T55" fmla="*/ 123 h 175"/>
                <a:gd name="T56" fmla="*/ 14 w 264"/>
                <a:gd name="T57" fmla="*/ 126 h 175"/>
                <a:gd name="T58" fmla="*/ 18 w 264"/>
                <a:gd name="T59" fmla="*/ 127 h 175"/>
                <a:gd name="T60" fmla="*/ 23 w 264"/>
                <a:gd name="T61" fmla="*/ 127 h 175"/>
                <a:gd name="T62" fmla="*/ 23 w 264"/>
                <a:gd name="T63" fmla="*/ 127 h 175"/>
                <a:gd name="T64" fmla="*/ 24 w 264"/>
                <a:gd name="T65" fmla="*/ 127 h 175"/>
                <a:gd name="T66" fmla="*/ 25 w 264"/>
                <a:gd name="T67" fmla="*/ 127 h 175"/>
                <a:gd name="T68" fmla="*/ 25 w 264"/>
                <a:gd name="T69" fmla="*/ 127 h 175"/>
                <a:gd name="T70" fmla="*/ 32 w 264"/>
                <a:gd name="T71" fmla="*/ 124 h 175"/>
                <a:gd name="T72" fmla="*/ 36 w 264"/>
                <a:gd name="T73" fmla="*/ 122 h 175"/>
                <a:gd name="T74" fmla="*/ 38 w 264"/>
                <a:gd name="T75" fmla="*/ 120 h 175"/>
                <a:gd name="T76" fmla="*/ 59 w 264"/>
                <a:gd name="T77" fmla="*/ 100 h 175"/>
                <a:gd name="T78" fmla="*/ 106 w 264"/>
                <a:gd name="T79" fmla="*/ 100 h 175"/>
                <a:gd name="T80" fmla="*/ 123 w 264"/>
                <a:gd name="T81" fmla="*/ 116 h 175"/>
                <a:gd name="T82" fmla="*/ 183 w 264"/>
                <a:gd name="T83" fmla="*/ 175 h 175"/>
                <a:gd name="T84" fmla="*/ 257 w 264"/>
                <a:gd name="T85" fmla="*/ 102 h 175"/>
                <a:gd name="T86" fmla="*/ 257 w 264"/>
                <a:gd name="T87" fmla="*/ 102 h 175"/>
                <a:gd name="T88" fmla="*/ 260 w 264"/>
                <a:gd name="T89" fmla="*/ 97 h 175"/>
                <a:gd name="T90" fmla="*/ 263 w 264"/>
                <a:gd name="T91" fmla="*/ 93 h 175"/>
                <a:gd name="T92" fmla="*/ 264 w 264"/>
                <a:gd name="T93" fmla="*/ 89 h 175"/>
                <a:gd name="T94" fmla="*/ 264 w 264"/>
                <a:gd name="T95" fmla="*/ 83 h 175"/>
                <a:gd name="T96" fmla="*/ 264 w 264"/>
                <a:gd name="T97" fmla="*/ 79 h 175"/>
                <a:gd name="T98" fmla="*/ 263 w 264"/>
                <a:gd name="T99" fmla="*/ 74 h 175"/>
                <a:gd name="T100" fmla="*/ 260 w 264"/>
                <a:gd name="T101" fmla="*/ 69 h 175"/>
                <a:gd name="T102" fmla="*/ 257 w 264"/>
                <a:gd name="T103" fmla="*/ 66 h 175"/>
                <a:gd name="T104" fmla="*/ 257 w 264"/>
                <a:gd name="T105" fmla="*/ 66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64" h="175">
                  <a:moveTo>
                    <a:pt x="257" y="66"/>
                  </a:moveTo>
                  <a:lnTo>
                    <a:pt x="191" y="0"/>
                  </a:lnTo>
                  <a:lnTo>
                    <a:pt x="135" y="55"/>
                  </a:lnTo>
                  <a:lnTo>
                    <a:pt x="134" y="55"/>
                  </a:lnTo>
                  <a:lnTo>
                    <a:pt x="134" y="55"/>
                  </a:lnTo>
                  <a:lnTo>
                    <a:pt x="134" y="55"/>
                  </a:lnTo>
                  <a:lnTo>
                    <a:pt x="134" y="55"/>
                  </a:lnTo>
                  <a:lnTo>
                    <a:pt x="133" y="55"/>
                  </a:lnTo>
                  <a:lnTo>
                    <a:pt x="51" y="55"/>
                  </a:lnTo>
                  <a:lnTo>
                    <a:pt x="51" y="55"/>
                  </a:lnTo>
                  <a:lnTo>
                    <a:pt x="47" y="56"/>
                  </a:lnTo>
                  <a:lnTo>
                    <a:pt x="42" y="58"/>
                  </a:lnTo>
                  <a:lnTo>
                    <a:pt x="38" y="60"/>
                  </a:lnTo>
                  <a:lnTo>
                    <a:pt x="35" y="62"/>
                  </a:lnTo>
                  <a:lnTo>
                    <a:pt x="16" y="81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3" y="93"/>
                  </a:lnTo>
                  <a:lnTo>
                    <a:pt x="1" y="99"/>
                  </a:lnTo>
                  <a:lnTo>
                    <a:pt x="0" y="104"/>
                  </a:lnTo>
                  <a:lnTo>
                    <a:pt x="1" y="109"/>
                  </a:lnTo>
                  <a:lnTo>
                    <a:pt x="1" y="109"/>
                  </a:lnTo>
                  <a:lnTo>
                    <a:pt x="3" y="116"/>
                  </a:lnTo>
                  <a:lnTo>
                    <a:pt x="3" y="116"/>
                  </a:lnTo>
                  <a:lnTo>
                    <a:pt x="7" y="120"/>
                  </a:lnTo>
                  <a:lnTo>
                    <a:pt x="8" y="121"/>
                  </a:lnTo>
                  <a:lnTo>
                    <a:pt x="8" y="121"/>
                  </a:lnTo>
                  <a:lnTo>
                    <a:pt x="11" y="123"/>
                  </a:lnTo>
                  <a:lnTo>
                    <a:pt x="14" y="126"/>
                  </a:lnTo>
                  <a:lnTo>
                    <a:pt x="18" y="127"/>
                  </a:lnTo>
                  <a:lnTo>
                    <a:pt x="23" y="127"/>
                  </a:lnTo>
                  <a:lnTo>
                    <a:pt x="23" y="127"/>
                  </a:lnTo>
                  <a:lnTo>
                    <a:pt x="24" y="127"/>
                  </a:lnTo>
                  <a:lnTo>
                    <a:pt x="25" y="127"/>
                  </a:lnTo>
                  <a:lnTo>
                    <a:pt x="25" y="127"/>
                  </a:lnTo>
                  <a:lnTo>
                    <a:pt x="32" y="124"/>
                  </a:lnTo>
                  <a:lnTo>
                    <a:pt x="36" y="122"/>
                  </a:lnTo>
                  <a:lnTo>
                    <a:pt x="38" y="120"/>
                  </a:lnTo>
                  <a:lnTo>
                    <a:pt x="59" y="100"/>
                  </a:lnTo>
                  <a:lnTo>
                    <a:pt x="106" y="100"/>
                  </a:lnTo>
                  <a:lnTo>
                    <a:pt x="123" y="116"/>
                  </a:lnTo>
                  <a:lnTo>
                    <a:pt x="183" y="175"/>
                  </a:lnTo>
                  <a:lnTo>
                    <a:pt x="257" y="102"/>
                  </a:lnTo>
                  <a:lnTo>
                    <a:pt x="257" y="102"/>
                  </a:lnTo>
                  <a:lnTo>
                    <a:pt x="260" y="97"/>
                  </a:lnTo>
                  <a:lnTo>
                    <a:pt x="263" y="93"/>
                  </a:lnTo>
                  <a:lnTo>
                    <a:pt x="264" y="89"/>
                  </a:lnTo>
                  <a:lnTo>
                    <a:pt x="264" y="83"/>
                  </a:lnTo>
                  <a:lnTo>
                    <a:pt x="264" y="79"/>
                  </a:lnTo>
                  <a:lnTo>
                    <a:pt x="263" y="74"/>
                  </a:lnTo>
                  <a:lnTo>
                    <a:pt x="260" y="69"/>
                  </a:lnTo>
                  <a:lnTo>
                    <a:pt x="257" y="66"/>
                  </a:lnTo>
                  <a:lnTo>
                    <a:pt x="257" y="66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9" name="Group 4"/>
          <p:cNvGrpSpPr>
            <a:grpSpLocks noChangeAspect="1"/>
          </p:cNvGrpSpPr>
          <p:nvPr/>
        </p:nvGrpSpPr>
        <p:grpSpPr bwMode="auto">
          <a:xfrm>
            <a:off x="1714426" y="2828764"/>
            <a:ext cx="849832" cy="677456"/>
            <a:chOff x="3016" y="1111"/>
            <a:chExt cx="212" cy="169"/>
          </a:xfrm>
        </p:grpSpPr>
        <p:sp>
          <p:nvSpPr>
            <p:cNvPr id="20" name="Freeform 5"/>
            <p:cNvSpPr>
              <a:spLocks/>
            </p:cNvSpPr>
            <p:nvPr/>
          </p:nvSpPr>
          <p:spPr bwMode="auto">
            <a:xfrm>
              <a:off x="3016" y="1111"/>
              <a:ext cx="101" cy="169"/>
            </a:xfrm>
            <a:custGeom>
              <a:avLst/>
              <a:gdLst>
                <a:gd name="T0" fmla="*/ 176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0 w 201"/>
                <a:gd name="T25" fmla="*/ 318 h 338"/>
                <a:gd name="T26" fmla="*/ 1 w 201"/>
                <a:gd name="T27" fmla="*/ 322 h 338"/>
                <a:gd name="T28" fmla="*/ 3 w 201"/>
                <a:gd name="T29" fmla="*/ 327 h 338"/>
                <a:gd name="T30" fmla="*/ 6 w 201"/>
                <a:gd name="T31" fmla="*/ 331 h 338"/>
                <a:gd name="T32" fmla="*/ 10 w 201"/>
                <a:gd name="T33" fmla="*/ 333 h 338"/>
                <a:gd name="T34" fmla="*/ 14 w 201"/>
                <a:gd name="T35" fmla="*/ 335 h 338"/>
                <a:gd name="T36" fmla="*/ 19 w 201"/>
                <a:gd name="T37" fmla="*/ 338 h 338"/>
                <a:gd name="T38" fmla="*/ 23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0 w 201"/>
                <a:gd name="T47" fmla="*/ 19 h 338"/>
                <a:gd name="T48" fmla="*/ 199 w 201"/>
                <a:gd name="T49" fmla="*/ 15 h 338"/>
                <a:gd name="T50" fmla="*/ 197 w 201"/>
                <a:gd name="T51" fmla="*/ 10 h 338"/>
                <a:gd name="T52" fmla="*/ 194 w 201"/>
                <a:gd name="T53" fmla="*/ 6 h 338"/>
                <a:gd name="T54" fmla="*/ 190 w 201"/>
                <a:gd name="T55" fmla="*/ 4 h 338"/>
                <a:gd name="T56" fmla="*/ 186 w 201"/>
                <a:gd name="T57" fmla="*/ 2 h 338"/>
                <a:gd name="T58" fmla="*/ 182 w 201"/>
                <a:gd name="T59" fmla="*/ 0 h 338"/>
                <a:gd name="T60" fmla="*/ 176 w 201"/>
                <a:gd name="T61" fmla="*/ 0 h 338"/>
                <a:gd name="T62" fmla="*/ 176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6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0" y="318"/>
                  </a:lnTo>
                  <a:lnTo>
                    <a:pt x="1" y="322"/>
                  </a:lnTo>
                  <a:lnTo>
                    <a:pt x="3" y="327"/>
                  </a:lnTo>
                  <a:lnTo>
                    <a:pt x="6" y="331"/>
                  </a:lnTo>
                  <a:lnTo>
                    <a:pt x="10" y="333"/>
                  </a:lnTo>
                  <a:lnTo>
                    <a:pt x="14" y="335"/>
                  </a:lnTo>
                  <a:lnTo>
                    <a:pt x="19" y="338"/>
                  </a:lnTo>
                  <a:lnTo>
                    <a:pt x="23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0" y="19"/>
                  </a:lnTo>
                  <a:lnTo>
                    <a:pt x="199" y="15"/>
                  </a:lnTo>
                  <a:lnTo>
                    <a:pt x="197" y="10"/>
                  </a:lnTo>
                  <a:lnTo>
                    <a:pt x="194" y="6"/>
                  </a:lnTo>
                  <a:lnTo>
                    <a:pt x="190" y="4"/>
                  </a:lnTo>
                  <a:lnTo>
                    <a:pt x="186" y="2"/>
                  </a:lnTo>
                  <a:lnTo>
                    <a:pt x="182" y="0"/>
                  </a:lnTo>
                  <a:lnTo>
                    <a:pt x="176" y="0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3127" y="1111"/>
              <a:ext cx="101" cy="169"/>
            </a:xfrm>
            <a:custGeom>
              <a:avLst/>
              <a:gdLst>
                <a:gd name="T0" fmla="*/ 178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1 w 201"/>
                <a:gd name="T25" fmla="*/ 318 h 338"/>
                <a:gd name="T26" fmla="*/ 2 w 201"/>
                <a:gd name="T27" fmla="*/ 322 h 338"/>
                <a:gd name="T28" fmla="*/ 4 w 201"/>
                <a:gd name="T29" fmla="*/ 327 h 338"/>
                <a:gd name="T30" fmla="*/ 7 w 201"/>
                <a:gd name="T31" fmla="*/ 331 h 338"/>
                <a:gd name="T32" fmla="*/ 10 w 201"/>
                <a:gd name="T33" fmla="*/ 333 h 338"/>
                <a:gd name="T34" fmla="*/ 15 w 201"/>
                <a:gd name="T35" fmla="*/ 335 h 338"/>
                <a:gd name="T36" fmla="*/ 19 w 201"/>
                <a:gd name="T37" fmla="*/ 338 h 338"/>
                <a:gd name="T38" fmla="*/ 25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1 w 201"/>
                <a:gd name="T47" fmla="*/ 19 h 338"/>
                <a:gd name="T48" fmla="*/ 200 w 201"/>
                <a:gd name="T49" fmla="*/ 15 h 338"/>
                <a:gd name="T50" fmla="*/ 197 w 201"/>
                <a:gd name="T51" fmla="*/ 10 h 338"/>
                <a:gd name="T52" fmla="*/ 195 w 201"/>
                <a:gd name="T53" fmla="*/ 6 h 338"/>
                <a:gd name="T54" fmla="*/ 191 w 201"/>
                <a:gd name="T55" fmla="*/ 4 h 338"/>
                <a:gd name="T56" fmla="*/ 187 w 201"/>
                <a:gd name="T57" fmla="*/ 2 h 338"/>
                <a:gd name="T58" fmla="*/ 182 w 201"/>
                <a:gd name="T59" fmla="*/ 0 h 338"/>
                <a:gd name="T60" fmla="*/ 178 w 201"/>
                <a:gd name="T61" fmla="*/ 0 h 338"/>
                <a:gd name="T62" fmla="*/ 178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8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1" y="318"/>
                  </a:lnTo>
                  <a:lnTo>
                    <a:pt x="2" y="322"/>
                  </a:lnTo>
                  <a:lnTo>
                    <a:pt x="4" y="327"/>
                  </a:lnTo>
                  <a:lnTo>
                    <a:pt x="7" y="331"/>
                  </a:lnTo>
                  <a:lnTo>
                    <a:pt x="10" y="333"/>
                  </a:lnTo>
                  <a:lnTo>
                    <a:pt x="15" y="335"/>
                  </a:lnTo>
                  <a:lnTo>
                    <a:pt x="19" y="338"/>
                  </a:lnTo>
                  <a:lnTo>
                    <a:pt x="25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1" y="19"/>
                  </a:lnTo>
                  <a:lnTo>
                    <a:pt x="200" y="15"/>
                  </a:lnTo>
                  <a:lnTo>
                    <a:pt x="197" y="10"/>
                  </a:lnTo>
                  <a:lnTo>
                    <a:pt x="195" y="6"/>
                  </a:lnTo>
                  <a:lnTo>
                    <a:pt x="191" y="4"/>
                  </a:lnTo>
                  <a:lnTo>
                    <a:pt x="187" y="2"/>
                  </a:lnTo>
                  <a:lnTo>
                    <a:pt x="182" y="0"/>
                  </a:lnTo>
                  <a:lnTo>
                    <a:pt x="178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5" name="Freeform 5"/>
          <p:cNvSpPr>
            <a:spLocks noEditPoints="1"/>
          </p:cNvSpPr>
          <p:nvPr/>
        </p:nvSpPr>
        <p:spPr bwMode="auto">
          <a:xfrm>
            <a:off x="4373891" y="2760466"/>
            <a:ext cx="806446" cy="814052"/>
          </a:xfrm>
          <a:custGeom>
            <a:avLst/>
            <a:gdLst>
              <a:gd name="T0" fmla="*/ 426 w 426"/>
              <a:gd name="T1" fmla="*/ 93 h 426"/>
              <a:gd name="T2" fmla="*/ 394 w 426"/>
              <a:gd name="T3" fmla="*/ 65 h 426"/>
              <a:gd name="T4" fmla="*/ 393 w 426"/>
              <a:gd name="T5" fmla="*/ 59 h 426"/>
              <a:gd name="T6" fmla="*/ 388 w 426"/>
              <a:gd name="T7" fmla="*/ 47 h 426"/>
              <a:gd name="T8" fmla="*/ 379 w 426"/>
              <a:gd name="T9" fmla="*/ 38 h 426"/>
              <a:gd name="T10" fmla="*/ 368 w 426"/>
              <a:gd name="T11" fmla="*/ 33 h 426"/>
              <a:gd name="T12" fmla="*/ 332 w 426"/>
              <a:gd name="T13" fmla="*/ 32 h 426"/>
              <a:gd name="T14" fmla="*/ 304 w 426"/>
              <a:gd name="T15" fmla="*/ 0 h 426"/>
              <a:gd name="T16" fmla="*/ 262 w 426"/>
              <a:gd name="T17" fmla="*/ 32 h 426"/>
              <a:gd name="T18" fmla="*/ 235 w 426"/>
              <a:gd name="T19" fmla="*/ 0 h 426"/>
              <a:gd name="T20" fmla="*/ 192 w 426"/>
              <a:gd name="T21" fmla="*/ 32 h 426"/>
              <a:gd name="T22" fmla="*/ 164 w 426"/>
              <a:gd name="T23" fmla="*/ 0 h 426"/>
              <a:gd name="T24" fmla="*/ 122 w 426"/>
              <a:gd name="T25" fmla="*/ 32 h 426"/>
              <a:gd name="T26" fmla="*/ 94 w 426"/>
              <a:gd name="T27" fmla="*/ 0 h 426"/>
              <a:gd name="T28" fmla="*/ 32 w 426"/>
              <a:gd name="T29" fmla="*/ 32 h 426"/>
              <a:gd name="T30" fmla="*/ 0 w 426"/>
              <a:gd name="T31" fmla="*/ 93 h 426"/>
              <a:gd name="T32" fmla="*/ 32 w 426"/>
              <a:gd name="T33" fmla="*/ 121 h 426"/>
              <a:gd name="T34" fmla="*/ 0 w 426"/>
              <a:gd name="T35" fmla="*/ 163 h 426"/>
              <a:gd name="T36" fmla="*/ 32 w 426"/>
              <a:gd name="T37" fmla="*/ 191 h 426"/>
              <a:gd name="T38" fmla="*/ 0 w 426"/>
              <a:gd name="T39" fmla="*/ 235 h 426"/>
              <a:gd name="T40" fmla="*/ 32 w 426"/>
              <a:gd name="T41" fmla="*/ 263 h 426"/>
              <a:gd name="T42" fmla="*/ 0 w 426"/>
              <a:gd name="T43" fmla="*/ 305 h 426"/>
              <a:gd name="T44" fmla="*/ 32 w 426"/>
              <a:gd name="T45" fmla="*/ 333 h 426"/>
              <a:gd name="T46" fmla="*/ 32 w 426"/>
              <a:gd name="T47" fmla="*/ 362 h 426"/>
              <a:gd name="T48" fmla="*/ 36 w 426"/>
              <a:gd name="T49" fmla="*/ 374 h 426"/>
              <a:gd name="T50" fmla="*/ 42 w 426"/>
              <a:gd name="T51" fmla="*/ 384 h 426"/>
              <a:gd name="T52" fmla="*/ 53 w 426"/>
              <a:gd name="T53" fmla="*/ 392 h 426"/>
              <a:gd name="T54" fmla="*/ 66 w 426"/>
              <a:gd name="T55" fmla="*/ 394 h 426"/>
              <a:gd name="T56" fmla="*/ 94 w 426"/>
              <a:gd name="T57" fmla="*/ 426 h 426"/>
              <a:gd name="T58" fmla="*/ 122 w 426"/>
              <a:gd name="T59" fmla="*/ 394 h 426"/>
              <a:gd name="T60" fmla="*/ 164 w 426"/>
              <a:gd name="T61" fmla="*/ 426 h 426"/>
              <a:gd name="T62" fmla="*/ 192 w 426"/>
              <a:gd name="T63" fmla="*/ 394 h 426"/>
              <a:gd name="T64" fmla="*/ 235 w 426"/>
              <a:gd name="T65" fmla="*/ 426 h 426"/>
              <a:gd name="T66" fmla="*/ 262 w 426"/>
              <a:gd name="T67" fmla="*/ 394 h 426"/>
              <a:gd name="T68" fmla="*/ 304 w 426"/>
              <a:gd name="T69" fmla="*/ 426 h 426"/>
              <a:gd name="T70" fmla="*/ 332 w 426"/>
              <a:gd name="T71" fmla="*/ 394 h 426"/>
              <a:gd name="T72" fmla="*/ 394 w 426"/>
              <a:gd name="T73" fmla="*/ 333 h 426"/>
              <a:gd name="T74" fmla="*/ 426 w 426"/>
              <a:gd name="T75" fmla="*/ 305 h 426"/>
              <a:gd name="T76" fmla="*/ 394 w 426"/>
              <a:gd name="T77" fmla="*/ 263 h 426"/>
              <a:gd name="T78" fmla="*/ 426 w 426"/>
              <a:gd name="T79" fmla="*/ 235 h 426"/>
              <a:gd name="T80" fmla="*/ 394 w 426"/>
              <a:gd name="T81" fmla="*/ 191 h 426"/>
              <a:gd name="T82" fmla="*/ 426 w 426"/>
              <a:gd name="T83" fmla="*/ 163 h 426"/>
              <a:gd name="T84" fmla="*/ 394 w 426"/>
              <a:gd name="T85" fmla="*/ 121 h 426"/>
              <a:gd name="T86" fmla="*/ 359 w 426"/>
              <a:gd name="T87" fmla="*/ 360 h 426"/>
              <a:gd name="T88" fmla="*/ 67 w 426"/>
              <a:gd name="T89" fmla="*/ 66 h 426"/>
              <a:gd name="T90" fmla="*/ 359 w 426"/>
              <a:gd name="T91" fmla="*/ 360 h 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26" h="426">
                <a:moveTo>
                  <a:pt x="426" y="121"/>
                </a:moveTo>
                <a:lnTo>
                  <a:pt x="426" y="93"/>
                </a:lnTo>
                <a:lnTo>
                  <a:pt x="394" y="93"/>
                </a:lnTo>
                <a:lnTo>
                  <a:pt x="394" y="65"/>
                </a:lnTo>
                <a:lnTo>
                  <a:pt x="394" y="65"/>
                </a:lnTo>
                <a:lnTo>
                  <a:pt x="393" y="59"/>
                </a:lnTo>
                <a:lnTo>
                  <a:pt x="390" y="52"/>
                </a:lnTo>
                <a:lnTo>
                  <a:pt x="388" y="47"/>
                </a:lnTo>
                <a:lnTo>
                  <a:pt x="384" y="42"/>
                </a:lnTo>
                <a:lnTo>
                  <a:pt x="379" y="38"/>
                </a:lnTo>
                <a:lnTo>
                  <a:pt x="373" y="35"/>
                </a:lnTo>
                <a:lnTo>
                  <a:pt x="368" y="33"/>
                </a:lnTo>
                <a:lnTo>
                  <a:pt x="360" y="32"/>
                </a:lnTo>
                <a:lnTo>
                  <a:pt x="332" y="32"/>
                </a:lnTo>
                <a:lnTo>
                  <a:pt x="332" y="0"/>
                </a:lnTo>
                <a:lnTo>
                  <a:pt x="304" y="0"/>
                </a:lnTo>
                <a:lnTo>
                  <a:pt x="304" y="32"/>
                </a:lnTo>
                <a:lnTo>
                  <a:pt x="262" y="32"/>
                </a:lnTo>
                <a:lnTo>
                  <a:pt x="262" y="0"/>
                </a:lnTo>
                <a:lnTo>
                  <a:pt x="235" y="0"/>
                </a:lnTo>
                <a:lnTo>
                  <a:pt x="235" y="32"/>
                </a:lnTo>
                <a:lnTo>
                  <a:pt x="192" y="32"/>
                </a:lnTo>
                <a:lnTo>
                  <a:pt x="192" y="0"/>
                </a:lnTo>
                <a:lnTo>
                  <a:pt x="164" y="0"/>
                </a:lnTo>
                <a:lnTo>
                  <a:pt x="164" y="32"/>
                </a:lnTo>
                <a:lnTo>
                  <a:pt x="122" y="32"/>
                </a:lnTo>
                <a:lnTo>
                  <a:pt x="122" y="0"/>
                </a:lnTo>
                <a:lnTo>
                  <a:pt x="94" y="0"/>
                </a:lnTo>
                <a:lnTo>
                  <a:pt x="94" y="32"/>
                </a:lnTo>
                <a:lnTo>
                  <a:pt x="32" y="32"/>
                </a:lnTo>
                <a:lnTo>
                  <a:pt x="32" y="93"/>
                </a:lnTo>
                <a:lnTo>
                  <a:pt x="0" y="93"/>
                </a:lnTo>
                <a:lnTo>
                  <a:pt x="0" y="121"/>
                </a:lnTo>
                <a:lnTo>
                  <a:pt x="32" y="121"/>
                </a:lnTo>
                <a:lnTo>
                  <a:pt x="32" y="163"/>
                </a:lnTo>
                <a:lnTo>
                  <a:pt x="0" y="163"/>
                </a:lnTo>
                <a:lnTo>
                  <a:pt x="0" y="191"/>
                </a:lnTo>
                <a:lnTo>
                  <a:pt x="32" y="191"/>
                </a:lnTo>
                <a:lnTo>
                  <a:pt x="32" y="235"/>
                </a:lnTo>
                <a:lnTo>
                  <a:pt x="0" y="235"/>
                </a:lnTo>
                <a:lnTo>
                  <a:pt x="0" y="263"/>
                </a:lnTo>
                <a:lnTo>
                  <a:pt x="32" y="263"/>
                </a:lnTo>
                <a:lnTo>
                  <a:pt x="32" y="305"/>
                </a:lnTo>
                <a:lnTo>
                  <a:pt x="0" y="305"/>
                </a:lnTo>
                <a:lnTo>
                  <a:pt x="0" y="333"/>
                </a:lnTo>
                <a:lnTo>
                  <a:pt x="32" y="333"/>
                </a:lnTo>
                <a:lnTo>
                  <a:pt x="32" y="362"/>
                </a:lnTo>
                <a:lnTo>
                  <a:pt x="32" y="362"/>
                </a:lnTo>
                <a:lnTo>
                  <a:pt x="33" y="368"/>
                </a:lnTo>
                <a:lnTo>
                  <a:pt x="36" y="374"/>
                </a:lnTo>
                <a:lnTo>
                  <a:pt x="38" y="380"/>
                </a:lnTo>
                <a:lnTo>
                  <a:pt x="42" y="384"/>
                </a:lnTo>
                <a:lnTo>
                  <a:pt x="47" y="389"/>
                </a:lnTo>
                <a:lnTo>
                  <a:pt x="53" y="392"/>
                </a:lnTo>
                <a:lnTo>
                  <a:pt x="58" y="393"/>
                </a:lnTo>
                <a:lnTo>
                  <a:pt x="66" y="394"/>
                </a:lnTo>
                <a:lnTo>
                  <a:pt x="94" y="394"/>
                </a:lnTo>
                <a:lnTo>
                  <a:pt x="94" y="426"/>
                </a:lnTo>
                <a:lnTo>
                  <a:pt x="122" y="426"/>
                </a:lnTo>
                <a:lnTo>
                  <a:pt x="122" y="394"/>
                </a:lnTo>
                <a:lnTo>
                  <a:pt x="164" y="394"/>
                </a:lnTo>
                <a:lnTo>
                  <a:pt x="164" y="426"/>
                </a:lnTo>
                <a:lnTo>
                  <a:pt x="192" y="426"/>
                </a:lnTo>
                <a:lnTo>
                  <a:pt x="192" y="394"/>
                </a:lnTo>
                <a:lnTo>
                  <a:pt x="235" y="394"/>
                </a:lnTo>
                <a:lnTo>
                  <a:pt x="235" y="426"/>
                </a:lnTo>
                <a:lnTo>
                  <a:pt x="262" y="426"/>
                </a:lnTo>
                <a:lnTo>
                  <a:pt x="262" y="394"/>
                </a:lnTo>
                <a:lnTo>
                  <a:pt x="304" y="394"/>
                </a:lnTo>
                <a:lnTo>
                  <a:pt x="304" y="426"/>
                </a:lnTo>
                <a:lnTo>
                  <a:pt x="332" y="426"/>
                </a:lnTo>
                <a:lnTo>
                  <a:pt x="332" y="394"/>
                </a:lnTo>
                <a:lnTo>
                  <a:pt x="394" y="394"/>
                </a:lnTo>
                <a:lnTo>
                  <a:pt x="394" y="333"/>
                </a:lnTo>
                <a:lnTo>
                  <a:pt x="426" y="333"/>
                </a:lnTo>
                <a:lnTo>
                  <a:pt x="426" y="305"/>
                </a:lnTo>
                <a:lnTo>
                  <a:pt x="394" y="305"/>
                </a:lnTo>
                <a:lnTo>
                  <a:pt x="394" y="263"/>
                </a:lnTo>
                <a:lnTo>
                  <a:pt x="426" y="263"/>
                </a:lnTo>
                <a:lnTo>
                  <a:pt x="426" y="235"/>
                </a:lnTo>
                <a:lnTo>
                  <a:pt x="394" y="235"/>
                </a:lnTo>
                <a:lnTo>
                  <a:pt x="394" y="191"/>
                </a:lnTo>
                <a:lnTo>
                  <a:pt x="426" y="191"/>
                </a:lnTo>
                <a:lnTo>
                  <a:pt x="426" y="163"/>
                </a:lnTo>
                <a:lnTo>
                  <a:pt x="394" y="163"/>
                </a:lnTo>
                <a:lnTo>
                  <a:pt x="394" y="121"/>
                </a:lnTo>
                <a:lnTo>
                  <a:pt x="426" y="121"/>
                </a:lnTo>
                <a:close/>
                <a:moveTo>
                  <a:pt x="359" y="360"/>
                </a:moveTo>
                <a:lnTo>
                  <a:pt x="67" y="360"/>
                </a:lnTo>
                <a:lnTo>
                  <a:pt x="67" y="66"/>
                </a:lnTo>
                <a:lnTo>
                  <a:pt x="359" y="66"/>
                </a:lnTo>
                <a:lnTo>
                  <a:pt x="359" y="360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22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Detect:</a:t>
            </a:r>
            <a:r>
              <a:rPr lang="en-US" dirty="0" smtClean="0"/>
              <a:t> </a:t>
            </a:r>
            <a:r>
              <a:rPr lang="en-US" dirty="0"/>
              <a:t>Tamper-proof monitoring/introspection</a:t>
            </a:r>
            <a:r>
              <a:rPr lang="en-US" dirty="0" smtClean="0"/>
              <a:t> </a:t>
            </a:r>
            <a:endParaRPr lang="hi-IN" dirty="0"/>
          </a:p>
        </p:txBody>
      </p:sp>
      <p:sp>
        <p:nvSpPr>
          <p:cNvPr id="5" name="Rectangle 4"/>
          <p:cNvSpPr/>
          <p:nvPr/>
        </p:nvSpPr>
        <p:spPr>
          <a:xfrm>
            <a:off x="2532061" y="4841621"/>
            <a:ext cx="7078663" cy="699127"/>
          </a:xfrm>
          <a:prstGeom prst="rect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b="1" dirty="0" smtClean="0">
                <a:solidFill>
                  <a:prstClr val="white"/>
                </a:solidFill>
              </a:rPr>
              <a:t>Hardware and  Firmware</a:t>
            </a:r>
            <a:endParaRPr lang="hi-IN" b="1" dirty="0" smtClean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758265" y="1862520"/>
            <a:ext cx="0" cy="3785805"/>
          </a:xfrm>
          <a:prstGeom prst="line">
            <a:avLst/>
          </a:prstGeom>
          <a:ln w="34925">
            <a:solidFill>
              <a:schemeClr val="accent2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153788" y="2919021"/>
            <a:ext cx="4456936" cy="1747818"/>
          </a:xfrm>
          <a:prstGeom prst="rect">
            <a:avLst/>
          </a:prstGeom>
          <a:solidFill>
            <a:schemeClr val="bg2">
              <a:lumMod val="9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dirty="0" smtClean="0">
                <a:solidFill>
                  <a:srgbClr val="535455">
                    <a:lumMod val="75000"/>
                  </a:srgbClr>
                </a:solidFill>
              </a:rPr>
              <a:t>Operating System</a:t>
            </a:r>
            <a:endParaRPr lang="hi-IN" dirty="0" smtClean="0">
              <a:solidFill>
                <a:srgbClr val="535455">
                  <a:lumMod val="75000"/>
                </a:srgbClr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2794234" y="2919021"/>
            <a:ext cx="1680630" cy="2336921"/>
            <a:chOff x="670047" y="2281013"/>
            <a:chExt cx="1465416" cy="2037665"/>
          </a:xfrm>
        </p:grpSpPr>
        <p:grpSp>
          <p:nvGrpSpPr>
            <p:cNvPr id="14" name="Group 13"/>
            <p:cNvGrpSpPr/>
            <p:nvPr/>
          </p:nvGrpSpPr>
          <p:grpSpPr>
            <a:xfrm>
              <a:off x="670047" y="2281013"/>
              <a:ext cx="1465415" cy="1381573"/>
              <a:chOff x="670047" y="2281013"/>
              <a:chExt cx="1465415" cy="1381573"/>
            </a:xfrm>
          </p:grpSpPr>
          <p:sp>
            <p:nvSpPr>
              <p:cNvPr id="10" name="TextBox 9"/>
              <p:cNvSpPr txBox="1"/>
              <p:nvPr/>
            </p:nvSpPr>
            <p:spPr>
              <a:xfrm flipH="1">
                <a:off x="1223400" y="2618473"/>
                <a:ext cx="912062" cy="536728"/>
              </a:xfrm>
              <a:prstGeom prst="rect">
                <a:avLst/>
              </a:prstGeom>
              <a:solidFill>
                <a:schemeClr val="accent6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defTabSz="430213">
                  <a:spcAft>
                    <a:spcPts val="400"/>
                  </a:spcAft>
                  <a:buSzPct val="100000"/>
                </a:pPr>
                <a:r>
                  <a:rPr lang="en-GB" sz="1100" dirty="0" smtClean="0">
                    <a:solidFill>
                      <a:prstClr val="white"/>
                    </a:solidFill>
                    <a:cs typeface="HP Simplified" pitchFamily="34" charset="0"/>
                  </a:rPr>
                  <a:t>011</a:t>
                </a:r>
                <a:r>
                  <a:rPr lang="en-GB" sz="900" dirty="0" smtClean="0">
                    <a:solidFill>
                      <a:prstClr val="white"/>
                    </a:solidFill>
                    <a:cs typeface="HP Simplified" pitchFamily="34" charset="0"/>
                  </a:rPr>
                  <a:t>0101101110</a:t>
                </a:r>
                <a:r>
                  <a:rPr lang="en-GB" sz="1100" dirty="0" smtClean="0">
                    <a:solidFill>
                      <a:prstClr val="white"/>
                    </a:solidFill>
                    <a:cs typeface="HP Simplified" pitchFamily="34" charset="0"/>
                  </a:rPr>
                  <a:t>1111</a:t>
                </a:r>
                <a:r>
                  <a:rPr lang="en-GB" sz="900" dirty="0" smtClean="0">
                    <a:solidFill>
                      <a:prstClr val="white"/>
                    </a:solidFill>
                    <a:cs typeface="HP Simplified" pitchFamily="34" charset="0"/>
                  </a:rPr>
                  <a:t>100001100</a:t>
                </a:r>
                <a:r>
                  <a:rPr lang="en-GB" sz="1100" dirty="0" smtClean="0">
                    <a:solidFill>
                      <a:prstClr val="white"/>
                    </a:solidFill>
                    <a:cs typeface="HP Simplified" pitchFamily="34" charset="0"/>
                  </a:rPr>
                  <a:t>0111</a:t>
                </a:r>
                <a:r>
                  <a:rPr lang="en-GB" sz="900" dirty="0" smtClean="0">
                    <a:solidFill>
                      <a:prstClr val="white"/>
                    </a:solidFill>
                    <a:cs typeface="HP Simplified" pitchFamily="34" charset="0"/>
                  </a:rPr>
                  <a:t>01110011110011011100011</a:t>
                </a:r>
              </a:p>
            </p:txBody>
          </p:sp>
          <p:pic>
            <p:nvPicPr>
              <p:cNvPr id="11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 flipH="1">
                <a:off x="532613" y="2418447"/>
                <a:ext cx="1381573" cy="110670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13" name="TextBox 12"/>
            <p:cNvSpPr txBox="1"/>
            <p:nvPr/>
          </p:nvSpPr>
          <p:spPr>
            <a:xfrm>
              <a:off x="1221063" y="3404278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dirty="0" smtClean="0">
                  <a:solidFill>
                    <a:srgbClr val="0096D6"/>
                  </a:solidFill>
                </a:rPr>
                <a:t> Monitor</a:t>
              </a:r>
              <a:endParaRPr lang="hi-IN" dirty="0" err="1" smtClean="0">
                <a:solidFill>
                  <a:srgbClr val="0096D6"/>
                </a:solidFill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6726824" y="2077491"/>
            <a:ext cx="1048691" cy="10486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>
                <a:solidFill>
                  <a:prstClr val="black"/>
                </a:solidFill>
              </a:rPr>
              <a:t>Normal mode</a:t>
            </a:r>
            <a:endParaRPr lang="hi-IN" dirty="0" err="1" smtClean="0">
              <a:solidFill>
                <a:prstClr val="black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034809" y="2080620"/>
            <a:ext cx="1048691" cy="10486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>
                <a:solidFill>
                  <a:srgbClr val="0096D6"/>
                </a:solidFill>
              </a:rPr>
              <a:t>Secure mode</a:t>
            </a:r>
            <a:endParaRPr lang="hi-IN" dirty="0" err="1" smtClean="0">
              <a:solidFill>
                <a:srgbClr val="0096D6"/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2781" y="564055"/>
            <a:ext cx="1205837" cy="243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7072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Detect:</a:t>
            </a:r>
            <a:r>
              <a:rPr lang="en-US" dirty="0" smtClean="0"/>
              <a:t> Primitives to enable detection “outside The Machine”</a:t>
            </a:r>
            <a:endParaRPr lang="hi-IN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Primitives/APIs for event generation and remediation/recovery action</a:t>
            </a:r>
          </a:p>
          <a:p>
            <a:pPr marL="0" indent="0">
              <a:buNone/>
            </a:pPr>
            <a:endParaRPr lang="hi-IN" dirty="0"/>
          </a:p>
        </p:txBody>
      </p:sp>
      <p:pic>
        <p:nvPicPr>
          <p:cNvPr id="7" name="Picture 4" descr="image00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5096" y="2010179"/>
            <a:ext cx="6176804" cy="3133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7616824" y="5264151"/>
            <a:ext cx="1679576" cy="27590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 smtClean="0">
                <a:solidFill>
                  <a:prstClr val="black"/>
                </a:solidFill>
              </a:rPr>
              <a:t>DNS Analytics</a:t>
            </a:r>
            <a:endParaRPr lang="hi-IN" b="1" dirty="0" err="1" smtClean="0">
              <a:solidFill>
                <a:prstClr val="black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2781" y="564055"/>
            <a:ext cx="1205837" cy="243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2780" y="2635767"/>
            <a:ext cx="2384151" cy="1882028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3608386" y="3412970"/>
            <a:ext cx="1049340" cy="327622"/>
            <a:chOff x="5782328" y="2891709"/>
            <a:chExt cx="964333" cy="301081"/>
          </a:xfrm>
        </p:grpSpPr>
        <p:sp>
          <p:nvSpPr>
            <p:cNvPr id="30" name="Round Diagonal Corner Rectangle 29"/>
            <p:cNvSpPr/>
            <p:nvPr/>
          </p:nvSpPr>
          <p:spPr>
            <a:xfrm>
              <a:off x="5861230" y="2968882"/>
              <a:ext cx="782856" cy="146735"/>
            </a:xfrm>
            <a:prstGeom prst="round2DiagRect">
              <a:avLst>
                <a:gd name="adj1" fmla="val 23013"/>
                <a:gd name="adj2" fmla="val 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31" name="Freeform 112"/>
            <p:cNvSpPr>
              <a:spLocks/>
            </p:cNvSpPr>
            <p:nvPr/>
          </p:nvSpPr>
          <p:spPr bwMode="auto">
            <a:xfrm rot="10800000">
              <a:off x="6523793" y="2891709"/>
              <a:ext cx="222868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  <p:sp>
          <p:nvSpPr>
            <p:cNvPr id="32" name="Freeform 112"/>
            <p:cNvSpPr>
              <a:spLocks/>
            </p:cNvSpPr>
            <p:nvPr/>
          </p:nvSpPr>
          <p:spPr bwMode="auto">
            <a:xfrm>
              <a:off x="5782328" y="2891710"/>
              <a:ext cx="222868" cy="301080"/>
            </a:xfrm>
            <a:custGeom>
              <a:avLst/>
              <a:gdLst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9762 w 10000"/>
                <a:gd name="connsiteY31" fmla="*/ 2532 h 10000"/>
                <a:gd name="connsiteX32" fmla="*/ 10000 w 10000"/>
                <a:gd name="connsiteY32" fmla="*/ 2876 h 10000"/>
                <a:gd name="connsiteX33" fmla="*/ 10000 w 10000"/>
                <a:gd name="connsiteY33" fmla="*/ 7124 h 10000"/>
                <a:gd name="connsiteX34" fmla="*/ 10000 w 10000"/>
                <a:gd name="connsiteY34" fmla="*/ 7468 h 10000"/>
                <a:gd name="connsiteX35" fmla="*/ 9762 w 10000"/>
                <a:gd name="connsiteY35" fmla="*/ 7468 h 10000"/>
                <a:gd name="connsiteX36" fmla="*/ 6429 w 10000"/>
                <a:gd name="connsiteY36" fmla="*/ 7468 h 10000"/>
                <a:gd name="connsiteX37" fmla="*/ 6429 w 10000"/>
                <a:gd name="connsiteY37" fmla="*/ 8498 h 10000"/>
                <a:gd name="connsiteX38" fmla="*/ 6429 w 10000"/>
                <a:gd name="connsiteY38" fmla="*/ 8498 h 10000"/>
                <a:gd name="connsiteX39" fmla="*/ 6399 w 10000"/>
                <a:gd name="connsiteY39" fmla="*/ 8841 h 10000"/>
                <a:gd name="connsiteX40" fmla="*/ 6369 w 10000"/>
                <a:gd name="connsiteY40" fmla="*/ 9099 h 10000"/>
                <a:gd name="connsiteX41" fmla="*/ 6310 w 10000"/>
                <a:gd name="connsiteY41" fmla="*/ 9356 h 10000"/>
                <a:gd name="connsiteX42" fmla="*/ 6190 w 10000"/>
                <a:gd name="connsiteY42" fmla="*/ 9571 h 10000"/>
                <a:gd name="connsiteX43" fmla="*/ 6071 w 10000"/>
                <a:gd name="connsiteY43" fmla="*/ 9742 h 10000"/>
                <a:gd name="connsiteX44" fmla="*/ 5952 w 10000"/>
                <a:gd name="connsiteY44" fmla="*/ 9871 h 10000"/>
                <a:gd name="connsiteX45" fmla="*/ 5774 w 10000"/>
                <a:gd name="connsiteY45" fmla="*/ 9957 h 10000"/>
                <a:gd name="connsiteX46" fmla="*/ 5625 w 10000"/>
                <a:gd name="connsiteY46" fmla="*/ 10000 h 10000"/>
                <a:gd name="connsiteX47" fmla="*/ 5625 w 10000"/>
                <a:gd name="connsiteY47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2876 h 10000"/>
                <a:gd name="connsiteX32" fmla="*/ 10000 w 10000"/>
                <a:gd name="connsiteY32" fmla="*/ 7124 h 10000"/>
                <a:gd name="connsiteX33" fmla="*/ 10000 w 10000"/>
                <a:gd name="connsiteY33" fmla="*/ 7468 h 10000"/>
                <a:gd name="connsiteX34" fmla="*/ 9762 w 10000"/>
                <a:gd name="connsiteY34" fmla="*/ 7468 h 10000"/>
                <a:gd name="connsiteX35" fmla="*/ 6429 w 10000"/>
                <a:gd name="connsiteY35" fmla="*/ 7468 h 10000"/>
                <a:gd name="connsiteX36" fmla="*/ 6429 w 10000"/>
                <a:gd name="connsiteY36" fmla="*/ 8498 h 10000"/>
                <a:gd name="connsiteX37" fmla="*/ 6429 w 10000"/>
                <a:gd name="connsiteY37" fmla="*/ 8498 h 10000"/>
                <a:gd name="connsiteX38" fmla="*/ 6399 w 10000"/>
                <a:gd name="connsiteY38" fmla="*/ 8841 h 10000"/>
                <a:gd name="connsiteX39" fmla="*/ 6369 w 10000"/>
                <a:gd name="connsiteY39" fmla="*/ 9099 h 10000"/>
                <a:gd name="connsiteX40" fmla="*/ 6310 w 10000"/>
                <a:gd name="connsiteY40" fmla="*/ 9356 h 10000"/>
                <a:gd name="connsiteX41" fmla="*/ 6190 w 10000"/>
                <a:gd name="connsiteY41" fmla="*/ 9571 h 10000"/>
                <a:gd name="connsiteX42" fmla="*/ 6071 w 10000"/>
                <a:gd name="connsiteY42" fmla="*/ 9742 h 10000"/>
                <a:gd name="connsiteX43" fmla="*/ 5952 w 10000"/>
                <a:gd name="connsiteY43" fmla="*/ 9871 h 10000"/>
                <a:gd name="connsiteX44" fmla="*/ 5774 w 10000"/>
                <a:gd name="connsiteY44" fmla="*/ 9957 h 10000"/>
                <a:gd name="connsiteX45" fmla="*/ 5625 w 10000"/>
                <a:gd name="connsiteY45" fmla="*/ 10000 h 10000"/>
                <a:gd name="connsiteX46" fmla="*/ 5625 w 10000"/>
                <a:gd name="connsiteY46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9762 w 10000"/>
                <a:gd name="connsiteY33" fmla="*/ 7468 h 10000"/>
                <a:gd name="connsiteX34" fmla="*/ 6429 w 10000"/>
                <a:gd name="connsiteY34" fmla="*/ 7468 h 10000"/>
                <a:gd name="connsiteX35" fmla="*/ 6429 w 10000"/>
                <a:gd name="connsiteY35" fmla="*/ 8498 h 10000"/>
                <a:gd name="connsiteX36" fmla="*/ 6429 w 10000"/>
                <a:gd name="connsiteY36" fmla="*/ 8498 h 10000"/>
                <a:gd name="connsiteX37" fmla="*/ 6399 w 10000"/>
                <a:gd name="connsiteY37" fmla="*/ 8841 h 10000"/>
                <a:gd name="connsiteX38" fmla="*/ 6369 w 10000"/>
                <a:gd name="connsiteY38" fmla="*/ 9099 h 10000"/>
                <a:gd name="connsiteX39" fmla="*/ 6310 w 10000"/>
                <a:gd name="connsiteY39" fmla="*/ 9356 h 10000"/>
                <a:gd name="connsiteX40" fmla="*/ 6190 w 10000"/>
                <a:gd name="connsiteY40" fmla="*/ 9571 h 10000"/>
                <a:gd name="connsiteX41" fmla="*/ 6071 w 10000"/>
                <a:gd name="connsiteY41" fmla="*/ 9742 h 10000"/>
                <a:gd name="connsiteX42" fmla="*/ 5952 w 10000"/>
                <a:gd name="connsiteY42" fmla="*/ 9871 h 10000"/>
                <a:gd name="connsiteX43" fmla="*/ 5774 w 10000"/>
                <a:gd name="connsiteY43" fmla="*/ 9957 h 10000"/>
                <a:gd name="connsiteX44" fmla="*/ 5625 w 10000"/>
                <a:gd name="connsiteY44" fmla="*/ 10000 h 10000"/>
                <a:gd name="connsiteX45" fmla="*/ 5625 w 10000"/>
                <a:gd name="connsiteY45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10000 w 10000"/>
                <a:gd name="connsiteY32" fmla="*/ 7468 h 10000"/>
                <a:gd name="connsiteX33" fmla="*/ 6429 w 10000"/>
                <a:gd name="connsiteY33" fmla="*/ 7468 h 10000"/>
                <a:gd name="connsiteX34" fmla="*/ 6429 w 10000"/>
                <a:gd name="connsiteY34" fmla="*/ 8498 h 10000"/>
                <a:gd name="connsiteX35" fmla="*/ 6429 w 10000"/>
                <a:gd name="connsiteY35" fmla="*/ 8498 h 10000"/>
                <a:gd name="connsiteX36" fmla="*/ 6399 w 10000"/>
                <a:gd name="connsiteY36" fmla="*/ 8841 h 10000"/>
                <a:gd name="connsiteX37" fmla="*/ 6369 w 10000"/>
                <a:gd name="connsiteY37" fmla="*/ 9099 h 10000"/>
                <a:gd name="connsiteX38" fmla="*/ 6310 w 10000"/>
                <a:gd name="connsiteY38" fmla="*/ 9356 h 10000"/>
                <a:gd name="connsiteX39" fmla="*/ 6190 w 10000"/>
                <a:gd name="connsiteY39" fmla="*/ 9571 h 10000"/>
                <a:gd name="connsiteX40" fmla="*/ 6071 w 10000"/>
                <a:gd name="connsiteY40" fmla="*/ 9742 h 10000"/>
                <a:gd name="connsiteX41" fmla="*/ 5952 w 10000"/>
                <a:gd name="connsiteY41" fmla="*/ 9871 h 10000"/>
                <a:gd name="connsiteX42" fmla="*/ 5774 w 10000"/>
                <a:gd name="connsiteY42" fmla="*/ 9957 h 10000"/>
                <a:gd name="connsiteX43" fmla="*/ 5625 w 10000"/>
                <a:gd name="connsiteY43" fmla="*/ 10000 h 10000"/>
                <a:gd name="connsiteX44" fmla="*/ 5625 w 10000"/>
                <a:gd name="connsiteY44" fmla="*/ 10000 h 10000"/>
                <a:gd name="connsiteX0" fmla="*/ 5625 w 10000"/>
                <a:gd name="connsiteY0" fmla="*/ 10000 h 10000"/>
                <a:gd name="connsiteX1" fmla="*/ 5625 w 10000"/>
                <a:gd name="connsiteY1" fmla="*/ 10000 h 10000"/>
                <a:gd name="connsiteX2" fmla="*/ 5476 w 10000"/>
                <a:gd name="connsiteY2" fmla="*/ 9957 h 10000"/>
                <a:gd name="connsiteX3" fmla="*/ 5357 w 10000"/>
                <a:gd name="connsiteY3" fmla="*/ 9914 h 10000"/>
                <a:gd name="connsiteX4" fmla="*/ 5089 w 10000"/>
                <a:gd name="connsiteY4" fmla="*/ 9785 h 10000"/>
                <a:gd name="connsiteX5" fmla="*/ 536 w 10000"/>
                <a:gd name="connsiteY5" fmla="*/ 6094 h 10000"/>
                <a:gd name="connsiteX6" fmla="*/ 536 w 10000"/>
                <a:gd name="connsiteY6" fmla="*/ 6094 h 10000"/>
                <a:gd name="connsiteX7" fmla="*/ 298 w 10000"/>
                <a:gd name="connsiteY7" fmla="*/ 5880 h 10000"/>
                <a:gd name="connsiteX8" fmla="*/ 119 w 10000"/>
                <a:gd name="connsiteY8" fmla="*/ 5579 h 10000"/>
                <a:gd name="connsiteX9" fmla="*/ 30 w 10000"/>
                <a:gd name="connsiteY9" fmla="*/ 5322 h 10000"/>
                <a:gd name="connsiteX10" fmla="*/ 0 w 10000"/>
                <a:gd name="connsiteY10" fmla="*/ 4979 h 10000"/>
                <a:gd name="connsiteX11" fmla="*/ 0 w 10000"/>
                <a:gd name="connsiteY11" fmla="*/ 4979 h 10000"/>
                <a:gd name="connsiteX12" fmla="*/ 30 w 10000"/>
                <a:gd name="connsiteY12" fmla="*/ 4678 h 10000"/>
                <a:gd name="connsiteX13" fmla="*/ 119 w 10000"/>
                <a:gd name="connsiteY13" fmla="*/ 4378 h 10000"/>
                <a:gd name="connsiteX14" fmla="*/ 298 w 10000"/>
                <a:gd name="connsiteY14" fmla="*/ 4120 h 10000"/>
                <a:gd name="connsiteX15" fmla="*/ 536 w 10000"/>
                <a:gd name="connsiteY15" fmla="*/ 3906 h 10000"/>
                <a:gd name="connsiteX16" fmla="*/ 5089 w 10000"/>
                <a:gd name="connsiteY16" fmla="*/ 215 h 10000"/>
                <a:gd name="connsiteX17" fmla="*/ 5089 w 10000"/>
                <a:gd name="connsiteY17" fmla="*/ 215 h 10000"/>
                <a:gd name="connsiteX18" fmla="*/ 5357 w 10000"/>
                <a:gd name="connsiteY18" fmla="*/ 86 h 10000"/>
                <a:gd name="connsiteX19" fmla="*/ 5476 w 10000"/>
                <a:gd name="connsiteY19" fmla="*/ 43 h 10000"/>
                <a:gd name="connsiteX20" fmla="*/ 5625 w 10000"/>
                <a:gd name="connsiteY20" fmla="*/ 0 h 10000"/>
                <a:gd name="connsiteX21" fmla="*/ 5625 w 10000"/>
                <a:gd name="connsiteY21" fmla="*/ 0 h 10000"/>
                <a:gd name="connsiteX22" fmla="*/ 5774 w 10000"/>
                <a:gd name="connsiteY22" fmla="*/ 43 h 10000"/>
                <a:gd name="connsiteX23" fmla="*/ 5923 w 10000"/>
                <a:gd name="connsiteY23" fmla="*/ 86 h 10000"/>
                <a:gd name="connsiteX24" fmla="*/ 6042 w 10000"/>
                <a:gd name="connsiteY24" fmla="*/ 215 h 10000"/>
                <a:gd name="connsiteX25" fmla="*/ 6161 w 10000"/>
                <a:gd name="connsiteY25" fmla="*/ 386 h 10000"/>
                <a:gd name="connsiteX26" fmla="*/ 6280 w 10000"/>
                <a:gd name="connsiteY26" fmla="*/ 558 h 10000"/>
                <a:gd name="connsiteX27" fmla="*/ 6369 w 10000"/>
                <a:gd name="connsiteY27" fmla="*/ 815 h 10000"/>
                <a:gd name="connsiteX28" fmla="*/ 6399 w 10000"/>
                <a:gd name="connsiteY28" fmla="*/ 1116 h 10000"/>
                <a:gd name="connsiteX29" fmla="*/ 6429 w 10000"/>
                <a:gd name="connsiteY29" fmla="*/ 1502 h 10000"/>
                <a:gd name="connsiteX30" fmla="*/ 6429 w 10000"/>
                <a:gd name="connsiteY30" fmla="*/ 2532 h 10000"/>
                <a:gd name="connsiteX31" fmla="*/ 10000 w 10000"/>
                <a:gd name="connsiteY31" fmla="*/ 7124 h 10000"/>
                <a:gd name="connsiteX32" fmla="*/ 6429 w 10000"/>
                <a:gd name="connsiteY32" fmla="*/ 7468 h 10000"/>
                <a:gd name="connsiteX33" fmla="*/ 6429 w 10000"/>
                <a:gd name="connsiteY33" fmla="*/ 8498 h 10000"/>
                <a:gd name="connsiteX34" fmla="*/ 6429 w 10000"/>
                <a:gd name="connsiteY34" fmla="*/ 8498 h 10000"/>
                <a:gd name="connsiteX35" fmla="*/ 6399 w 10000"/>
                <a:gd name="connsiteY35" fmla="*/ 8841 h 10000"/>
                <a:gd name="connsiteX36" fmla="*/ 6369 w 10000"/>
                <a:gd name="connsiteY36" fmla="*/ 9099 h 10000"/>
                <a:gd name="connsiteX37" fmla="*/ 6310 w 10000"/>
                <a:gd name="connsiteY37" fmla="*/ 9356 h 10000"/>
                <a:gd name="connsiteX38" fmla="*/ 6190 w 10000"/>
                <a:gd name="connsiteY38" fmla="*/ 9571 h 10000"/>
                <a:gd name="connsiteX39" fmla="*/ 6071 w 10000"/>
                <a:gd name="connsiteY39" fmla="*/ 9742 h 10000"/>
                <a:gd name="connsiteX40" fmla="*/ 5952 w 10000"/>
                <a:gd name="connsiteY40" fmla="*/ 9871 h 10000"/>
                <a:gd name="connsiteX41" fmla="*/ 5774 w 10000"/>
                <a:gd name="connsiteY41" fmla="*/ 9957 h 10000"/>
                <a:gd name="connsiteX42" fmla="*/ 5625 w 10000"/>
                <a:gd name="connsiteY42" fmla="*/ 10000 h 10000"/>
                <a:gd name="connsiteX43" fmla="*/ 5625 w 10000"/>
                <a:gd name="connsiteY43" fmla="*/ 10000 h 10000"/>
                <a:gd name="connsiteX0" fmla="*/ 5625 w 6429"/>
                <a:gd name="connsiteY0" fmla="*/ 10000 h 10000"/>
                <a:gd name="connsiteX1" fmla="*/ 5625 w 6429"/>
                <a:gd name="connsiteY1" fmla="*/ 10000 h 10000"/>
                <a:gd name="connsiteX2" fmla="*/ 5476 w 6429"/>
                <a:gd name="connsiteY2" fmla="*/ 9957 h 10000"/>
                <a:gd name="connsiteX3" fmla="*/ 5357 w 6429"/>
                <a:gd name="connsiteY3" fmla="*/ 9914 h 10000"/>
                <a:gd name="connsiteX4" fmla="*/ 5089 w 6429"/>
                <a:gd name="connsiteY4" fmla="*/ 9785 h 10000"/>
                <a:gd name="connsiteX5" fmla="*/ 536 w 6429"/>
                <a:gd name="connsiteY5" fmla="*/ 6094 h 10000"/>
                <a:gd name="connsiteX6" fmla="*/ 536 w 6429"/>
                <a:gd name="connsiteY6" fmla="*/ 6094 h 10000"/>
                <a:gd name="connsiteX7" fmla="*/ 298 w 6429"/>
                <a:gd name="connsiteY7" fmla="*/ 5880 h 10000"/>
                <a:gd name="connsiteX8" fmla="*/ 119 w 6429"/>
                <a:gd name="connsiteY8" fmla="*/ 5579 h 10000"/>
                <a:gd name="connsiteX9" fmla="*/ 30 w 6429"/>
                <a:gd name="connsiteY9" fmla="*/ 5322 h 10000"/>
                <a:gd name="connsiteX10" fmla="*/ 0 w 6429"/>
                <a:gd name="connsiteY10" fmla="*/ 4979 h 10000"/>
                <a:gd name="connsiteX11" fmla="*/ 0 w 6429"/>
                <a:gd name="connsiteY11" fmla="*/ 4979 h 10000"/>
                <a:gd name="connsiteX12" fmla="*/ 30 w 6429"/>
                <a:gd name="connsiteY12" fmla="*/ 4678 h 10000"/>
                <a:gd name="connsiteX13" fmla="*/ 119 w 6429"/>
                <a:gd name="connsiteY13" fmla="*/ 4378 h 10000"/>
                <a:gd name="connsiteX14" fmla="*/ 298 w 6429"/>
                <a:gd name="connsiteY14" fmla="*/ 4120 h 10000"/>
                <a:gd name="connsiteX15" fmla="*/ 536 w 6429"/>
                <a:gd name="connsiteY15" fmla="*/ 3906 h 10000"/>
                <a:gd name="connsiteX16" fmla="*/ 5089 w 6429"/>
                <a:gd name="connsiteY16" fmla="*/ 215 h 10000"/>
                <a:gd name="connsiteX17" fmla="*/ 5089 w 6429"/>
                <a:gd name="connsiteY17" fmla="*/ 215 h 10000"/>
                <a:gd name="connsiteX18" fmla="*/ 5357 w 6429"/>
                <a:gd name="connsiteY18" fmla="*/ 86 h 10000"/>
                <a:gd name="connsiteX19" fmla="*/ 5476 w 6429"/>
                <a:gd name="connsiteY19" fmla="*/ 43 h 10000"/>
                <a:gd name="connsiteX20" fmla="*/ 5625 w 6429"/>
                <a:gd name="connsiteY20" fmla="*/ 0 h 10000"/>
                <a:gd name="connsiteX21" fmla="*/ 5625 w 6429"/>
                <a:gd name="connsiteY21" fmla="*/ 0 h 10000"/>
                <a:gd name="connsiteX22" fmla="*/ 5774 w 6429"/>
                <a:gd name="connsiteY22" fmla="*/ 43 h 10000"/>
                <a:gd name="connsiteX23" fmla="*/ 5923 w 6429"/>
                <a:gd name="connsiteY23" fmla="*/ 86 h 10000"/>
                <a:gd name="connsiteX24" fmla="*/ 6042 w 6429"/>
                <a:gd name="connsiteY24" fmla="*/ 215 h 10000"/>
                <a:gd name="connsiteX25" fmla="*/ 6161 w 6429"/>
                <a:gd name="connsiteY25" fmla="*/ 386 h 10000"/>
                <a:gd name="connsiteX26" fmla="*/ 6280 w 6429"/>
                <a:gd name="connsiteY26" fmla="*/ 558 h 10000"/>
                <a:gd name="connsiteX27" fmla="*/ 6369 w 6429"/>
                <a:gd name="connsiteY27" fmla="*/ 815 h 10000"/>
                <a:gd name="connsiteX28" fmla="*/ 6399 w 6429"/>
                <a:gd name="connsiteY28" fmla="*/ 1116 h 10000"/>
                <a:gd name="connsiteX29" fmla="*/ 6429 w 6429"/>
                <a:gd name="connsiteY29" fmla="*/ 1502 h 10000"/>
                <a:gd name="connsiteX30" fmla="*/ 6429 w 6429"/>
                <a:gd name="connsiteY30" fmla="*/ 2532 h 10000"/>
                <a:gd name="connsiteX31" fmla="*/ 6429 w 6429"/>
                <a:gd name="connsiteY31" fmla="*/ 7468 h 10000"/>
                <a:gd name="connsiteX32" fmla="*/ 6429 w 6429"/>
                <a:gd name="connsiteY32" fmla="*/ 8498 h 10000"/>
                <a:gd name="connsiteX33" fmla="*/ 6429 w 6429"/>
                <a:gd name="connsiteY33" fmla="*/ 8498 h 10000"/>
                <a:gd name="connsiteX34" fmla="*/ 6399 w 6429"/>
                <a:gd name="connsiteY34" fmla="*/ 8841 h 10000"/>
                <a:gd name="connsiteX35" fmla="*/ 6369 w 6429"/>
                <a:gd name="connsiteY35" fmla="*/ 9099 h 10000"/>
                <a:gd name="connsiteX36" fmla="*/ 6310 w 6429"/>
                <a:gd name="connsiteY36" fmla="*/ 9356 h 10000"/>
                <a:gd name="connsiteX37" fmla="*/ 6190 w 6429"/>
                <a:gd name="connsiteY37" fmla="*/ 9571 h 10000"/>
                <a:gd name="connsiteX38" fmla="*/ 6071 w 6429"/>
                <a:gd name="connsiteY38" fmla="*/ 9742 h 10000"/>
                <a:gd name="connsiteX39" fmla="*/ 5952 w 6429"/>
                <a:gd name="connsiteY39" fmla="*/ 9871 h 10000"/>
                <a:gd name="connsiteX40" fmla="*/ 5774 w 6429"/>
                <a:gd name="connsiteY40" fmla="*/ 9957 h 10000"/>
                <a:gd name="connsiteX41" fmla="*/ 5625 w 6429"/>
                <a:gd name="connsiteY41" fmla="*/ 10000 h 10000"/>
                <a:gd name="connsiteX42" fmla="*/ 5625 w 6429"/>
                <a:gd name="connsiteY4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429" h="10000">
                  <a:moveTo>
                    <a:pt x="5625" y="10000"/>
                  </a:moveTo>
                  <a:lnTo>
                    <a:pt x="5625" y="10000"/>
                  </a:lnTo>
                  <a:lnTo>
                    <a:pt x="5476" y="9957"/>
                  </a:lnTo>
                  <a:cubicBezTo>
                    <a:pt x="5436" y="9943"/>
                    <a:pt x="5397" y="9928"/>
                    <a:pt x="5357" y="9914"/>
                  </a:cubicBezTo>
                  <a:lnTo>
                    <a:pt x="5089" y="9785"/>
                  </a:lnTo>
                  <a:lnTo>
                    <a:pt x="536" y="6094"/>
                  </a:lnTo>
                  <a:lnTo>
                    <a:pt x="536" y="6094"/>
                  </a:lnTo>
                  <a:lnTo>
                    <a:pt x="298" y="5880"/>
                  </a:lnTo>
                  <a:cubicBezTo>
                    <a:pt x="238" y="5780"/>
                    <a:pt x="179" y="5679"/>
                    <a:pt x="119" y="5579"/>
                  </a:cubicBezTo>
                  <a:cubicBezTo>
                    <a:pt x="89" y="5493"/>
                    <a:pt x="60" y="5408"/>
                    <a:pt x="30" y="5322"/>
                  </a:cubicBezTo>
                  <a:cubicBezTo>
                    <a:pt x="20" y="5208"/>
                    <a:pt x="10" y="5093"/>
                    <a:pt x="0" y="4979"/>
                  </a:cubicBezTo>
                  <a:lnTo>
                    <a:pt x="0" y="4979"/>
                  </a:lnTo>
                  <a:cubicBezTo>
                    <a:pt x="10" y="4879"/>
                    <a:pt x="20" y="4778"/>
                    <a:pt x="30" y="4678"/>
                  </a:cubicBezTo>
                  <a:cubicBezTo>
                    <a:pt x="60" y="4578"/>
                    <a:pt x="89" y="4478"/>
                    <a:pt x="119" y="4378"/>
                  </a:cubicBezTo>
                  <a:lnTo>
                    <a:pt x="298" y="4120"/>
                  </a:lnTo>
                  <a:lnTo>
                    <a:pt x="536" y="3906"/>
                  </a:lnTo>
                  <a:lnTo>
                    <a:pt x="5089" y="215"/>
                  </a:lnTo>
                  <a:lnTo>
                    <a:pt x="5089" y="215"/>
                  </a:lnTo>
                  <a:lnTo>
                    <a:pt x="5357" y="86"/>
                  </a:lnTo>
                  <a:cubicBezTo>
                    <a:pt x="5397" y="72"/>
                    <a:pt x="5436" y="57"/>
                    <a:pt x="5476" y="43"/>
                  </a:cubicBezTo>
                  <a:lnTo>
                    <a:pt x="5625" y="0"/>
                  </a:lnTo>
                  <a:lnTo>
                    <a:pt x="5625" y="0"/>
                  </a:lnTo>
                  <a:lnTo>
                    <a:pt x="5774" y="43"/>
                  </a:lnTo>
                  <a:lnTo>
                    <a:pt x="5923" y="86"/>
                  </a:lnTo>
                  <a:lnTo>
                    <a:pt x="6042" y="215"/>
                  </a:lnTo>
                  <a:cubicBezTo>
                    <a:pt x="6082" y="272"/>
                    <a:pt x="6121" y="329"/>
                    <a:pt x="6161" y="386"/>
                  </a:cubicBezTo>
                  <a:cubicBezTo>
                    <a:pt x="6201" y="443"/>
                    <a:pt x="6240" y="501"/>
                    <a:pt x="6280" y="558"/>
                  </a:cubicBezTo>
                  <a:cubicBezTo>
                    <a:pt x="6310" y="644"/>
                    <a:pt x="6339" y="729"/>
                    <a:pt x="6369" y="815"/>
                  </a:cubicBezTo>
                  <a:cubicBezTo>
                    <a:pt x="6379" y="915"/>
                    <a:pt x="6389" y="1016"/>
                    <a:pt x="6399" y="1116"/>
                  </a:cubicBezTo>
                  <a:cubicBezTo>
                    <a:pt x="6409" y="1245"/>
                    <a:pt x="6419" y="1373"/>
                    <a:pt x="6429" y="1502"/>
                  </a:cubicBezTo>
                  <a:lnTo>
                    <a:pt x="6429" y="2532"/>
                  </a:lnTo>
                  <a:lnTo>
                    <a:pt x="6429" y="7468"/>
                  </a:lnTo>
                  <a:lnTo>
                    <a:pt x="6429" y="8498"/>
                  </a:lnTo>
                  <a:lnTo>
                    <a:pt x="6429" y="8498"/>
                  </a:lnTo>
                  <a:cubicBezTo>
                    <a:pt x="6419" y="8612"/>
                    <a:pt x="6409" y="8727"/>
                    <a:pt x="6399" y="8841"/>
                  </a:cubicBezTo>
                  <a:lnTo>
                    <a:pt x="6369" y="9099"/>
                  </a:lnTo>
                  <a:cubicBezTo>
                    <a:pt x="6349" y="9185"/>
                    <a:pt x="6330" y="9270"/>
                    <a:pt x="6310" y="9356"/>
                  </a:cubicBezTo>
                  <a:lnTo>
                    <a:pt x="6190" y="9571"/>
                  </a:lnTo>
                  <a:cubicBezTo>
                    <a:pt x="6150" y="9628"/>
                    <a:pt x="6111" y="9685"/>
                    <a:pt x="6071" y="9742"/>
                  </a:cubicBezTo>
                  <a:lnTo>
                    <a:pt x="5952" y="9871"/>
                  </a:lnTo>
                  <a:lnTo>
                    <a:pt x="5774" y="9957"/>
                  </a:lnTo>
                  <a:lnTo>
                    <a:pt x="5625" y="10000"/>
                  </a:lnTo>
                  <a:lnTo>
                    <a:pt x="5625" y="1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62">
                <a:defRPr/>
              </a:pPr>
              <a:endParaRPr lang="en-US" sz="32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7326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Recover:</a:t>
            </a:r>
            <a:r>
              <a:rPr lang="en-US" dirty="0" smtClean="0"/>
              <a:t> Recover from malicious actions</a:t>
            </a:r>
            <a:endParaRPr lang="hi-IN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Some examples are:</a:t>
            </a:r>
            <a:endParaRPr lang="en-US" dirty="0"/>
          </a:p>
        </p:txBody>
      </p:sp>
      <p:grpSp>
        <p:nvGrpSpPr>
          <p:cNvPr id="5" name="Group 422"/>
          <p:cNvGrpSpPr>
            <a:grpSpLocks noChangeAspect="1"/>
          </p:cNvGrpSpPr>
          <p:nvPr/>
        </p:nvGrpSpPr>
        <p:grpSpPr bwMode="auto">
          <a:xfrm>
            <a:off x="11052014" y="390743"/>
            <a:ext cx="527370" cy="603922"/>
            <a:chOff x="5326" y="548"/>
            <a:chExt cx="186" cy="213"/>
          </a:xfrm>
          <a:solidFill>
            <a:schemeClr val="accent1"/>
          </a:solidFill>
        </p:grpSpPr>
        <p:sp>
          <p:nvSpPr>
            <p:cNvPr id="6" name="Freeform 423"/>
            <p:cNvSpPr>
              <a:spLocks noEditPoints="1"/>
            </p:cNvSpPr>
            <p:nvPr/>
          </p:nvSpPr>
          <p:spPr bwMode="auto">
            <a:xfrm>
              <a:off x="5426" y="548"/>
              <a:ext cx="86" cy="153"/>
            </a:xfrm>
            <a:custGeom>
              <a:avLst/>
              <a:gdLst>
                <a:gd name="T0" fmla="*/ 85 w 172"/>
                <a:gd name="T1" fmla="*/ 94 h 306"/>
                <a:gd name="T2" fmla="*/ 106 w 172"/>
                <a:gd name="T3" fmla="*/ 91 h 306"/>
                <a:gd name="T4" fmla="*/ 120 w 172"/>
                <a:gd name="T5" fmla="*/ 84 h 306"/>
                <a:gd name="T6" fmla="*/ 128 w 172"/>
                <a:gd name="T7" fmla="*/ 69 h 306"/>
                <a:gd name="T8" fmla="*/ 131 w 172"/>
                <a:gd name="T9" fmla="*/ 47 h 306"/>
                <a:gd name="T10" fmla="*/ 129 w 172"/>
                <a:gd name="T11" fmla="*/ 35 h 306"/>
                <a:gd name="T12" fmla="*/ 125 w 172"/>
                <a:gd name="T13" fmla="*/ 17 h 306"/>
                <a:gd name="T14" fmla="*/ 114 w 172"/>
                <a:gd name="T15" fmla="*/ 6 h 306"/>
                <a:gd name="T16" fmla="*/ 97 w 172"/>
                <a:gd name="T17" fmla="*/ 0 h 306"/>
                <a:gd name="T18" fmla="*/ 85 w 172"/>
                <a:gd name="T19" fmla="*/ 0 h 306"/>
                <a:gd name="T20" fmla="*/ 65 w 172"/>
                <a:gd name="T21" fmla="*/ 2 h 306"/>
                <a:gd name="T22" fmla="*/ 51 w 172"/>
                <a:gd name="T23" fmla="*/ 10 h 306"/>
                <a:gd name="T24" fmla="*/ 43 w 172"/>
                <a:gd name="T25" fmla="*/ 25 h 306"/>
                <a:gd name="T26" fmla="*/ 41 w 172"/>
                <a:gd name="T27" fmla="*/ 47 h 306"/>
                <a:gd name="T28" fmla="*/ 41 w 172"/>
                <a:gd name="T29" fmla="*/ 59 h 306"/>
                <a:gd name="T30" fmla="*/ 46 w 172"/>
                <a:gd name="T31" fmla="*/ 76 h 306"/>
                <a:gd name="T32" fmla="*/ 57 w 172"/>
                <a:gd name="T33" fmla="*/ 88 h 306"/>
                <a:gd name="T34" fmla="*/ 74 w 172"/>
                <a:gd name="T35" fmla="*/ 93 h 306"/>
                <a:gd name="T36" fmla="*/ 85 w 172"/>
                <a:gd name="T37" fmla="*/ 94 h 306"/>
                <a:gd name="T38" fmla="*/ 36 w 172"/>
                <a:gd name="T39" fmla="*/ 108 h 306"/>
                <a:gd name="T40" fmla="*/ 28 w 172"/>
                <a:gd name="T41" fmla="*/ 108 h 306"/>
                <a:gd name="T42" fmla="*/ 14 w 172"/>
                <a:gd name="T43" fmla="*/ 113 h 306"/>
                <a:gd name="T44" fmla="*/ 5 w 172"/>
                <a:gd name="T45" fmla="*/ 122 h 306"/>
                <a:gd name="T46" fmla="*/ 0 w 172"/>
                <a:gd name="T47" fmla="*/ 138 h 306"/>
                <a:gd name="T48" fmla="*/ 0 w 172"/>
                <a:gd name="T49" fmla="*/ 173 h 306"/>
                <a:gd name="T50" fmla="*/ 28 w 172"/>
                <a:gd name="T51" fmla="*/ 156 h 306"/>
                <a:gd name="T52" fmla="*/ 29 w 172"/>
                <a:gd name="T53" fmla="*/ 154 h 306"/>
                <a:gd name="T54" fmla="*/ 32 w 172"/>
                <a:gd name="T55" fmla="*/ 153 h 306"/>
                <a:gd name="T56" fmla="*/ 36 w 172"/>
                <a:gd name="T57" fmla="*/ 156 h 306"/>
                <a:gd name="T58" fmla="*/ 133 w 172"/>
                <a:gd name="T59" fmla="*/ 306 h 306"/>
                <a:gd name="T60" fmla="*/ 135 w 172"/>
                <a:gd name="T61" fmla="*/ 281 h 306"/>
                <a:gd name="T62" fmla="*/ 136 w 172"/>
                <a:gd name="T63" fmla="*/ 265 h 306"/>
                <a:gd name="T64" fmla="*/ 136 w 172"/>
                <a:gd name="T65" fmla="*/ 156 h 306"/>
                <a:gd name="T66" fmla="*/ 139 w 172"/>
                <a:gd name="T67" fmla="*/ 153 h 306"/>
                <a:gd name="T68" fmla="*/ 142 w 172"/>
                <a:gd name="T69" fmla="*/ 154 h 306"/>
                <a:gd name="T70" fmla="*/ 142 w 172"/>
                <a:gd name="T71" fmla="*/ 258 h 306"/>
                <a:gd name="T72" fmla="*/ 143 w 172"/>
                <a:gd name="T73" fmla="*/ 260 h 306"/>
                <a:gd name="T74" fmla="*/ 145 w 172"/>
                <a:gd name="T75" fmla="*/ 266 h 306"/>
                <a:gd name="T76" fmla="*/ 152 w 172"/>
                <a:gd name="T77" fmla="*/ 272 h 306"/>
                <a:gd name="T78" fmla="*/ 158 w 172"/>
                <a:gd name="T79" fmla="*/ 272 h 306"/>
                <a:gd name="T80" fmla="*/ 167 w 172"/>
                <a:gd name="T81" fmla="*/ 269 h 306"/>
                <a:gd name="T82" fmla="*/ 172 w 172"/>
                <a:gd name="T83" fmla="*/ 258 h 306"/>
                <a:gd name="T84" fmla="*/ 172 w 172"/>
                <a:gd name="T85" fmla="*/ 146 h 306"/>
                <a:gd name="T86" fmla="*/ 169 w 172"/>
                <a:gd name="T87" fmla="*/ 129 h 306"/>
                <a:gd name="T88" fmla="*/ 162 w 172"/>
                <a:gd name="T89" fmla="*/ 117 h 306"/>
                <a:gd name="T90" fmla="*/ 151 w 172"/>
                <a:gd name="T91" fmla="*/ 111 h 306"/>
                <a:gd name="T92" fmla="*/ 136 w 172"/>
                <a:gd name="T93" fmla="*/ 108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2" h="306">
                  <a:moveTo>
                    <a:pt x="85" y="94"/>
                  </a:moveTo>
                  <a:lnTo>
                    <a:pt x="85" y="94"/>
                  </a:lnTo>
                  <a:lnTo>
                    <a:pt x="97" y="93"/>
                  </a:lnTo>
                  <a:lnTo>
                    <a:pt x="106" y="91"/>
                  </a:lnTo>
                  <a:lnTo>
                    <a:pt x="114" y="88"/>
                  </a:lnTo>
                  <a:lnTo>
                    <a:pt x="120" y="84"/>
                  </a:lnTo>
                  <a:lnTo>
                    <a:pt x="125" y="76"/>
                  </a:lnTo>
                  <a:lnTo>
                    <a:pt x="128" y="69"/>
                  </a:lnTo>
                  <a:lnTo>
                    <a:pt x="129" y="59"/>
                  </a:lnTo>
                  <a:lnTo>
                    <a:pt x="131" y="47"/>
                  </a:lnTo>
                  <a:lnTo>
                    <a:pt x="131" y="47"/>
                  </a:lnTo>
                  <a:lnTo>
                    <a:pt x="129" y="35"/>
                  </a:lnTo>
                  <a:lnTo>
                    <a:pt x="128" y="25"/>
                  </a:lnTo>
                  <a:lnTo>
                    <a:pt x="125" y="17"/>
                  </a:lnTo>
                  <a:lnTo>
                    <a:pt x="120" y="10"/>
                  </a:lnTo>
                  <a:lnTo>
                    <a:pt x="114" y="6"/>
                  </a:lnTo>
                  <a:lnTo>
                    <a:pt x="106" y="2"/>
                  </a:lnTo>
                  <a:lnTo>
                    <a:pt x="97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65" y="2"/>
                  </a:lnTo>
                  <a:lnTo>
                    <a:pt x="57" y="6"/>
                  </a:lnTo>
                  <a:lnTo>
                    <a:pt x="51" y="10"/>
                  </a:lnTo>
                  <a:lnTo>
                    <a:pt x="46" y="17"/>
                  </a:lnTo>
                  <a:lnTo>
                    <a:pt x="43" y="25"/>
                  </a:lnTo>
                  <a:lnTo>
                    <a:pt x="41" y="35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59"/>
                  </a:lnTo>
                  <a:lnTo>
                    <a:pt x="43" y="69"/>
                  </a:lnTo>
                  <a:lnTo>
                    <a:pt x="46" y="76"/>
                  </a:lnTo>
                  <a:lnTo>
                    <a:pt x="51" y="84"/>
                  </a:lnTo>
                  <a:lnTo>
                    <a:pt x="57" y="88"/>
                  </a:lnTo>
                  <a:lnTo>
                    <a:pt x="65" y="91"/>
                  </a:lnTo>
                  <a:lnTo>
                    <a:pt x="74" y="93"/>
                  </a:lnTo>
                  <a:lnTo>
                    <a:pt x="85" y="94"/>
                  </a:lnTo>
                  <a:lnTo>
                    <a:pt x="85" y="94"/>
                  </a:lnTo>
                  <a:close/>
                  <a:moveTo>
                    <a:pt x="136" y="108"/>
                  </a:moveTo>
                  <a:lnTo>
                    <a:pt x="36" y="108"/>
                  </a:lnTo>
                  <a:lnTo>
                    <a:pt x="36" y="108"/>
                  </a:lnTo>
                  <a:lnTo>
                    <a:pt x="28" y="108"/>
                  </a:lnTo>
                  <a:lnTo>
                    <a:pt x="21" y="111"/>
                  </a:lnTo>
                  <a:lnTo>
                    <a:pt x="14" y="113"/>
                  </a:lnTo>
                  <a:lnTo>
                    <a:pt x="10" y="117"/>
                  </a:lnTo>
                  <a:lnTo>
                    <a:pt x="5" y="122"/>
                  </a:lnTo>
                  <a:lnTo>
                    <a:pt x="2" y="129"/>
                  </a:lnTo>
                  <a:lnTo>
                    <a:pt x="0" y="138"/>
                  </a:lnTo>
                  <a:lnTo>
                    <a:pt x="0" y="146"/>
                  </a:lnTo>
                  <a:lnTo>
                    <a:pt x="0" y="173"/>
                  </a:lnTo>
                  <a:lnTo>
                    <a:pt x="28" y="201"/>
                  </a:lnTo>
                  <a:lnTo>
                    <a:pt x="28" y="156"/>
                  </a:lnTo>
                  <a:lnTo>
                    <a:pt x="28" y="156"/>
                  </a:lnTo>
                  <a:lnTo>
                    <a:pt x="29" y="154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5" y="154"/>
                  </a:lnTo>
                  <a:lnTo>
                    <a:pt x="36" y="156"/>
                  </a:lnTo>
                  <a:lnTo>
                    <a:pt x="36" y="209"/>
                  </a:lnTo>
                  <a:lnTo>
                    <a:pt x="133" y="306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6" y="265"/>
                  </a:lnTo>
                  <a:lnTo>
                    <a:pt x="136" y="156"/>
                  </a:lnTo>
                  <a:lnTo>
                    <a:pt x="136" y="156"/>
                  </a:lnTo>
                  <a:lnTo>
                    <a:pt x="137" y="154"/>
                  </a:lnTo>
                  <a:lnTo>
                    <a:pt x="139" y="153"/>
                  </a:lnTo>
                  <a:lnTo>
                    <a:pt x="139" y="153"/>
                  </a:lnTo>
                  <a:lnTo>
                    <a:pt x="142" y="154"/>
                  </a:lnTo>
                  <a:lnTo>
                    <a:pt x="142" y="156"/>
                  </a:lnTo>
                  <a:lnTo>
                    <a:pt x="142" y="258"/>
                  </a:lnTo>
                  <a:lnTo>
                    <a:pt x="142" y="258"/>
                  </a:lnTo>
                  <a:lnTo>
                    <a:pt x="143" y="260"/>
                  </a:lnTo>
                  <a:lnTo>
                    <a:pt x="143" y="260"/>
                  </a:lnTo>
                  <a:lnTo>
                    <a:pt x="145" y="266"/>
                  </a:lnTo>
                  <a:lnTo>
                    <a:pt x="148" y="269"/>
                  </a:lnTo>
                  <a:lnTo>
                    <a:pt x="152" y="272"/>
                  </a:lnTo>
                  <a:lnTo>
                    <a:pt x="158" y="272"/>
                  </a:lnTo>
                  <a:lnTo>
                    <a:pt x="158" y="272"/>
                  </a:lnTo>
                  <a:lnTo>
                    <a:pt x="163" y="271"/>
                  </a:lnTo>
                  <a:lnTo>
                    <a:pt x="167" y="269"/>
                  </a:lnTo>
                  <a:lnTo>
                    <a:pt x="170" y="264"/>
                  </a:lnTo>
                  <a:lnTo>
                    <a:pt x="172" y="258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2" y="138"/>
                  </a:lnTo>
                  <a:lnTo>
                    <a:pt x="169" y="129"/>
                  </a:lnTo>
                  <a:lnTo>
                    <a:pt x="166" y="122"/>
                  </a:lnTo>
                  <a:lnTo>
                    <a:pt x="162" y="117"/>
                  </a:lnTo>
                  <a:lnTo>
                    <a:pt x="158" y="113"/>
                  </a:lnTo>
                  <a:lnTo>
                    <a:pt x="151" y="111"/>
                  </a:lnTo>
                  <a:lnTo>
                    <a:pt x="143" y="108"/>
                  </a:lnTo>
                  <a:lnTo>
                    <a:pt x="136" y="108"/>
                  </a:lnTo>
                  <a:lnTo>
                    <a:pt x="136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" name="Freeform 424"/>
            <p:cNvSpPr>
              <a:spLocks noEditPoints="1"/>
            </p:cNvSpPr>
            <p:nvPr/>
          </p:nvSpPr>
          <p:spPr bwMode="auto">
            <a:xfrm>
              <a:off x="5326" y="580"/>
              <a:ext cx="181" cy="181"/>
            </a:xfrm>
            <a:custGeom>
              <a:avLst/>
              <a:gdLst>
                <a:gd name="T0" fmla="*/ 179 w 362"/>
                <a:gd name="T1" fmla="*/ 112 h 362"/>
                <a:gd name="T2" fmla="*/ 181 w 362"/>
                <a:gd name="T3" fmla="*/ 101 h 362"/>
                <a:gd name="T4" fmla="*/ 180 w 362"/>
                <a:gd name="T5" fmla="*/ 79 h 362"/>
                <a:gd name="T6" fmla="*/ 174 w 362"/>
                <a:gd name="T7" fmla="*/ 56 h 362"/>
                <a:gd name="T8" fmla="*/ 162 w 362"/>
                <a:gd name="T9" fmla="*/ 36 h 362"/>
                <a:gd name="T10" fmla="*/ 155 w 362"/>
                <a:gd name="T11" fmla="*/ 27 h 362"/>
                <a:gd name="T12" fmla="*/ 132 w 362"/>
                <a:gd name="T13" fmla="*/ 11 h 362"/>
                <a:gd name="T14" fmla="*/ 106 w 362"/>
                <a:gd name="T15" fmla="*/ 2 h 362"/>
                <a:gd name="T16" fmla="*/ 79 w 362"/>
                <a:gd name="T17" fmla="*/ 1 h 362"/>
                <a:gd name="T18" fmla="*/ 53 w 362"/>
                <a:gd name="T19" fmla="*/ 8 h 362"/>
                <a:gd name="T20" fmla="*/ 102 w 362"/>
                <a:gd name="T21" fmla="*/ 56 h 362"/>
                <a:gd name="T22" fmla="*/ 110 w 362"/>
                <a:gd name="T23" fmla="*/ 67 h 362"/>
                <a:gd name="T24" fmla="*/ 112 w 362"/>
                <a:gd name="T25" fmla="*/ 80 h 362"/>
                <a:gd name="T26" fmla="*/ 110 w 362"/>
                <a:gd name="T27" fmla="*/ 92 h 362"/>
                <a:gd name="T28" fmla="*/ 102 w 362"/>
                <a:gd name="T29" fmla="*/ 103 h 362"/>
                <a:gd name="T30" fmla="*/ 97 w 362"/>
                <a:gd name="T31" fmla="*/ 107 h 362"/>
                <a:gd name="T32" fmla="*/ 85 w 362"/>
                <a:gd name="T33" fmla="*/ 112 h 362"/>
                <a:gd name="T34" fmla="*/ 72 w 362"/>
                <a:gd name="T35" fmla="*/ 112 h 362"/>
                <a:gd name="T36" fmla="*/ 60 w 362"/>
                <a:gd name="T37" fmla="*/ 107 h 362"/>
                <a:gd name="T38" fmla="*/ 7 w 362"/>
                <a:gd name="T39" fmla="*/ 55 h 362"/>
                <a:gd name="T40" fmla="*/ 3 w 362"/>
                <a:gd name="T41" fmla="*/ 67 h 362"/>
                <a:gd name="T42" fmla="*/ 0 w 362"/>
                <a:gd name="T43" fmla="*/ 94 h 362"/>
                <a:gd name="T44" fmla="*/ 4 w 362"/>
                <a:gd name="T45" fmla="*/ 120 h 362"/>
                <a:gd name="T46" fmla="*/ 17 w 362"/>
                <a:gd name="T47" fmla="*/ 145 h 362"/>
                <a:gd name="T48" fmla="*/ 27 w 362"/>
                <a:gd name="T49" fmla="*/ 155 h 362"/>
                <a:gd name="T50" fmla="*/ 45 w 362"/>
                <a:gd name="T51" fmla="*/ 169 h 362"/>
                <a:gd name="T52" fmla="*/ 66 w 362"/>
                <a:gd name="T53" fmla="*/ 179 h 362"/>
                <a:gd name="T54" fmla="*/ 89 w 362"/>
                <a:gd name="T55" fmla="*/ 182 h 362"/>
                <a:gd name="T56" fmla="*/ 112 w 362"/>
                <a:gd name="T57" fmla="*/ 179 h 362"/>
                <a:gd name="T58" fmla="*/ 282 w 362"/>
                <a:gd name="T59" fmla="*/ 349 h 362"/>
                <a:gd name="T60" fmla="*/ 297 w 362"/>
                <a:gd name="T61" fmla="*/ 359 h 362"/>
                <a:gd name="T62" fmla="*/ 314 w 362"/>
                <a:gd name="T63" fmla="*/ 362 h 362"/>
                <a:gd name="T64" fmla="*/ 324 w 362"/>
                <a:gd name="T65" fmla="*/ 362 h 362"/>
                <a:gd name="T66" fmla="*/ 340 w 362"/>
                <a:gd name="T67" fmla="*/ 355 h 362"/>
                <a:gd name="T68" fmla="*/ 348 w 362"/>
                <a:gd name="T69" fmla="*/ 349 h 362"/>
                <a:gd name="T70" fmla="*/ 359 w 362"/>
                <a:gd name="T71" fmla="*/ 333 h 362"/>
                <a:gd name="T72" fmla="*/ 362 w 362"/>
                <a:gd name="T73" fmla="*/ 316 h 362"/>
                <a:gd name="T74" fmla="*/ 359 w 362"/>
                <a:gd name="T75" fmla="*/ 298 h 362"/>
                <a:gd name="T76" fmla="*/ 348 w 362"/>
                <a:gd name="T77" fmla="*/ 283 h 362"/>
                <a:gd name="T78" fmla="*/ 329 w 362"/>
                <a:gd name="T79" fmla="*/ 330 h 362"/>
                <a:gd name="T80" fmla="*/ 326 w 362"/>
                <a:gd name="T81" fmla="*/ 333 h 362"/>
                <a:gd name="T82" fmla="*/ 319 w 362"/>
                <a:gd name="T83" fmla="*/ 336 h 362"/>
                <a:gd name="T84" fmla="*/ 311 w 362"/>
                <a:gd name="T85" fmla="*/ 336 h 362"/>
                <a:gd name="T86" fmla="*/ 304 w 362"/>
                <a:gd name="T87" fmla="*/ 333 h 362"/>
                <a:gd name="T88" fmla="*/ 300 w 362"/>
                <a:gd name="T89" fmla="*/ 330 h 362"/>
                <a:gd name="T90" fmla="*/ 296 w 362"/>
                <a:gd name="T91" fmla="*/ 324 h 362"/>
                <a:gd name="T92" fmla="*/ 294 w 362"/>
                <a:gd name="T93" fmla="*/ 316 h 362"/>
                <a:gd name="T94" fmla="*/ 296 w 362"/>
                <a:gd name="T95" fmla="*/ 308 h 362"/>
                <a:gd name="T96" fmla="*/ 300 w 362"/>
                <a:gd name="T97" fmla="*/ 301 h 362"/>
                <a:gd name="T98" fmla="*/ 304 w 362"/>
                <a:gd name="T99" fmla="*/ 299 h 362"/>
                <a:gd name="T100" fmla="*/ 311 w 362"/>
                <a:gd name="T101" fmla="*/ 296 h 362"/>
                <a:gd name="T102" fmla="*/ 319 w 362"/>
                <a:gd name="T103" fmla="*/ 296 h 362"/>
                <a:gd name="T104" fmla="*/ 326 w 362"/>
                <a:gd name="T105" fmla="*/ 299 h 362"/>
                <a:gd name="T106" fmla="*/ 329 w 362"/>
                <a:gd name="T107" fmla="*/ 301 h 362"/>
                <a:gd name="T108" fmla="*/ 334 w 362"/>
                <a:gd name="T109" fmla="*/ 308 h 362"/>
                <a:gd name="T110" fmla="*/ 336 w 362"/>
                <a:gd name="T111" fmla="*/ 316 h 362"/>
                <a:gd name="T112" fmla="*/ 334 w 362"/>
                <a:gd name="T113" fmla="*/ 324 h 362"/>
                <a:gd name="T114" fmla="*/ 329 w 362"/>
                <a:gd name="T115" fmla="*/ 33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2" h="362">
                  <a:moveTo>
                    <a:pt x="348" y="283"/>
                  </a:moveTo>
                  <a:lnTo>
                    <a:pt x="179" y="112"/>
                  </a:lnTo>
                  <a:lnTo>
                    <a:pt x="179" y="112"/>
                  </a:lnTo>
                  <a:lnTo>
                    <a:pt x="181" y="101"/>
                  </a:lnTo>
                  <a:lnTo>
                    <a:pt x="181" y="90"/>
                  </a:lnTo>
                  <a:lnTo>
                    <a:pt x="180" y="79"/>
                  </a:lnTo>
                  <a:lnTo>
                    <a:pt x="177" y="67"/>
                  </a:lnTo>
                  <a:lnTo>
                    <a:pt x="174" y="56"/>
                  </a:lnTo>
                  <a:lnTo>
                    <a:pt x="169" y="47"/>
                  </a:lnTo>
                  <a:lnTo>
                    <a:pt x="162" y="36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44" y="17"/>
                  </a:lnTo>
                  <a:lnTo>
                    <a:pt x="132" y="11"/>
                  </a:lnTo>
                  <a:lnTo>
                    <a:pt x="119" y="6"/>
                  </a:lnTo>
                  <a:lnTo>
                    <a:pt x="106" y="2"/>
                  </a:lnTo>
                  <a:lnTo>
                    <a:pt x="93" y="0"/>
                  </a:lnTo>
                  <a:lnTo>
                    <a:pt x="79" y="1"/>
                  </a:lnTo>
                  <a:lnTo>
                    <a:pt x="66" y="3"/>
                  </a:lnTo>
                  <a:lnTo>
                    <a:pt x="53" y="8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6" y="62"/>
                  </a:lnTo>
                  <a:lnTo>
                    <a:pt x="110" y="67"/>
                  </a:lnTo>
                  <a:lnTo>
                    <a:pt x="111" y="73"/>
                  </a:lnTo>
                  <a:lnTo>
                    <a:pt x="112" y="80"/>
                  </a:lnTo>
                  <a:lnTo>
                    <a:pt x="111" y="85"/>
                  </a:lnTo>
                  <a:lnTo>
                    <a:pt x="110" y="92"/>
                  </a:lnTo>
                  <a:lnTo>
                    <a:pt x="106" y="97"/>
                  </a:lnTo>
                  <a:lnTo>
                    <a:pt x="102" y="103"/>
                  </a:lnTo>
                  <a:lnTo>
                    <a:pt x="102" y="103"/>
                  </a:lnTo>
                  <a:lnTo>
                    <a:pt x="97" y="107"/>
                  </a:lnTo>
                  <a:lnTo>
                    <a:pt x="91" y="110"/>
                  </a:lnTo>
                  <a:lnTo>
                    <a:pt x="85" y="112"/>
                  </a:lnTo>
                  <a:lnTo>
                    <a:pt x="78" y="112"/>
                  </a:lnTo>
                  <a:lnTo>
                    <a:pt x="72" y="112"/>
                  </a:lnTo>
                  <a:lnTo>
                    <a:pt x="66" y="110"/>
                  </a:lnTo>
                  <a:lnTo>
                    <a:pt x="60" y="107"/>
                  </a:lnTo>
                  <a:lnTo>
                    <a:pt x="56" y="103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3" y="67"/>
                  </a:lnTo>
                  <a:lnTo>
                    <a:pt x="1" y="81"/>
                  </a:lnTo>
                  <a:lnTo>
                    <a:pt x="0" y="94"/>
                  </a:lnTo>
                  <a:lnTo>
                    <a:pt x="1" y="107"/>
                  </a:lnTo>
                  <a:lnTo>
                    <a:pt x="4" y="120"/>
                  </a:lnTo>
                  <a:lnTo>
                    <a:pt x="9" y="133"/>
                  </a:lnTo>
                  <a:lnTo>
                    <a:pt x="17" y="14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35" y="163"/>
                  </a:lnTo>
                  <a:lnTo>
                    <a:pt x="45" y="169"/>
                  </a:lnTo>
                  <a:lnTo>
                    <a:pt x="56" y="175"/>
                  </a:lnTo>
                  <a:lnTo>
                    <a:pt x="66" y="179"/>
                  </a:lnTo>
                  <a:lnTo>
                    <a:pt x="77" y="181"/>
                  </a:lnTo>
                  <a:lnTo>
                    <a:pt x="89" y="182"/>
                  </a:lnTo>
                  <a:lnTo>
                    <a:pt x="101" y="181"/>
                  </a:lnTo>
                  <a:lnTo>
                    <a:pt x="112" y="179"/>
                  </a:lnTo>
                  <a:lnTo>
                    <a:pt x="282" y="349"/>
                  </a:lnTo>
                  <a:lnTo>
                    <a:pt x="282" y="349"/>
                  </a:lnTo>
                  <a:lnTo>
                    <a:pt x="289" y="355"/>
                  </a:lnTo>
                  <a:lnTo>
                    <a:pt x="297" y="359"/>
                  </a:lnTo>
                  <a:lnTo>
                    <a:pt x="306" y="362"/>
                  </a:lnTo>
                  <a:lnTo>
                    <a:pt x="314" y="362"/>
                  </a:lnTo>
                  <a:lnTo>
                    <a:pt x="314" y="362"/>
                  </a:lnTo>
                  <a:lnTo>
                    <a:pt x="324" y="362"/>
                  </a:lnTo>
                  <a:lnTo>
                    <a:pt x="333" y="359"/>
                  </a:lnTo>
                  <a:lnTo>
                    <a:pt x="340" y="355"/>
                  </a:lnTo>
                  <a:lnTo>
                    <a:pt x="348" y="349"/>
                  </a:lnTo>
                  <a:lnTo>
                    <a:pt x="348" y="349"/>
                  </a:lnTo>
                  <a:lnTo>
                    <a:pt x="354" y="342"/>
                  </a:lnTo>
                  <a:lnTo>
                    <a:pt x="359" y="333"/>
                  </a:lnTo>
                  <a:lnTo>
                    <a:pt x="361" y="325"/>
                  </a:lnTo>
                  <a:lnTo>
                    <a:pt x="362" y="316"/>
                  </a:lnTo>
                  <a:lnTo>
                    <a:pt x="361" y="306"/>
                  </a:lnTo>
                  <a:lnTo>
                    <a:pt x="359" y="298"/>
                  </a:lnTo>
                  <a:lnTo>
                    <a:pt x="354" y="290"/>
                  </a:lnTo>
                  <a:lnTo>
                    <a:pt x="348" y="283"/>
                  </a:lnTo>
                  <a:lnTo>
                    <a:pt x="348" y="283"/>
                  </a:lnTo>
                  <a:close/>
                  <a:moveTo>
                    <a:pt x="329" y="330"/>
                  </a:moveTo>
                  <a:lnTo>
                    <a:pt x="329" y="330"/>
                  </a:lnTo>
                  <a:lnTo>
                    <a:pt x="326" y="333"/>
                  </a:lnTo>
                  <a:lnTo>
                    <a:pt x="323" y="334"/>
                  </a:lnTo>
                  <a:lnTo>
                    <a:pt x="319" y="336"/>
                  </a:lnTo>
                  <a:lnTo>
                    <a:pt x="314" y="336"/>
                  </a:lnTo>
                  <a:lnTo>
                    <a:pt x="311" y="336"/>
                  </a:lnTo>
                  <a:lnTo>
                    <a:pt x="307" y="334"/>
                  </a:lnTo>
                  <a:lnTo>
                    <a:pt x="304" y="333"/>
                  </a:lnTo>
                  <a:lnTo>
                    <a:pt x="300" y="330"/>
                  </a:lnTo>
                  <a:lnTo>
                    <a:pt x="300" y="330"/>
                  </a:lnTo>
                  <a:lnTo>
                    <a:pt x="297" y="327"/>
                  </a:lnTo>
                  <a:lnTo>
                    <a:pt x="296" y="324"/>
                  </a:lnTo>
                  <a:lnTo>
                    <a:pt x="295" y="319"/>
                  </a:lnTo>
                  <a:lnTo>
                    <a:pt x="294" y="316"/>
                  </a:lnTo>
                  <a:lnTo>
                    <a:pt x="295" y="312"/>
                  </a:lnTo>
                  <a:lnTo>
                    <a:pt x="296" y="308"/>
                  </a:lnTo>
                  <a:lnTo>
                    <a:pt x="297" y="304"/>
                  </a:lnTo>
                  <a:lnTo>
                    <a:pt x="300" y="301"/>
                  </a:lnTo>
                  <a:lnTo>
                    <a:pt x="300" y="301"/>
                  </a:lnTo>
                  <a:lnTo>
                    <a:pt x="304" y="299"/>
                  </a:lnTo>
                  <a:lnTo>
                    <a:pt x="307" y="297"/>
                  </a:lnTo>
                  <a:lnTo>
                    <a:pt x="311" y="296"/>
                  </a:lnTo>
                  <a:lnTo>
                    <a:pt x="314" y="296"/>
                  </a:lnTo>
                  <a:lnTo>
                    <a:pt x="319" y="296"/>
                  </a:lnTo>
                  <a:lnTo>
                    <a:pt x="323" y="297"/>
                  </a:lnTo>
                  <a:lnTo>
                    <a:pt x="326" y="299"/>
                  </a:lnTo>
                  <a:lnTo>
                    <a:pt x="329" y="301"/>
                  </a:lnTo>
                  <a:lnTo>
                    <a:pt x="329" y="301"/>
                  </a:lnTo>
                  <a:lnTo>
                    <a:pt x="332" y="304"/>
                  </a:lnTo>
                  <a:lnTo>
                    <a:pt x="334" y="308"/>
                  </a:lnTo>
                  <a:lnTo>
                    <a:pt x="335" y="312"/>
                  </a:lnTo>
                  <a:lnTo>
                    <a:pt x="336" y="316"/>
                  </a:lnTo>
                  <a:lnTo>
                    <a:pt x="335" y="319"/>
                  </a:lnTo>
                  <a:lnTo>
                    <a:pt x="334" y="324"/>
                  </a:lnTo>
                  <a:lnTo>
                    <a:pt x="332" y="327"/>
                  </a:lnTo>
                  <a:lnTo>
                    <a:pt x="329" y="330"/>
                  </a:lnTo>
                  <a:lnTo>
                    <a:pt x="329" y="3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8" name="Round Diagonal Corner Rectangle 7"/>
          <p:cNvSpPr/>
          <p:nvPr/>
        </p:nvSpPr>
        <p:spPr>
          <a:xfrm flipH="1">
            <a:off x="6779470" y="2571751"/>
            <a:ext cx="3621829" cy="2181224"/>
          </a:xfrm>
          <a:prstGeom prst="round2DiagRect">
            <a:avLst>
              <a:gd name="adj1" fmla="val 10117"/>
              <a:gd name="adj2" fmla="val 0"/>
            </a:avLst>
          </a:prstGeom>
          <a:solidFill>
            <a:schemeClr val="accent1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sz="2400" b="1" dirty="0">
                <a:solidFill>
                  <a:prstClr val="white"/>
                </a:solidFill>
              </a:rPr>
              <a:t>Systematic recovery at scale with minimal human intervention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 flipH="1">
            <a:off x="1536538" y="2571751"/>
            <a:ext cx="2526084" cy="2181224"/>
          </a:xfrm>
          <a:prstGeom prst="round2DiagRect">
            <a:avLst>
              <a:gd name="adj1" fmla="val 6284"/>
              <a:gd name="adj2" fmla="val 0"/>
            </a:avLst>
          </a:prstGeom>
          <a:solidFill>
            <a:schemeClr val="bg2"/>
          </a:solidFill>
        </p:spPr>
        <p:txBody>
          <a:bodyPr vert="horz" lIns="137160" tIns="128016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b="1" dirty="0" smtClean="0">
                <a:solidFill>
                  <a:srgbClr val="0096D6"/>
                </a:solidFill>
              </a:rPr>
              <a:t>Recovery </a:t>
            </a:r>
            <a:r>
              <a:rPr lang="en-US" b="1" dirty="0">
                <a:solidFill>
                  <a:srgbClr val="0096D6"/>
                </a:solidFill>
              </a:rPr>
              <a:t>at the firmware layer</a:t>
            </a: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 flipH="1">
            <a:off x="4174310" y="2571751"/>
            <a:ext cx="2526084" cy="2181224"/>
          </a:xfrm>
          <a:prstGeom prst="round2DiagRect">
            <a:avLst>
              <a:gd name="adj1" fmla="val 5738"/>
              <a:gd name="adj2" fmla="val 0"/>
            </a:avLst>
          </a:prstGeom>
          <a:solidFill>
            <a:schemeClr val="bg2"/>
          </a:solidFill>
        </p:spPr>
        <p:txBody>
          <a:bodyPr vert="horz" lIns="137160" tIns="128016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b="1" dirty="0" smtClean="0">
                <a:solidFill>
                  <a:srgbClr val="0096D6"/>
                </a:solidFill>
              </a:rPr>
              <a:t>OS</a:t>
            </a:r>
            <a:r>
              <a:rPr lang="en-US" b="1" dirty="0">
                <a:solidFill>
                  <a:srgbClr val="0096D6"/>
                </a:solidFill>
              </a:rPr>
              <a:t>, application, and data recovery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4706925" y="2819401"/>
            <a:ext cx="1460856" cy="1105880"/>
            <a:chOff x="4827752" y="2996593"/>
            <a:chExt cx="1219199" cy="922945"/>
          </a:xfrm>
        </p:grpSpPr>
        <p:grpSp>
          <p:nvGrpSpPr>
            <p:cNvPr id="17" name="Group 4"/>
            <p:cNvGrpSpPr>
              <a:grpSpLocks noChangeAspect="1"/>
            </p:cNvGrpSpPr>
            <p:nvPr/>
          </p:nvGrpSpPr>
          <p:grpSpPr bwMode="auto">
            <a:xfrm>
              <a:off x="4827752" y="2996593"/>
              <a:ext cx="1219199" cy="922945"/>
              <a:chOff x="4194" y="303"/>
              <a:chExt cx="214" cy="162"/>
            </a:xfrm>
          </p:grpSpPr>
          <p:sp>
            <p:nvSpPr>
              <p:cNvPr id="21" name="Freeform 8"/>
              <p:cNvSpPr>
                <a:spLocks/>
              </p:cNvSpPr>
              <p:nvPr/>
            </p:nvSpPr>
            <p:spPr bwMode="auto">
              <a:xfrm>
                <a:off x="4232" y="303"/>
                <a:ext cx="176" cy="121"/>
              </a:xfrm>
              <a:custGeom>
                <a:avLst/>
                <a:gdLst>
                  <a:gd name="T0" fmla="*/ 287 w 353"/>
                  <a:gd name="T1" fmla="*/ 1 h 244"/>
                  <a:gd name="T2" fmla="*/ 280 w 353"/>
                  <a:gd name="T3" fmla="*/ 0 h 244"/>
                  <a:gd name="T4" fmla="*/ 276 w 353"/>
                  <a:gd name="T5" fmla="*/ 5 h 244"/>
                  <a:gd name="T6" fmla="*/ 142 w 353"/>
                  <a:gd name="T7" fmla="*/ 24 h 244"/>
                  <a:gd name="T8" fmla="*/ 125 w 353"/>
                  <a:gd name="T9" fmla="*/ 24 h 244"/>
                  <a:gd name="T10" fmla="*/ 111 w 353"/>
                  <a:gd name="T11" fmla="*/ 26 h 244"/>
                  <a:gd name="T12" fmla="*/ 106 w 353"/>
                  <a:gd name="T13" fmla="*/ 28 h 244"/>
                  <a:gd name="T14" fmla="*/ 100 w 353"/>
                  <a:gd name="T15" fmla="*/ 29 h 244"/>
                  <a:gd name="T16" fmla="*/ 97 w 353"/>
                  <a:gd name="T17" fmla="*/ 30 h 244"/>
                  <a:gd name="T18" fmla="*/ 91 w 353"/>
                  <a:gd name="T19" fmla="*/ 33 h 244"/>
                  <a:gd name="T20" fmla="*/ 88 w 353"/>
                  <a:gd name="T21" fmla="*/ 33 h 244"/>
                  <a:gd name="T22" fmla="*/ 84 w 353"/>
                  <a:gd name="T23" fmla="*/ 35 h 244"/>
                  <a:gd name="T24" fmla="*/ 66 w 353"/>
                  <a:gd name="T25" fmla="*/ 44 h 244"/>
                  <a:gd name="T26" fmla="*/ 42 w 353"/>
                  <a:gd name="T27" fmla="*/ 63 h 244"/>
                  <a:gd name="T28" fmla="*/ 24 w 353"/>
                  <a:gd name="T29" fmla="*/ 85 h 244"/>
                  <a:gd name="T30" fmla="*/ 10 w 353"/>
                  <a:gd name="T31" fmla="*/ 112 h 244"/>
                  <a:gd name="T32" fmla="*/ 1 w 353"/>
                  <a:gd name="T33" fmla="*/ 141 h 244"/>
                  <a:gd name="T34" fmla="*/ 0 w 353"/>
                  <a:gd name="T35" fmla="*/ 163 h 244"/>
                  <a:gd name="T36" fmla="*/ 1 w 353"/>
                  <a:gd name="T37" fmla="*/ 179 h 244"/>
                  <a:gd name="T38" fmla="*/ 2 w 353"/>
                  <a:gd name="T39" fmla="*/ 190 h 244"/>
                  <a:gd name="T40" fmla="*/ 5 w 353"/>
                  <a:gd name="T41" fmla="*/ 199 h 244"/>
                  <a:gd name="T42" fmla="*/ 7 w 353"/>
                  <a:gd name="T43" fmla="*/ 205 h 244"/>
                  <a:gd name="T44" fmla="*/ 11 w 353"/>
                  <a:gd name="T45" fmla="*/ 216 h 244"/>
                  <a:gd name="T46" fmla="*/ 11 w 353"/>
                  <a:gd name="T47" fmla="*/ 217 h 244"/>
                  <a:gd name="T48" fmla="*/ 13 w 353"/>
                  <a:gd name="T49" fmla="*/ 221 h 244"/>
                  <a:gd name="T50" fmla="*/ 26 w 353"/>
                  <a:gd name="T51" fmla="*/ 244 h 244"/>
                  <a:gd name="T52" fmla="*/ 84 w 353"/>
                  <a:gd name="T53" fmla="*/ 244 h 244"/>
                  <a:gd name="T54" fmla="*/ 63 w 353"/>
                  <a:gd name="T55" fmla="*/ 224 h 244"/>
                  <a:gd name="T56" fmla="*/ 49 w 353"/>
                  <a:gd name="T57" fmla="*/ 200 h 244"/>
                  <a:gd name="T58" fmla="*/ 43 w 353"/>
                  <a:gd name="T59" fmla="*/ 181 h 244"/>
                  <a:gd name="T60" fmla="*/ 42 w 353"/>
                  <a:gd name="T61" fmla="*/ 176 h 244"/>
                  <a:gd name="T62" fmla="*/ 42 w 353"/>
                  <a:gd name="T63" fmla="*/ 175 h 244"/>
                  <a:gd name="T64" fmla="*/ 41 w 353"/>
                  <a:gd name="T65" fmla="*/ 168 h 244"/>
                  <a:gd name="T66" fmla="*/ 41 w 353"/>
                  <a:gd name="T67" fmla="*/ 167 h 244"/>
                  <a:gd name="T68" fmla="*/ 42 w 353"/>
                  <a:gd name="T69" fmla="*/ 148 h 244"/>
                  <a:gd name="T70" fmla="*/ 58 w 353"/>
                  <a:gd name="T71" fmla="*/ 108 h 244"/>
                  <a:gd name="T72" fmla="*/ 88 w 353"/>
                  <a:gd name="T73" fmla="*/ 79 h 244"/>
                  <a:gd name="T74" fmla="*/ 110 w 353"/>
                  <a:gd name="T75" fmla="*/ 69 h 244"/>
                  <a:gd name="T76" fmla="*/ 139 w 353"/>
                  <a:gd name="T77" fmla="*/ 65 h 244"/>
                  <a:gd name="T78" fmla="*/ 140 w 353"/>
                  <a:gd name="T79" fmla="*/ 65 h 244"/>
                  <a:gd name="T80" fmla="*/ 274 w 353"/>
                  <a:gd name="T81" fmla="*/ 78 h 244"/>
                  <a:gd name="T82" fmla="*/ 279 w 353"/>
                  <a:gd name="T83" fmla="*/ 88 h 244"/>
                  <a:gd name="T84" fmla="*/ 285 w 353"/>
                  <a:gd name="T85" fmla="*/ 89 h 244"/>
                  <a:gd name="T86" fmla="*/ 348 w 353"/>
                  <a:gd name="T87" fmla="*/ 52 h 244"/>
                  <a:gd name="T88" fmla="*/ 353 w 353"/>
                  <a:gd name="T89" fmla="*/ 44 h 244"/>
                  <a:gd name="T90" fmla="*/ 348 w 353"/>
                  <a:gd name="T91" fmla="*/ 37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53" h="244">
                    <a:moveTo>
                      <a:pt x="348" y="37"/>
                    </a:moveTo>
                    <a:lnTo>
                      <a:pt x="287" y="1"/>
                    </a:lnTo>
                    <a:lnTo>
                      <a:pt x="287" y="1"/>
                    </a:lnTo>
                    <a:lnTo>
                      <a:pt x="285" y="0"/>
                    </a:lnTo>
                    <a:lnTo>
                      <a:pt x="283" y="0"/>
                    </a:lnTo>
                    <a:lnTo>
                      <a:pt x="280" y="0"/>
                    </a:lnTo>
                    <a:lnTo>
                      <a:pt x="279" y="1"/>
                    </a:lnTo>
                    <a:lnTo>
                      <a:pt x="277" y="2"/>
                    </a:lnTo>
                    <a:lnTo>
                      <a:pt x="276" y="5"/>
                    </a:lnTo>
                    <a:lnTo>
                      <a:pt x="274" y="11"/>
                    </a:lnTo>
                    <a:lnTo>
                      <a:pt x="274" y="24"/>
                    </a:lnTo>
                    <a:lnTo>
                      <a:pt x="142" y="24"/>
                    </a:lnTo>
                    <a:lnTo>
                      <a:pt x="138" y="24"/>
                    </a:lnTo>
                    <a:lnTo>
                      <a:pt x="138" y="24"/>
                    </a:lnTo>
                    <a:lnTo>
                      <a:pt x="125" y="24"/>
                    </a:lnTo>
                    <a:lnTo>
                      <a:pt x="111" y="26"/>
                    </a:lnTo>
                    <a:lnTo>
                      <a:pt x="111" y="26"/>
                    </a:lnTo>
                    <a:lnTo>
                      <a:pt x="111" y="26"/>
                    </a:lnTo>
                    <a:lnTo>
                      <a:pt x="111" y="26"/>
                    </a:lnTo>
                    <a:lnTo>
                      <a:pt x="106" y="28"/>
                    </a:lnTo>
                    <a:lnTo>
                      <a:pt x="106" y="28"/>
                    </a:lnTo>
                    <a:lnTo>
                      <a:pt x="105" y="28"/>
                    </a:lnTo>
                    <a:lnTo>
                      <a:pt x="105" y="28"/>
                    </a:lnTo>
                    <a:lnTo>
                      <a:pt x="100" y="29"/>
                    </a:lnTo>
                    <a:lnTo>
                      <a:pt x="100" y="29"/>
                    </a:lnTo>
                    <a:lnTo>
                      <a:pt x="97" y="30"/>
                    </a:lnTo>
                    <a:lnTo>
                      <a:pt x="97" y="30"/>
                    </a:lnTo>
                    <a:lnTo>
                      <a:pt x="94" y="31"/>
                    </a:lnTo>
                    <a:lnTo>
                      <a:pt x="94" y="31"/>
                    </a:lnTo>
                    <a:lnTo>
                      <a:pt x="91" y="33"/>
                    </a:lnTo>
                    <a:lnTo>
                      <a:pt x="91" y="33"/>
                    </a:lnTo>
                    <a:lnTo>
                      <a:pt x="88" y="33"/>
                    </a:lnTo>
                    <a:lnTo>
                      <a:pt x="88" y="33"/>
                    </a:lnTo>
                    <a:lnTo>
                      <a:pt x="84" y="35"/>
                    </a:lnTo>
                    <a:lnTo>
                      <a:pt x="84" y="35"/>
                    </a:lnTo>
                    <a:lnTo>
                      <a:pt x="84" y="35"/>
                    </a:lnTo>
                    <a:lnTo>
                      <a:pt x="84" y="35"/>
                    </a:lnTo>
                    <a:lnTo>
                      <a:pt x="75" y="39"/>
                    </a:lnTo>
                    <a:lnTo>
                      <a:pt x="66" y="44"/>
                    </a:lnTo>
                    <a:lnTo>
                      <a:pt x="57" y="50"/>
                    </a:lnTo>
                    <a:lnTo>
                      <a:pt x="50" y="56"/>
                    </a:lnTo>
                    <a:lnTo>
                      <a:pt x="42" y="63"/>
                    </a:lnTo>
                    <a:lnTo>
                      <a:pt x="36" y="70"/>
                    </a:lnTo>
                    <a:lnTo>
                      <a:pt x="29" y="78"/>
                    </a:lnTo>
                    <a:lnTo>
                      <a:pt x="24" y="85"/>
                    </a:lnTo>
                    <a:lnTo>
                      <a:pt x="19" y="94"/>
                    </a:lnTo>
                    <a:lnTo>
                      <a:pt x="13" y="103"/>
                    </a:lnTo>
                    <a:lnTo>
                      <a:pt x="10" y="112"/>
                    </a:lnTo>
                    <a:lnTo>
                      <a:pt x="7" y="122"/>
                    </a:lnTo>
                    <a:lnTo>
                      <a:pt x="4" y="132"/>
                    </a:lnTo>
                    <a:lnTo>
                      <a:pt x="1" y="141"/>
                    </a:lnTo>
                    <a:lnTo>
                      <a:pt x="0" y="152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1" y="178"/>
                    </a:lnTo>
                    <a:lnTo>
                      <a:pt x="1" y="178"/>
                    </a:lnTo>
                    <a:lnTo>
                      <a:pt x="1" y="179"/>
                    </a:lnTo>
                    <a:lnTo>
                      <a:pt x="1" y="179"/>
                    </a:lnTo>
                    <a:lnTo>
                      <a:pt x="2" y="190"/>
                    </a:lnTo>
                    <a:lnTo>
                      <a:pt x="2" y="190"/>
                    </a:lnTo>
                    <a:lnTo>
                      <a:pt x="4" y="194"/>
                    </a:lnTo>
                    <a:lnTo>
                      <a:pt x="4" y="194"/>
                    </a:lnTo>
                    <a:lnTo>
                      <a:pt x="5" y="199"/>
                    </a:lnTo>
                    <a:lnTo>
                      <a:pt x="5" y="199"/>
                    </a:lnTo>
                    <a:lnTo>
                      <a:pt x="7" y="205"/>
                    </a:lnTo>
                    <a:lnTo>
                      <a:pt x="7" y="205"/>
                    </a:lnTo>
                    <a:lnTo>
                      <a:pt x="7" y="207"/>
                    </a:lnTo>
                    <a:lnTo>
                      <a:pt x="7" y="207"/>
                    </a:lnTo>
                    <a:lnTo>
                      <a:pt x="11" y="216"/>
                    </a:lnTo>
                    <a:lnTo>
                      <a:pt x="11" y="216"/>
                    </a:lnTo>
                    <a:lnTo>
                      <a:pt x="11" y="217"/>
                    </a:lnTo>
                    <a:lnTo>
                      <a:pt x="11" y="217"/>
                    </a:lnTo>
                    <a:lnTo>
                      <a:pt x="12" y="221"/>
                    </a:lnTo>
                    <a:lnTo>
                      <a:pt x="12" y="221"/>
                    </a:lnTo>
                    <a:lnTo>
                      <a:pt x="13" y="221"/>
                    </a:lnTo>
                    <a:lnTo>
                      <a:pt x="13" y="221"/>
                    </a:lnTo>
                    <a:lnTo>
                      <a:pt x="19" y="233"/>
                    </a:lnTo>
                    <a:lnTo>
                      <a:pt x="26" y="244"/>
                    </a:lnTo>
                    <a:lnTo>
                      <a:pt x="26" y="244"/>
                    </a:lnTo>
                    <a:lnTo>
                      <a:pt x="84" y="244"/>
                    </a:lnTo>
                    <a:lnTo>
                      <a:pt x="84" y="244"/>
                    </a:lnTo>
                    <a:lnTo>
                      <a:pt x="77" y="238"/>
                    </a:lnTo>
                    <a:lnTo>
                      <a:pt x="69" y="232"/>
                    </a:lnTo>
                    <a:lnTo>
                      <a:pt x="63" y="224"/>
                    </a:lnTo>
                    <a:lnTo>
                      <a:pt x="57" y="217"/>
                    </a:lnTo>
                    <a:lnTo>
                      <a:pt x="53" y="208"/>
                    </a:lnTo>
                    <a:lnTo>
                      <a:pt x="49" y="200"/>
                    </a:lnTo>
                    <a:lnTo>
                      <a:pt x="45" y="191"/>
                    </a:lnTo>
                    <a:lnTo>
                      <a:pt x="43" y="181"/>
                    </a:lnTo>
                    <a:lnTo>
                      <a:pt x="43" y="181"/>
                    </a:lnTo>
                    <a:lnTo>
                      <a:pt x="43" y="181"/>
                    </a:lnTo>
                    <a:lnTo>
                      <a:pt x="43" y="181"/>
                    </a:lnTo>
                    <a:lnTo>
                      <a:pt x="42" y="176"/>
                    </a:lnTo>
                    <a:lnTo>
                      <a:pt x="42" y="176"/>
                    </a:lnTo>
                    <a:lnTo>
                      <a:pt x="42" y="175"/>
                    </a:lnTo>
                    <a:lnTo>
                      <a:pt x="42" y="175"/>
                    </a:lnTo>
                    <a:lnTo>
                      <a:pt x="41" y="171"/>
                    </a:lnTo>
                    <a:lnTo>
                      <a:pt x="41" y="171"/>
                    </a:lnTo>
                    <a:lnTo>
                      <a:pt x="41" y="168"/>
                    </a:lnTo>
                    <a:lnTo>
                      <a:pt x="41" y="168"/>
                    </a:lnTo>
                    <a:lnTo>
                      <a:pt x="41" y="167"/>
                    </a:lnTo>
                    <a:lnTo>
                      <a:pt x="41" y="167"/>
                    </a:lnTo>
                    <a:lnTo>
                      <a:pt x="41" y="163"/>
                    </a:lnTo>
                    <a:lnTo>
                      <a:pt x="41" y="163"/>
                    </a:lnTo>
                    <a:lnTo>
                      <a:pt x="42" y="148"/>
                    </a:lnTo>
                    <a:lnTo>
                      <a:pt x="45" y="134"/>
                    </a:lnTo>
                    <a:lnTo>
                      <a:pt x="51" y="121"/>
                    </a:lnTo>
                    <a:lnTo>
                      <a:pt x="58" y="108"/>
                    </a:lnTo>
                    <a:lnTo>
                      <a:pt x="67" y="97"/>
                    </a:lnTo>
                    <a:lnTo>
                      <a:pt x="77" y="88"/>
                    </a:lnTo>
                    <a:lnTo>
                      <a:pt x="88" y="79"/>
                    </a:lnTo>
                    <a:lnTo>
                      <a:pt x="101" y="72"/>
                    </a:lnTo>
                    <a:lnTo>
                      <a:pt x="101" y="72"/>
                    </a:lnTo>
                    <a:lnTo>
                      <a:pt x="110" y="69"/>
                    </a:lnTo>
                    <a:lnTo>
                      <a:pt x="120" y="67"/>
                    </a:lnTo>
                    <a:lnTo>
                      <a:pt x="129" y="65"/>
                    </a:lnTo>
                    <a:lnTo>
                      <a:pt x="139" y="65"/>
                    </a:lnTo>
                    <a:lnTo>
                      <a:pt x="139" y="65"/>
                    </a:lnTo>
                    <a:lnTo>
                      <a:pt x="140" y="65"/>
                    </a:lnTo>
                    <a:lnTo>
                      <a:pt x="140" y="65"/>
                    </a:lnTo>
                    <a:lnTo>
                      <a:pt x="274" y="65"/>
                    </a:lnTo>
                    <a:lnTo>
                      <a:pt x="274" y="78"/>
                    </a:lnTo>
                    <a:lnTo>
                      <a:pt x="274" y="78"/>
                    </a:lnTo>
                    <a:lnTo>
                      <a:pt x="276" y="84"/>
                    </a:lnTo>
                    <a:lnTo>
                      <a:pt x="277" y="86"/>
                    </a:lnTo>
                    <a:lnTo>
                      <a:pt x="279" y="88"/>
                    </a:lnTo>
                    <a:lnTo>
                      <a:pt x="280" y="89"/>
                    </a:lnTo>
                    <a:lnTo>
                      <a:pt x="283" y="89"/>
                    </a:lnTo>
                    <a:lnTo>
                      <a:pt x="285" y="89"/>
                    </a:lnTo>
                    <a:lnTo>
                      <a:pt x="287" y="88"/>
                    </a:lnTo>
                    <a:lnTo>
                      <a:pt x="348" y="52"/>
                    </a:lnTo>
                    <a:lnTo>
                      <a:pt x="348" y="52"/>
                    </a:lnTo>
                    <a:lnTo>
                      <a:pt x="352" y="49"/>
                    </a:lnTo>
                    <a:lnTo>
                      <a:pt x="353" y="47"/>
                    </a:lnTo>
                    <a:lnTo>
                      <a:pt x="353" y="44"/>
                    </a:lnTo>
                    <a:lnTo>
                      <a:pt x="353" y="42"/>
                    </a:lnTo>
                    <a:lnTo>
                      <a:pt x="352" y="40"/>
                    </a:lnTo>
                    <a:lnTo>
                      <a:pt x="348" y="37"/>
                    </a:lnTo>
                    <a:lnTo>
                      <a:pt x="348" y="37"/>
                    </a:lnTo>
                    <a:close/>
                  </a:path>
                </a:pathLst>
              </a:custGeom>
              <a:solidFill>
                <a:srgbClr val="009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9"/>
              <p:cNvSpPr>
                <a:spLocks/>
              </p:cNvSpPr>
              <p:nvPr/>
            </p:nvSpPr>
            <p:spPr bwMode="auto">
              <a:xfrm>
                <a:off x="4194" y="344"/>
                <a:ext cx="176" cy="121"/>
              </a:xfrm>
              <a:custGeom>
                <a:avLst/>
                <a:gdLst>
                  <a:gd name="T0" fmla="*/ 66 w 353"/>
                  <a:gd name="T1" fmla="*/ 243 h 244"/>
                  <a:gd name="T2" fmla="*/ 73 w 353"/>
                  <a:gd name="T3" fmla="*/ 244 h 244"/>
                  <a:gd name="T4" fmla="*/ 77 w 353"/>
                  <a:gd name="T5" fmla="*/ 239 h 244"/>
                  <a:gd name="T6" fmla="*/ 211 w 353"/>
                  <a:gd name="T7" fmla="*/ 220 h 244"/>
                  <a:gd name="T8" fmla="*/ 228 w 353"/>
                  <a:gd name="T9" fmla="*/ 220 h 244"/>
                  <a:gd name="T10" fmla="*/ 242 w 353"/>
                  <a:gd name="T11" fmla="*/ 218 h 244"/>
                  <a:gd name="T12" fmla="*/ 247 w 353"/>
                  <a:gd name="T13" fmla="*/ 216 h 244"/>
                  <a:gd name="T14" fmla="*/ 253 w 353"/>
                  <a:gd name="T15" fmla="*/ 215 h 244"/>
                  <a:gd name="T16" fmla="*/ 256 w 353"/>
                  <a:gd name="T17" fmla="*/ 214 h 244"/>
                  <a:gd name="T18" fmla="*/ 262 w 353"/>
                  <a:gd name="T19" fmla="*/ 211 h 244"/>
                  <a:gd name="T20" fmla="*/ 265 w 353"/>
                  <a:gd name="T21" fmla="*/ 211 h 244"/>
                  <a:gd name="T22" fmla="*/ 269 w 353"/>
                  <a:gd name="T23" fmla="*/ 209 h 244"/>
                  <a:gd name="T24" fmla="*/ 287 w 353"/>
                  <a:gd name="T25" fmla="*/ 200 h 244"/>
                  <a:gd name="T26" fmla="*/ 311 w 353"/>
                  <a:gd name="T27" fmla="*/ 181 h 244"/>
                  <a:gd name="T28" fmla="*/ 329 w 353"/>
                  <a:gd name="T29" fmla="*/ 159 h 244"/>
                  <a:gd name="T30" fmla="*/ 343 w 353"/>
                  <a:gd name="T31" fmla="*/ 132 h 244"/>
                  <a:gd name="T32" fmla="*/ 352 w 353"/>
                  <a:gd name="T33" fmla="*/ 103 h 244"/>
                  <a:gd name="T34" fmla="*/ 353 w 353"/>
                  <a:gd name="T35" fmla="*/ 81 h 244"/>
                  <a:gd name="T36" fmla="*/ 352 w 353"/>
                  <a:gd name="T37" fmla="*/ 65 h 244"/>
                  <a:gd name="T38" fmla="*/ 351 w 353"/>
                  <a:gd name="T39" fmla="*/ 54 h 244"/>
                  <a:gd name="T40" fmla="*/ 348 w 353"/>
                  <a:gd name="T41" fmla="*/ 45 h 244"/>
                  <a:gd name="T42" fmla="*/ 346 w 353"/>
                  <a:gd name="T43" fmla="*/ 39 h 244"/>
                  <a:gd name="T44" fmla="*/ 342 w 353"/>
                  <a:gd name="T45" fmla="*/ 28 h 244"/>
                  <a:gd name="T46" fmla="*/ 342 w 353"/>
                  <a:gd name="T47" fmla="*/ 27 h 244"/>
                  <a:gd name="T48" fmla="*/ 340 w 353"/>
                  <a:gd name="T49" fmla="*/ 23 h 244"/>
                  <a:gd name="T50" fmla="*/ 327 w 353"/>
                  <a:gd name="T51" fmla="*/ 0 h 244"/>
                  <a:gd name="T52" fmla="*/ 269 w 353"/>
                  <a:gd name="T53" fmla="*/ 0 h 244"/>
                  <a:gd name="T54" fmla="*/ 290 w 353"/>
                  <a:gd name="T55" fmla="*/ 20 h 244"/>
                  <a:gd name="T56" fmla="*/ 304 w 353"/>
                  <a:gd name="T57" fmla="*/ 44 h 244"/>
                  <a:gd name="T58" fmla="*/ 310 w 353"/>
                  <a:gd name="T59" fmla="*/ 63 h 244"/>
                  <a:gd name="T60" fmla="*/ 311 w 353"/>
                  <a:gd name="T61" fmla="*/ 68 h 244"/>
                  <a:gd name="T62" fmla="*/ 311 w 353"/>
                  <a:gd name="T63" fmla="*/ 69 h 244"/>
                  <a:gd name="T64" fmla="*/ 312 w 353"/>
                  <a:gd name="T65" fmla="*/ 76 h 244"/>
                  <a:gd name="T66" fmla="*/ 312 w 353"/>
                  <a:gd name="T67" fmla="*/ 77 h 244"/>
                  <a:gd name="T68" fmla="*/ 311 w 353"/>
                  <a:gd name="T69" fmla="*/ 96 h 244"/>
                  <a:gd name="T70" fmla="*/ 295 w 353"/>
                  <a:gd name="T71" fmla="*/ 136 h 244"/>
                  <a:gd name="T72" fmla="*/ 265 w 353"/>
                  <a:gd name="T73" fmla="*/ 165 h 244"/>
                  <a:gd name="T74" fmla="*/ 243 w 353"/>
                  <a:gd name="T75" fmla="*/ 175 h 244"/>
                  <a:gd name="T76" fmla="*/ 214 w 353"/>
                  <a:gd name="T77" fmla="*/ 179 h 244"/>
                  <a:gd name="T78" fmla="*/ 213 w 353"/>
                  <a:gd name="T79" fmla="*/ 179 h 244"/>
                  <a:gd name="T80" fmla="*/ 79 w 353"/>
                  <a:gd name="T81" fmla="*/ 166 h 244"/>
                  <a:gd name="T82" fmla="*/ 74 w 353"/>
                  <a:gd name="T83" fmla="*/ 156 h 244"/>
                  <a:gd name="T84" fmla="*/ 68 w 353"/>
                  <a:gd name="T85" fmla="*/ 155 h 244"/>
                  <a:gd name="T86" fmla="*/ 5 w 353"/>
                  <a:gd name="T87" fmla="*/ 192 h 244"/>
                  <a:gd name="T88" fmla="*/ 0 w 353"/>
                  <a:gd name="T89" fmla="*/ 200 h 244"/>
                  <a:gd name="T90" fmla="*/ 5 w 353"/>
                  <a:gd name="T91" fmla="*/ 207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53" h="244">
                    <a:moveTo>
                      <a:pt x="5" y="207"/>
                    </a:moveTo>
                    <a:lnTo>
                      <a:pt x="66" y="243"/>
                    </a:lnTo>
                    <a:lnTo>
                      <a:pt x="66" y="243"/>
                    </a:lnTo>
                    <a:lnTo>
                      <a:pt x="68" y="244"/>
                    </a:lnTo>
                    <a:lnTo>
                      <a:pt x="70" y="244"/>
                    </a:lnTo>
                    <a:lnTo>
                      <a:pt x="73" y="244"/>
                    </a:lnTo>
                    <a:lnTo>
                      <a:pt x="74" y="243"/>
                    </a:lnTo>
                    <a:lnTo>
                      <a:pt x="76" y="242"/>
                    </a:lnTo>
                    <a:lnTo>
                      <a:pt x="77" y="239"/>
                    </a:lnTo>
                    <a:lnTo>
                      <a:pt x="79" y="233"/>
                    </a:lnTo>
                    <a:lnTo>
                      <a:pt x="79" y="220"/>
                    </a:lnTo>
                    <a:lnTo>
                      <a:pt x="211" y="220"/>
                    </a:lnTo>
                    <a:lnTo>
                      <a:pt x="215" y="220"/>
                    </a:lnTo>
                    <a:lnTo>
                      <a:pt x="215" y="220"/>
                    </a:lnTo>
                    <a:lnTo>
                      <a:pt x="228" y="220"/>
                    </a:lnTo>
                    <a:lnTo>
                      <a:pt x="242" y="218"/>
                    </a:lnTo>
                    <a:lnTo>
                      <a:pt x="242" y="218"/>
                    </a:lnTo>
                    <a:lnTo>
                      <a:pt x="242" y="218"/>
                    </a:lnTo>
                    <a:lnTo>
                      <a:pt x="242" y="218"/>
                    </a:lnTo>
                    <a:lnTo>
                      <a:pt x="247" y="216"/>
                    </a:lnTo>
                    <a:lnTo>
                      <a:pt x="247" y="216"/>
                    </a:lnTo>
                    <a:lnTo>
                      <a:pt x="248" y="216"/>
                    </a:lnTo>
                    <a:lnTo>
                      <a:pt x="248" y="216"/>
                    </a:lnTo>
                    <a:lnTo>
                      <a:pt x="253" y="215"/>
                    </a:lnTo>
                    <a:lnTo>
                      <a:pt x="253" y="215"/>
                    </a:lnTo>
                    <a:lnTo>
                      <a:pt x="256" y="214"/>
                    </a:lnTo>
                    <a:lnTo>
                      <a:pt x="256" y="214"/>
                    </a:lnTo>
                    <a:lnTo>
                      <a:pt x="259" y="213"/>
                    </a:lnTo>
                    <a:lnTo>
                      <a:pt x="259" y="213"/>
                    </a:lnTo>
                    <a:lnTo>
                      <a:pt x="262" y="211"/>
                    </a:lnTo>
                    <a:lnTo>
                      <a:pt x="262" y="211"/>
                    </a:lnTo>
                    <a:lnTo>
                      <a:pt x="265" y="211"/>
                    </a:lnTo>
                    <a:lnTo>
                      <a:pt x="265" y="211"/>
                    </a:lnTo>
                    <a:lnTo>
                      <a:pt x="269" y="209"/>
                    </a:lnTo>
                    <a:lnTo>
                      <a:pt x="269" y="209"/>
                    </a:lnTo>
                    <a:lnTo>
                      <a:pt x="269" y="209"/>
                    </a:lnTo>
                    <a:lnTo>
                      <a:pt x="269" y="209"/>
                    </a:lnTo>
                    <a:lnTo>
                      <a:pt x="279" y="205"/>
                    </a:lnTo>
                    <a:lnTo>
                      <a:pt x="287" y="200"/>
                    </a:lnTo>
                    <a:lnTo>
                      <a:pt x="296" y="194"/>
                    </a:lnTo>
                    <a:lnTo>
                      <a:pt x="303" y="188"/>
                    </a:lnTo>
                    <a:lnTo>
                      <a:pt x="311" y="181"/>
                    </a:lnTo>
                    <a:lnTo>
                      <a:pt x="317" y="174"/>
                    </a:lnTo>
                    <a:lnTo>
                      <a:pt x="324" y="166"/>
                    </a:lnTo>
                    <a:lnTo>
                      <a:pt x="329" y="159"/>
                    </a:lnTo>
                    <a:lnTo>
                      <a:pt x="334" y="150"/>
                    </a:lnTo>
                    <a:lnTo>
                      <a:pt x="340" y="141"/>
                    </a:lnTo>
                    <a:lnTo>
                      <a:pt x="343" y="132"/>
                    </a:lnTo>
                    <a:lnTo>
                      <a:pt x="346" y="122"/>
                    </a:lnTo>
                    <a:lnTo>
                      <a:pt x="349" y="112"/>
                    </a:lnTo>
                    <a:lnTo>
                      <a:pt x="352" y="103"/>
                    </a:lnTo>
                    <a:lnTo>
                      <a:pt x="353" y="92"/>
                    </a:lnTo>
                    <a:lnTo>
                      <a:pt x="353" y="81"/>
                    </a:lnTo>
                    <a:lnTo>
                      <a:pt x="353" y="81"/>
                    </a:lnTo>
                    <a:lnTo>
                      <a:pt x="352" y="66"/>
                    </a:lnTo>
                    <a:lnTo>
                      <a:pt x="352" y="66"/>
                    </a:lnTo>
                    <a:lnTo>
                      <a:pt x="352" y="65"/>
                    </a:lnTo>
                    <a:lnTo>
                      <a:pt x="352" y="65"/>
                    </a:lnTo>
                    <a:lnTo>
                      <a:pt x="351" y="54"/>
                    </a:lnTo>
                    <a:lnTo>
                      <a:pt x="351" y="54"/>
                    </a:lnTo>
                    <a:lnTo>
                      <a:pt x="349" y="50"/>
                    </a:lnTo>
                    <a:lnTo>
                      <a:pt x="349" y="50"/>
                    </a:lnTo>
                    <a:lnTo>
                      <a:pt x="348" y="45"/>
                    </a:lnTo>
                    <a:lnTo>
                      <a:pt x="348" y="45"/>
                    </a:lnTo>
                    <a:lnTo>
                      <a:pt x="346" y="39"/>
                    </a:lnTo>
                    <a:lnTo>
                      <a:pt x="346" y="39"/>
                    </a:lnTo>
                    <a:lnTo>
                      <a:pt x="346" y="37"/>
                    </a:lnTo>
                    <a:lnTo>
                      <a:pt x="346" y="37"/>
                    </a:lnTo>
                    <a:lnTo>
                      <a:pt x="342" y="28"/>
                    </a:lnTo>
                    <a:lnTo>
                      <a:pt x="342" y="28"/>
                    </a:lnTo>
                    <a:lnTo>
                      <a:pt x="342" y="27"/>
                    </a:lnTo>
                    <a:lnTo>
                      <a:pt x="342" y="27"/>
                    </a:lnTo>
                    <a:lnTo>
                      <a:pt x="341" y="23"/>
                    </a:lnTo>
                    <a:lnTo>
                      <a:pt x="341" y="23"/>
                    </a:lnTo>
                    <a:lnTo>
                      <a:pt x="340" y="23"/>
                    </a:lnTo>
                    <a:lnTo>
                      <a:pt x="340" y="23"/>
                    </a:lnTo>
                    <a:lnTo>
                      <a:pt x="334" y="11"/>
                    </a:lnTo>
                    <a:lnTo>
                      <a:pt x="327" y="0"/>
                    </a:lnTo>
                    <a:lnTo>
                      <a:pt x="327" y="0"/>
                    </a:lnTo>
                    <a:lnTo>
                      <a:pt x="269" y="0"/>
                    </a:lnTo>
                    <a:lnTo>
                      <a:pt x="269" y="0"/>
                    </a:lnTo>
                    <a:lnTo>
                      <a:pt x="276" y="6"/>
                    </a:lnTo>
                    <a:lnTo>
                      <a:pt x="284" y="12"/>
                    </a:lnTo>
                    <a:lnTo>
                      <a:pt x="290" y="20"/>
                    </a:lnTo>
                    <a:lnTo>
                      <a:pt x="296" y="27"/>
                    </a:lnTo>
                    <a:lnTo>
                      <a:pt x="300" y="36"/>
                    </a:lnTo>
                    <a:lnTo>
                      <a:pt x="304" y="44"/>
                    </a:lnTo>
                    <a:lnTo>
                      <a:pt x="308" y="53"/>
                    </a:lnTo>
                    <a:lnTo>
                      <a:pt x="310" y="63"/>
                    </a:lnTo>
                    <a:lnTo>
                      <a:pt x="310" y="63"/>
                    </a:lnTo>
                    <a:lnTo>
                      <a:pt x="310" y="63"/>
                    </a:lnTo>
                    <a:lnTo>
                      <a:pt x="310" y="63"/>
                    </a:lnTo>
                    <a:lnTo>
                      <a:pt x="311" y="68"/>
                    </a:lnTo>
                    <a:lnTo>
                      <a:pt x="311" y="68"/>
                    </a:lnTo>
                    <a:lnTo>
                      <a:pt x="311" y="69"/>
                    </a:lnTo>
                    <a:lnTo>
                      <a:pt x="311" y="69"/>
                    </a:lnTo>
                    <a:lnTo>
                      <a:pt x="312" y="73"/>
                    </a:lnTo>
                    <a:lnTo>
                      <a:pt x="312" y="73"/>
                    </a:lnTo>
                    <a:lnTo>
                      <a:pt x="312" y="76"/>
                    </a:lnTo>
                    <a:lnTo>
                      <a:pt x="312" y="76"/>
                    </a:lnTo>
                    <a:lnTo>
                      <a:pt x="312" y="77"/>
                    </a:lnTo>
                    <a:lnTo>
                      <a:pt x="312" y="77"/>
                    </a:lnTo>
                    <a:lnTo>
                      <a:pt x="312" y="81"/>
                    </a:lnTo>
                    <a:lnTo>
                      <a:pt x="312" y="81"/>
                    </a:lnTo>
                    <a:lnTo>
                      <a:pt x="311" y="96"/>
                    </a:lnTo>
                    <a:lnTo>
                      <a:pt x="308" y="110"/>
                    </a:lnTo>
                    <a:lnTo>
                      <a:pt x="302" y="123"/>
                    </a:lnTo>
                    <a:lnTo>
                      <a:pt x="295" y="136"/>
                    </a:lnTo>
                    <a:lnTo>
                      <a:pt x="286" y="147"/>
                    </a:lnTo>
                    <a:lnTo>
                      <a:pt x="276" y="156"/>
                    </a:lnTo>
                    <a:lnTo>
                      <a:pt x="265" y="165"/>
                    </a:lnTo>
                    <a:lnTo>
                      <a:pt x="252" y="172"/>
                    </a:lnTo>
                    <a:lnTo>
                      <a:pt x="252" y="172"/>
                    </a:lnTo>
                    <a:lnTo>
                      <a:pt x="243" y="175"/>
                    </a:lnTo>
                    <a:lnTo>
                      <a:pt x="233" y="177"/>
                    </a:lnTo>
                    <a:lnTo>
                      <a:pt x="224" y="179"/>
                    </a:lnTo>
                    <a:lnTo>
                      <a:pt x="214" y="179"/>
                    </a:lnTo>
                    <a:lnTo>
                      <a:pt x="214" y="179"/>
                    </a:lnTo>
                    <a:lnTo>
                      <a:pt x="213" y="179"/>
                    </a:lnTo>
                    <a:lnTo>
                      <a:pt x="213" y="179"/>
                    </a:lnTo>
                    <a:lnTo>
                      <a:pt x="79" y="179"/>
                    </a:lnTo>
                    <a:lnTo>
                      <a:pt x="79" y="166"/>
                    </a:lnTo>
                    <a:lnTo>
                      <a:pt x="79" y="166"/>
                    </a:lnTo>
                    <a:lnTo>
                      <a:pt x="77" y="160"/>
                    </a:lnTo>
                    <a:lnTo>
                      <a:pt x="76" y="158"/>
                    </a:lnTo>
                    <a:lnTo>
                      <a:pt x="74" y="156"/>
                    </a:lnTo>
                    <a:lnTo>
                      <a:pt x="73" y="155"/>
                    </a:lnTo>
                    <a:lnTo>
                      <a:pt x="70" y="155"/>
                    </a:lnTo>
                    <a:lnTo>
                      <a:pt x="68" y="155"/>
                    </a:lnTo>
                    <a:lnTo>
                      <a:pt x="66" y="156"/>
                    </a:lnTo>
                    <a:lnTo>
                      <a:pt x="5" y="192"/>
                    </a:lnTo>
                    <a:lnTo>
                      <a:pt x="5" y="192"/>
                    </a:lnTo>
                    <a:lnTo>
                      <a:pt x="1" y="195"/>
                    </a:lnTo>
                    <a:lnTo>
                      <a:pt x="0" y="197"/>
                    </a:lnTo>
                    <a:lnTo>
                      <a:pt x="0" y="200"/>
                    </a:lnTo>
                    <a:lnTo>
                      <a:pt x="0" y="202"/>
                    </a:lnTo>
                    <a:lnTo>
                      <a:pt x="1" y="204"/>
                    </a:lnTo>
                    <a:lnTo>
                      <a:pt x="5" y="207"/>
                    </a:lnTo>
                    <a:lnTo>
                      <a:pt x="5" y="207"/>
                    </a:lnTo>
                    <a:close/>
                  </a:path>
                </a:pathLst>
              </a:custGeom>
              <a:solidFill>
                <a:srgbClr val="009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3" name="Freeform 5"/>
            <p:cNvSpPr>
              <a:spLocks noEditPoints="1"/>
            </p:cNvSpPr>
            <p:nvPr/>
          </p:nvSpPr>
          <p:spPr bwMode="auto">
            <a:xfrm>
              <a:off x="5276850" y="3288525"/>
              <a:ext cx="353272" cy="356604"/>
            </a:xfrm>
            <a:custGeom>
              <a:avLst/>
              <a:gdLst>
                <a:gd name="T0" fmla="*/ 426 w 426"/>
                <a:gd name="T1" fmla="*/ 138 h 426"/>
                <a:gd name="T2" fmla="*/ 426 w 426"/>
                <a:gd name="T3" fmla="*/ 138 h 426"/>
                <a:gd name="T4" fmla="*/ 425 w 426"/>
                <a:gd name="T5" fmla="*/ 131 h 426"/>
                <a:gd name="T6" fmla="*/ 424 w 426"/>
                <a:gd name="T7" fmla="*/ 126 h 426"/>
                <a:gd name="T8" fmla="*/ 420 w 426"/>
                <a:gd name="T9" fmla="*/ 120 h 426"/>
                <a:gd name="T10" fmla="*/ 416 w 426"/>
                <a:gd name="T11" fmla="*/ 116 h 426"/>
                <a:gd name="T12" fmla="*/ 412 w 426"/>
                <a:gd name="T13" fmla="*/ 112 h 426"/>
                <a:gd name="T14" fmla="*/ 407 w 426"/>
                <a:gd name="T15" fmla="*/ 108 h 426"/>
                <a:gd name="T16" fmla="*/ 401 w 426"/>
                <a:gd name="T17" fmla="*/ 107 h 426"/>
                <a:gd name="T18" fmla="*/ 395 w 426"/>
                <a:gd name="T19" fmla="*/ 106 h 426"/>
                <a:gd name="T20" fmla="*/ 395 w 426"/>
                <a:gd name="T21" fmla="*/ 106 h 426"/>
                <a:gd name="T22" fmla="*/ 394 w 426"/>
                <a:gd name="T23" fmla="*/ 106 h 426"/>
                <a:gd name="T24" fmla="*/ 394 w 426"/>
                <a:gd name="T25" fmla="*/ 106 h 426"/>
                <a:gd name="T26" fmla="*/ 394 w 426"/>
                <a:gd name="T27" fmla="*/ 106 h 426"/>
                <a:gd name="T28" fmla="*/ 319 w 426"/>
                <a:gd name="T29" fmla="*/ 106 h 426"/>
                <a:gd name="T30" fmla="*/ 319 w 426"/>
                <a:gd name="T31" fmla="*/ 213 h 426"/>
                <a:gd name="T32" fmla="*/ 213 w 426"/>
                <a:gd name="T33" fmla="*/ 213 h 426"/>
                <a:gd name="T34" fmla="*/ 213 w 426"/>
                <a:gd name="T35" fmla="*/ 106 h 426"/>
                <a:gd name="T36" fmla="*/ 107 w 426"/>
                <a:gd name="T37" fmla="*/ 106 h 426"/>
                <a:gd name="T38" fmla="*/ 107 w 426"/>
                <a:gd name="T39" fmla="*/ 213 h 426"/>
                <a:gd name="T40" fmla="*/ 213 w 426"/>
                <a:gd name="T41" fmla="*/ 213 h 426"/>
                <a:gd name="T42" fmla="*/ 213 w 426"/>
                <a:gd name="T43" fmla="*/ 320 h 426"/>
                <a:gd name="T44" fmla="*/ 107 w 426"/>
                <a:gd name="T45" fmla="*/ 320 h 426"/>
                <a:gd name="T46" fmla="*/ 107 w 426"/>
                <a:gd name="T47" fmla="*/ 393 h 426"/>
                <a:gd name="T48" fmla="*/ 107 w 426"/>
                <a:gd name="T49" fmla="*/ 393 h 426"/>
                <a:gd name="T50" fmla="*/ 107 w 426"/>
                <a:gd name="T51" fmla="*/ 394 h 426"/>
                <a:gd name="T52" fmla="*/ 107 w 426"/>
                <a:gd name="T53" fmla="*/ 394 h 426"/>
                <a:gd name="T54" fmla="*/ 107 w 426"/>
                <a:gd name="T55" fmla="*/ 396 h 426"/>
                <a:gd name="T56" fmla="*/ 107 w 426"/>
                <a:gd name="T57" fmla="*/ 396 h 426"/>
                <a:gd name="T58" fmla="*/ 108 w 426"/>
                <a:gd name="T59" fmla="*/ 402 h 426"/>
                <a:gd name="T60" fmla="*/ 110 w 426"/>
                <a:gd name="T61" fmla="*/ 408 h 426"/>
                <a:gd name="T62" fmla="*/ 112 w 426"/>
                <a:gd name="T63" fmla="*/ 412 h 426"/>
                <a:gd name="T64" fmla="*/ 116 w 426"/>
                <a:gd name="T65" fmla="*/ 417 h 426"/>
                <a:gd name="T66" fmla="*/ 121 w 426"/>
                <a:gd name="T67" fmla="*/ 421 h 426"/>
                <a:gd name="T68" fmla="*/ 125 w 426"/>
                <a:gd name="T69" fmla="*/ 423 h 426"/>
                <a:gd name="T70" fmla="*/ 131 w 426"/>
                <a:gd name="T71" fmla="*/ 425 h 426"/>
                <a:gd name="T72" fmla="*/ 137 w 426"/>
                <a:gd name="T73" fmla="*/ 426 h 426"/>
                <a:gd name="T74" fmla="*/ 137 w 426"/>
                <a:gd name="T75" fmla="*/ 426 h 426"/>
                <a:gd name="T76" fmla="*/ 139 w 426"/>
                <a:gd name="T77" fmla="*/ 426 h 426"/>
                <a:gd name="T78" fmla="*/ 139 w 426"/>
                <a:gd name="T79" fmla="*/ 426 h 426"/>
                <a:gd name="T80" fmla="*/ 140 w 426"/>
                <a:gd name="T81" fmla="*/ 426 h 426"/>
                <a:gd name="T82" fmla="*/ 426 w 426"/>
                <a:gd name="T83" fmla="*/ 426 h 426"/>
                <a:gd name="T84" fmla="*/ 426 w 426"/>
                <a:gd name="T85" fmla="*/ 139 h 426"/>
                <a:gd name="T86" fmla="*/ 426 w 426"/>
                <a:gd name="T87" fmla="*/ 139 h 426"/>
                <a:gd name="T88" fmla="*/ 426 w 426"/>
                <a:gd name="T89" fmla="*/ 139 h 426"/>
                <a:gd name="T90" fmla="*/ 426 w 426"/>
                <a:gd name="T91" fmla="*/ 139 h 426"/>
                <a:gd name="T92" fmla="*/ 426 w 426"/>
                <a:gd name="T93" fmla="*/ 138 h 426"/>
                <a:gd name="T94" fmla="*/ 426 w 426"/>
                <a:gd name="T95" fmla="*/ 138 h 426"/>
                <a:gd name="T96" fmla="*/ 107 w 426"/>
                <a:gd name="T97" fmla="*/ 213 h 426"/>
                <a:gd name="T98" fmla="*/ 0 w 426"/>
                <a:gd name="T99" fmla="*/ 213 h 426"/>
                <a:gd name="T100" fmla="*/ 0 w 426"/>
                <a:gd name="T101" fmla="*/ 320 h 426"/>
                <a:gd name="T102" fmla="*/ 107 w 426"/>
                <a:gd name="T103" fmla="*/ 320 h 426"/>
                <a:gd name="T104" fmla="*/ 107 w 426"/>
                <a:gd name="T105" fmla="*/ 213 h 426"/>
                <a:gd name="T106" fmla="*/ 0 w 426"/>
                <a:gd name="T107" fmla="*/ 0 h 426"/>
                <a:gd name="T108" fmla="*/ 0 w 426"/>
                <a:gd name="T109" fmla="*/ 106 h 426"/>
                <a:gd name="T110" fmla="*/ 107 w 426"/>
                <a:gd name="T111" fmla="*/ 106 h 426"/>
                <a:gd name="T112" fmla="*/ 107 w 426"/>
                <a:gd name="T113" fmla="*/ 0 h 426"/>
                <a:gd name="T114" fmla="*/ 0 w 426"/>
                <a:gd name="T115" fmla="*/ 0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26" h="426">
                  <a:moveTo>
                    <a:pt x="426" y="138"/>
                  </a:moveTo>
                  <a:lnTo>
                    <a:pt x="426" y="138"/>
                  </a:lnTo>
                  <a:lnTo>
                    <a:pt x="425" y="131"/>
                  </a:lnTo>
                  <a:lnTo>
                    <a:pt x="424" y="126"/>
                  </a:lnTo>
                  <a:lnTo>
                    <a:pt x="420" y="120"/>
                  </a:lnTo>
                  <a:lnTo>
                    <a:pt x="416" y="116"/>
                  </a:lnTo>
                  <a:lnTo>
                    <a:pt x="412" y="112"/>
                  </a:lnTo>
                  <a:lnTo>
                    <a:pt x="407" y="108"/>
                  </a:lnTo>
                  <a:lnTo>
                    <a:pt x="401" y="107"/>
                  </a:lnTo>
                  <a:lnTo>
                    <a:pt x="395" y="106"/>
                  </a:lnTo>
                  <a:lnTo>
                    <a:pt x="395" y="106"/>
                  </a:lnTo>
                  <a:lnTo>
                    <a:pt x="394" y="106"/>
                  </a:lnTo>
                  <a:lnTo>
                    <a:pt x="394" y="106"/>
                  </a:lnTo>
                  <a:lnTo>
                    <a:pt x="394" y="106"/>
                  </a:lnTo>
                  <a:lnTo>
                    <a:pt x="319" y="106"/>
                  </a:lnTo>
                  <a:lnTo>
                    <a:pt x="319" y="213"/>
                  </a:lnTo>
                  <a:lnTo>
                    <a:pt x="213" y="213"/>
                  </a:lnTo>
                  <a:lnTo>
                    <a:pt x="213" y="106"/>
                  </a:lnTo>
                  <a:lnTo>
                    <a:pt x="107" y="106"/>
                  </a:lnTo>
                  <a:lnTo>
                    <a:pt x="107" y="213"/>
                  </a:lnTo>
                  <a:lnTo>
                    <a:pt x="213" y="213"/>
                  </a:lnTo>
                  <a:lnTo>
                    <a:pt x="213" y="320"/>
                  </a:lnTo>
                  <a:lnTo>
                    <a:pt x="107" y="320"/>
                  </a:lnTo>
                  <a:lnTo>
                    <a:pt x="107" y="393"/>
                  </a:lnTo>
                  <a:lnTo>
                    <a:pt x="107" y="393"/>
                  </a:lnTo>
                  <a:lnTo>
                    <a:pt x="107" y="394"/>
                  </a:lnTo>
                  <a:lnTo>
                    <a:pt x="107" y="394"/>
                  </a:lnTo>
                  <a:lnTo>
                    <a:pt x="107" y="396"/>
                  </a:lnTo>
                  <a:lnTo>
                    <a:pt x="107" y="396"/>
                  </a:lnTo>
                  <a:lnTo>
                    <a:pt x="108" y="402"/>
                  </a:lnTo>
                  <a:lnTo>
                    <a:pt x="110" y="408"/>
                  </a:lnTo>
                  <a:lnTo>
                    <a:pt x="112" y="412"/>
                  </a:lnTo>
                  <a:lnTo>
                    <a:pt x="116" y="417"/>
                  </a:lnTo>
                  <a:lnTo>
                    <a:pt x="121" y="421"/>
                  </a:lnTo>
                  <a:lnTo>
                    <a:pt x="125" y="423"/>
                  </a:lnTo>
                  <a:lnTo>
                    <a:pt x="131" y="425"/>
                  </a:lnTo>
                  <a:lnTo>
                    <a:pt x="137" y="426"/>
                  </a:lnTo>
                  <a:lnTo>
                    <a:pt x="137" y="426"/>
                  </a:lnTo>
                  <a:lnTo>
                    <a:pt x="139" y="426"/>
                  </a:lnTo>
                  <a:lnTo>
                    <a:pt x="139" y="426"/>
                  </a:lnTo>
                  <a:lnTo>
                    <a:pt x="140" y="426"/>
                  </a:lnTo>
                  <a:lnTo>
                    <a:pt x="426" y="426"/>
                  </a:lnTo>
                  <a:lnTo>
                    <a:pt x="426" y="139"/>
                  </a:lnTo>
                  <a:lnTo>
                    <a:pt x="426" y="139"/>
                  </a:lnTo>
                  <a:lnTo>
                    <a:pt x="426" y="139"/>
                  </a:lnTo>
                  <a:lnTo>
                    <a:pt x="426" y="139"/>
                  </a:lnTo>
                  <a:lnTo>
                    <a:pt x="426" y="138"/>
                  </a:lnTo>
                  <a:lnTo>
                    <a:pt x="426" y="138"/>
                  </a:lnTo>
                  <a:close/>
                  <a:moveTo>
                    <a:pt x="107" y="213"/>
                  </a:moveTo>
                  <a:lnTo>
                    <a:pt x="0" y="213"/>
                  </a:lnTo>
                  <a:lnTo>
                    <a:pt x="0" y="320"/>
                  </a:lnTo>
                  <a:lnTo>
                    <a:pt x="107" y="320"/>
                  </a:lnTo>
                  <a:lnTo>
                    <a:pt x="107" y="213"/>
                  </a:lnTo>
                  <a:close/>
                  <a:moveTo>
                    <a:pt x="0" y="0"/>
                  </a:moveTo>
                  <a:lnTo>
                    <a:pt x="0" y="106"/>
                  </a:lnTo>
                  <a:lnTo>
                    <a:pt x="107" y="106"/>
                  </a:lnTo>
                  <a:lnTo>
                    <a:pt x="10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069152" y="2819401"/>
            <a:ext cx="1460856" cy="1105880"/>
            <a:chOff x="2069152" y="2819401"/>
            <a:chExt cx="1460856" cy="1105880"/>
          </a:xfrm>
        </p:grpSpPr>
        <p:grpSp>
          <p:nvGrpSpPr>
            <p:cNvPr id="26" name="Group 4"/>
            <p:cNvGrpSpPr>
              <a:grpSpLocks noChangeAspect="1"/>
            </p:cNvGrpSpPr>
            <p:nvPr/>
          </p:nvGrpSpPr>
          <p:grpSpPr bwMode="auto">
            <a:xfrm>
              <a:off x="2069152" y="2819401"/>
              <a:ext cx="1460856" cy="1105880"/>
              <a:chOff x="4194" y="303"/>
              <a:chExt cx="214" cy="162"/>
            </a:xfrm>
          </p:grpSpPr>
          <p:sp>
            <p:nvSpPr>
              <p:cNvPr id="28" name="Freeform 8"/>
              <p:cNvSpPr>
                <a:spLocks/>
              </p:cNvSpPr>
              <p:nvPr/>
            </p:nvSpPr>
            <p:spPr bwMode="auto">
              <a:xfrm>
                <a:off x="4232" y="303"/>
                <a:ext cx="176" cy="121"/>
              </a:xfrm>
              <a:custGeom>
                <a:avLst/>
                <a:gdLst>
                  <a:gd name="T0" fmla="*/ 287 w 353"/>
                  <a:gd name="T1" fmla="*/ 1 h 244"/>
                  <a:gd name="T2" fmla="*/ 280 w 353"/>
                  <a:gd name="T3" fmla="*/ 0 h 244"/>
                  <a:gd name="T4" fmla="*/ 276 w 353"/>
                  <a:gd name="T5" fmla="*/ 5 h 244"/>
                  <a:gd name="T6" fmla="*/ 142 w 353"/>
                  <a:gd name="T7" fmla="*/ 24 h 244"/>
                  <a:gd name="T8" fmla="*/ 125 w 353"/>
                  <a:gd name="T9" fmla="*/ 24 h 244"/>
                  <a:gd name="T10" fmla="*/ 111 w 353"/>
                  <a:gd name="T11" fmla="*/ 26 h 244"/>
                  <a:gd name="T12" fmla="*/ 106 w 353"/>
                  <a:gd name="T13" fmla="*/ 28 h 244"/>
                  <a:gd name="T14" fmla="*/ 100 w 353"/>
                  <a:gd name="T15" fmla="*/ 29 h 244"/>
                  <a:gd name="T16" fmla="*/ 97 w 353"/>
                  <a:gd name="T17" fmla="*/ 30 h 244"/>
                  <a:gd name="T18" fmla="*/ 91 w 353"/>
                  <a:gd name="T19" fmla="*/ 33 h 244"/>
                  <a:gd name="T20" fmla="*/ 88 w 353"/>
                  <a:gd name="T21" fmla="*/ 33 h 244"/>
                  <a:gd name="T22" fmla="*/ 84 w 353"/>
                  <a:gd name="T23" fmla="*/ 35 h 244"/>
                  <a:gd name="T24" fmla="*/ 66 w 353"/>
                  <a:gd name="T25" fmla="*/ 44 h 244"/>
                  <a:gd name="T26" fmla="*/ 42 w 353"/>
                  <a:gd name="T27" fmla="*/ 63 h 244"/>
                  <a:gd name="T28" fmla="*/ 24 w 353"/>
                  <a:gd name="T29" fmla="*/ 85 h 244"/>
                  <a:gd name="T30" fmla="*/ 10 w 353"/>
                  <a:gd name="T31" fmla="*/ 112 h 244"/>
                  <a:gd name="T32" fmla="*/ 1 w 353"/>
                  <a:gd name="T33" fmla="*/ 141 h 244"/>
                  <a:gd name="T34" fmla="*/ 0 w 353"/>
                  <a:gd name="T35" fmla="*/ 163 h 244"/>
                  <a:gd name="T36" fmla="*/ 1 w 353"/>
                  <a:gd name="T37" fmla="*/ 179 h 244"/>
                  <a:gd name="T38" fmla="*/ 2 w 353"/>
                  <a:gd name="T39" fmla="*/ 190 h 244"/>
                  <a:gd name="T40" fmla="*/ 5 w 353"/>
                  <a:gd name="T41" fmla="*/ 199 h 244"/>
                  <a:gd name="T42" fmla="*/ 7 w 353"/>
                  <a:gd name="T43" fmla="*/ 205 h 244"/>
                  <a:gd name="T44" fmla="*/ 11 w 353"/>
                  <a:gd name="T45" fmla="*/ 216 h 244"/>
                  <a:gd name="T46" fmla="*/ 11 w 353"/>
                  <a:gd name="T47" fmla="*/ 217 h 244"/>
                  <a:gd name="T48" fmla="*/ 13 w 353"/>
                  <a:gd name="T49" fmla="*/ 221 h 244"/>
                  <a:gd name="T50" fmla="*/ 26 w 353"/>
                  <a:gd name="T51" fmla="*/ 244 h 244"/>
                  <a:gd name="T52" fmla="*/ 84 w 353"/>
                  <a:gd name="T53" fmla="*/ 244 h 244"/>
                  <a:gd name="T54" fmla="*/ 63 w 353"/>
                  <a:gd name="T55" fmla="*/ 224 h 244"/>
                  <a:gd name="T56" fmla="*/ 49 w 353"/>
                  <a:gd name="T57" fmla="*/ 200 h 244"/>
                  <a:gd name="T58" fmla="*/ 43 w 353"/>
                  <a:gd name="T59" fmla="*/ 181 h 244"/>
                  <a:gd name="T60" fmla="*/ 42 w 353"/>
                  <a:gd name="T61" fmla="*/ 176 h 244"/>
                  <a:gd name="T62" fmla="*/ 42 w 353"/>
                  <a:gd name="T63" fmla="*/ 175 h 244"/>
                  <a:gd name="T64" fmla="*/ 41 w 353"/>
                  <a:gd name="T65" fmla="*/ 168 h 244"/>
                  <a:gd name="T66" fmla="*/ 41 w 353"/>
                  <a:gd name="T67" fmla="*/ 167 h 244"/>
                  <a:gd name="T68" fmla="*/ 42 w 353"/>
                  <a:gd name="T69" fmla="*/ 148 h 244"/>
                  <a:gd name="T70" fmla="*/ 58 w 353"/>
                  <a:gd name="T71" fmla="*/ 108 h 244"/>
                  <a:gd name="T72" fmla="*/ 88 w 353"/>
                  <a:gd name="T73" fmla="*/ 79 h 244"/>
                  <a:gd name="T74" fmla="*/ 110 w 353"/>
                  <a:gd name="T75" fmla="*/ 69 h 244"/>
                  <a:gd name="T76" fmla="*/ 139 w 353"/>
                  <a:gd name="T77" fmla="*/ 65 h 244"/>
                  <a:gd name="T78" fmla="*/ 140 w 353"/>
                  <a:gd name="T79" fmla="*/ 65 h 244"/>
                  <a:gd name="T80" fmla="*/ 274 w 353"/>
                  <a:gd name="T81" fmla="*/ 78 h 244"/>
                  <a:gd name="T82" fmla="*/ 279 w 353"/>
                  <a:gd name="T83" fmla="*/ 88 h 244"/>
                  <a:gd name="T84" fmla="*/ 285 w 353"/>
                  <a:gd name="T85" fmla="*/ 89 h 244"/>
                  <a:gd name="T86" fmla="*/ 348 w 353"/>
                  <a:gd name="T87" fmla="*/ 52 h 244"/>
                  <a:gd name="T88" fmla="*/ 353 w 353"/>
                  <a:gd name="T89" fmla="*/ 44 h 244"/>
                  <a:gd name="T90" fmla="*/ 348 w 353"/>
                  <a:gd name="T91" fmla="*/ 37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53" h="244">
                    <a:moveTo>
                      <a:pt x="348" y="37"/>
                    </a:moveTo>
                    <a:lnTo>
                      <a:pt x="287" y="1"/>
                    </a:lnTo>
                    <a:lnTo>
                      <a:pt x="287" y="1"/>
                    </a:lnTo>
                    <a:lnTo>
                      <a:pt x="285" y="0"/>
                    </a:lnTo>
                    <a:lnTo>
                      <a:pt x="283" y="0"/>
                    </a:lnTo>
                    <a:lnTo>
                      <a:pt x="280" y="0"/>
                    </a:lnTo>
                    <a:lnTo>
                      <a:pt x="279" y="1"/>
                    </a:lnTo>
                    <a:lnTo>
                      <a:pt x="277" y="2"/>
                    </a:lnTo>
                    <a:lnTo>
                      <a:pt x="276" y="5"/>
                    </a:lnTo>
                    <a:lnTo>
                      <a:pt x="274" y="11"/>
                    </a:lnTo>
                    <a:lnTo>
                      <a:pt x="274" y="24"/>
                    </a:lnTo>
                    <a:lnTo>
                      <a:pt x="142" y="24"/>
                    </a:lnTo>
                    <a:lnTo>
                      <a:pt x="138" y="24"/>
                    </a:lnTo>
                    <a:lnTo>
                      <a:pt x="138" y="24"/>
                    </a:lnTo>
                    <a:lnTo>
                      <a:pt x="125" y="24"/>
                    </a:lnTo>
                    <a:lnTo>
                      <a:pt x="111" y="26"/>
                    </a:lnTo>
                    <a:lnTo>
                      <a:pt x="111" y="26"/>
                    </a:lnTo>
                    <a:lnTo>
                      <a:pt x="111" y="26"/>
                    </a:lnTo>
                    <a:lnTo>
                      <a:pt x="111" y="26"/>
                    </a:lnTo>
                    <a:lnTo>
                      <a:pt x="106" y="28"/>
                    </a:lnTo>
                    <a:lnTo>
                      <a:pt x="106" y="28"/>
                    </a:lnTo>
                    <a:lnTo>
                      <a:pt x="105" y="28"/>
                    </a:lnTo>
                    <a:lnTo>
                      <a:pt x="105" y="28"/>
                    </a:lnTo>
                    <a:lnTo>
                      <a:pt x="100" y="29"/>
                    </a:lnTo>
                    <a:lnTo>
                      <a:pt x="100" y="29"/>
                    </a:lnTo>
                    <a:lnTo>
                      <a:pt x="97" y="30"/>
                    </a:lnTo>
                    <a:lnTo>
                      <a:pt x="97" y="30"/>
                    </a:lnTo>
                    <a:lnTo>
                      <a:pt x="94" y="31"/>
                    </a:lnTo>
                    <a:lnTo>
                      <a:pt x="94" y="31"/>
                    </a:lnTo>
                    <a:lnTo>
                      <a:pt x="91" y="33"/>
                    </a:lnTo>
                    <a:lnTo>
                      <a:pt x="91" y="33"/>
                    </a:lnTo>
                    <a:lnTo>
                      <a:pt x="88" y="33"/>
                    </a:lnTo>
                    <a:lnTo>
                      <a:pt x="88" y="33"/>
                    </a:lnTo>
                    <a:lnTo>
                      <a:pt x="84" y="35"/>
                    </a:lnTo>
                    <a:lnTo>
                      <a:pt x="84" y="35"/>
                    </a:lnTo>
                    <a:lnTo>
                      <a:pt x="84" y="35"/>
                    </a:lnTo>
                    <a:lnTo>
                      <a:pt x="84" y="35"/>
                    </a:lnTo>
                    <a:lnTo>
                      <a:pt x="75" y="39"/>
                    </a:lnTo>
                    <a:lnTo>
                      <a:pt x="66" y="44"/>
                    </a:lnTo>
                    <a:lnTo>
                      <a:pt x="57" y="50"/>
                    </a:lnTo>
                    <a:lnTo>
                      <a:pt x="50" y="56"/>
                    </a:lnTo>
                    <a:lnTo>
                      <a:pt x="42" y="63"/>
                    </a:lnTo>
                    <a:lnTo>
                      <a:pt x="36" y="70"/>
                    </a:lnTo>
                    <a:lnTo>
                      <a:pt x="29" y="78"/>
                    </a:lnTo>
                    <a:lnTo>
                      <a:pt x="24" y="85"/>
                    </a:lnTo>
                    <a:lnTo>
                      <a:pt x="19" y="94"/>
                    </a:lnTo>
                    <a:lnTo>
                      <a:pt x="13" y="103"/>
                    </a:lnTo>
                    <a:lnTo>
                      <a:pt x="10" y="112"/>
                    </a:lnTo>
                    <a:lnTo>
                      <a:pt x="7" y="122"/>
                    </a:lnTo>
                    <a:lnTo>
                      <a:pt x="4" y="132"/>
                    </a:lnTo>
                    <a:lnTo>
                      <a:pt x="1" y="141"/>
                    </a:lnTo>
                    <a:lnTo>
                      <a:pt x="0" y="152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1" y="178"/>
                    </a:lnTo>
                    <a:lnTo>
                      <a:pt x="1" y="178"/>
                    </a:lnTo>
                    <a:lnTo>
                      <a:pt x="1" y="179"/>
                    </a:lnTo>
                    <a:lnTo>
                      <a:pt x="1" y="179"/>
                    </a:lnTo>
                    <a:lnTo>
                      <a:pt x="2" y="190"/>
                    </a:lnTo>
                    <a:lnTo>
                      <a:pt x="2" y="190"/>
                    </a:lnTo>
                    <a:lnTo>
                      <a:pt x="4" y="194"/>
                    </a:lnTo>
                    <a:lnTo>
                      <a:pt x="4" y="194"/>
                    </a:lnTo>
                    <a:lnTo>
                      <a:pt x="5" y="199"/>
                    </a:lnTo>
                    <a:lnTo>
                      <a:pt x="5" y="199"/>
                    </a:lnTo>
                    <a:lnTo>
                      <a:pt x="7" y="205"/>
                    </a:lnTo>
                    <a:lnTo>
                      <a:pt x="7" y="205"/>
                    </a:lnTo>
                    <a:lnTo>
                      <a:pt x="7" y="207"/>
                    </a:lnTo>
                    <a:lnTo>
                      <a:pt x="7" y="207"/>
                    </a:lnTo>
                    <a:lnTo>
                      <a:pt x="11" y="216"/>
                    </a:lnTo>
                    <a:lnTo>
                      <a:pt x="11" y="216"/>
                    </a:lnTo>
                    <a:lnTo>
                      <a:pt x="11" y="217"/>
                    </a:lnTo>
                    <a:lnTo>
                      <a:pt x="11" y="217"/>
                    </a:lnTo>
                    <a:lnTo>
                      <a:pt x="12" y="221"/>
                    </a:lnTo>
                    <a:lnTo>
                      <a:pt x="12" y="221"/>
                    </a:lnTo>
                    <a:lnTo>
                      <a:pt x="13" y="221"/>
                    </a:lnTo>
                    <a:lnTo>
                      <a:pt x="13" y="221"/>
                    </a:lnTo>
                    <a:lnTo>
                      <a:pt x="19" y="233"/>
                    </a:lnTo>
                    <a:lnTo>
                      <a:pt x="26" y="244"/>
                    </a:lnTo>
                    <a:lnTo>
                      <a:pt x="26" y="244"/>
                    </a:lnTo>
                    <a:lnTo>
                      <a:pt x="84" y="244"/>
                    </a:lnTo>
                    <a:lnTo>
                      <a:pt x="84" y="244"/>
                    </a:lnTo>
                    <a:lnTo>
                      <a:pt x="77" y="238"/>
                    </a:lnTo>
                    <a:lnTo>
                      <a:pt x="69" y="232"/>
                    </a:lnTo>
                    <a:lnTo>
                      <a:pt x="63" y="224"/>
                    </a:lnTo>
                    <a:lnTo>
                      <a:pt x="57" y="217"/>
                    </a:lnTo>
                    <a:lnTo>
                      <a:pt x="53" y="208"/>
                    </a:lnTo>
                    <a:lnTo>
                      <a:pt x="49" y="200"/>
                    </a:lnTo>
                    <a:lnTo>
                      <a:pt x="45" y="191"/>
                    </a:lnTo>
                    <a:lnTo>
                      <a:pt x="43" y="181"/>
                    </a:lnTo>
                    <a:lnTo>
                      <a:pt x="43" y="181"/>
                    </a:lnTo>
                    <a:lnTo>
                      <a:pt x="43" y="181"/>
                    </a:lnTo>
                    <a:lnTo>
                      <a:pt x="43" y="181"/>
                    </a:lnTo>
                    <a:lnTo>
                      <a:pt x="42" y="176"/>
                    </a:lnTo>
                    <a:lnTo>
                      <a:pt x="42" y="176"/>
                    </a:lnTo>
                    <a:lnTo>
                      <a:pt x="42" y="175"/>
                    </a:lnTo>
                    <a:lnTo>
                      <a:pt x="42" y="175"/>
                    </a:lnTo>
                    <a:lnTo>
                      <a:pt x="41" y="171"/>
                    </a:lnTo>
                    <a:lnTo>
                      <a:pt x="41" y="171"/>
                    </a:lnTo>
                    <a:lnTo>
                      <a:pt x="41" y="168"/>
                    </a:lnTo>
                    <a:lnTo>
                      <a:pt x="41" y="168"/>
                    </a:lnTo>
                    <a:lnTo>
                      <a:pt x="41" y="167"/>
                    </a:lnTo>
                    <a:lnTo>
                      <a:pt x="41" y="167"/>
                    </a:lnTo>
                    <a:lnTo>
                      <a:pt x="41" y="163"/>
                    </a:lnTo>
                    <a:lnTo>
                      <a:pt x="41" y="163"/>
                    </a:lnTo>
                    <a:lnTo>
                      <a:pt x="42" y="148"/>
                    </a:lnTo>
                    <a:lnTo>
                      <a:pt x="45" y="134"/>
                    </a:lnTo>
                    <a:lnTo>
                      <a:pt x="51" y="121"/>
                    </a:lnTo>
                    <a:lnTo>
                      <a:pt x="58" y="108"/>
                    </a:lnTo>
                    <a:lnTo>
                      <a:pt x="67" y="97"/>
                    </a:lnTo>
                    <a:lnTo>
                      <a:pt x="77" y="88"/>
                    </a:lnTo>
                    <a:lnTo>
                      <a:pt x="88" y="79"/>
                    </a:lnTo>
                    <a:lnTo>
                      <a:pt x="101" y="72"/>
                    </a:lnTo>
                    <a:lnTo>
                      <a:pt x="101" y="72"/>
                    </a:lnTo>
                    <a:lnTo>
                      <a:pt x="110" y="69"/>
                    </a:lnTo>
                    <a:lnTo>
                      <a:pt x="120" y="67"/>
                    </a:lnTo>
                    <a:lnTo>
                      <a:pt x="129" y="65"/>
                    </a:lnTo>
                    <a:lnTo>
                      <a:pt x="139" y="65"/>
                    </a:lnTo>
                    <a:lnTo>
                      <a:pt x="139" y="65"/>
                    </a:lnTo>
                    <a:lnTo>
                      <a:pt x="140" y="65"/>
                    </a:lnTo>
                    <a:lnTo>
                      <a:pt x="140" y="65"/>
                    </a:lnTo>
                    <a:lnTo>
                      <a:pt x="274" y="65"/>
                    </a:lnTo>
                    <a:lnTo>
                      <a:pt x="274" y="78"/>
                    </a:lnTo>
                    <a:lnTo>
                      <a:pt x="274" y="78"/>
                    </a:lnTo>
                    <a:lnTo>
                      <a:pt x="276" y="84"/>
                    </a:lnTo>
                    <a:lnTo>
                      <a:pt x="277" y="86"/>
                    </a:lnTo>
                    <a:lnTo>
                      <a:pt x="279" y="88"/>
                    </a:lnTo>
                    <a:lnTo>
                      <a:pt x="280" y="89"/>
                    </a:lnTo>
                    <a:lnTo>
                      <a:pt x="283" y="89"/>
                    </a:lnTo>
                    <a:lnTo>
                      <a:pt x="285" y="89"/>
                    </a:lnTo>
                    <a:lnTo>
                      <a:pt x="287" y="88"/>
                    </a:lnTo>
                    <a:lnTo>
                      <a:pt x="348" y="52"/>
                    </a:lnTo>
                    <a:lnTo>
                      <a:pt x="348" y="52"/>
                    </a:lnTo>
                    <a:lnTo>
                      <a:pt x="352" y="49"/>
                    </a:lnTo>
                    <a:lnTo>
                      <a:pt x="353" y="47"/>
                    </a:lnTo>
                    <a:lnTo>
                      <a:pt x="353" y="44"/>
                    </a:lnTo>
                    <a:lnTo>
                      <a:pt x="353" y="42"/>
                    </a:lnTo>
                    <a:lnTo>
                      <a:pt x="352" y="40"/>
                    </a:lnTo>
                    <a:lnTo>
                      <a:pt x="348" y="37"/>
                    </a:lnTo>
                    <a:lnTo>
                      <a:pt x="348" y="37"/>
                    </a:lnTo>
                    <a:close/>
                  </a:path>
                </a:pathLst>
              </a:custGeom>
              <a:solidFill>
                <a:srgbClr val="009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Freeform 9"/>
              <p:cNvSpPr>
                <a:spLocks/>
              </p:cNvSpPr>
              <p:nvPr/>
            </p:nvSpPr>
            <p:spPr bwMode="auto">
              <a:xfrm>
                <a:off x="4194" y="344"/>
                <a:ext cx="176" cy="121"/>
              </a:xfrm>
              <a:custGeom>
                <a:avLst/>
                <a:gdLst>
                  <a:gd name="T0" fmla="*/ 66 w 353"/>
                  <a:gd name="T1" fmla="*/ 243 h 244"/>
                  <a:gd name="T2" fmla="*/ 73 w 353"/>
                  <a:gd name="T3" fmla="*/ 244 h 244"/>
                  <a:gd name="T4" fmla="*/ 77 w 353"/>
                  <a:gd name="T5" fmla="*/ 239 h 244"/>
                  <a:gd name="T6" fmla="*/ 211 w 353"/>
                  <a:gd name="T7" fmla="*/ 220 h 244"/>
                  <a:gd name="T8" fmla="*/ 228 w 353"/>
                  <a:gd name="T9" fmla="*/ 220 h 244"/>
                  <a:gd name="T10" fmla="*/ 242 w 353"/>
                  <a:gd name="T11" fmla="*/ 218 h 244"/>
                  <a:gd name="T12" fmla="*/ 247 w 353"/>
                  <a:gd name="T13" fmla="*/ 216 h 244"/>
                  <a:gd name="T14" fmla="*/ 253 w 353"/>
                  <a:gd name="T15" fmla="*/ 215 h 244"/>
                  <a:gd name="T16" fmla="*/ 256 w 353"/>
                  <a:gd name="T17" fmla="*/ 214 h 244"/>
                  <a:gd name="T18" fmla="*/ 262 w 353"/>
                  <a:gd name="T19" fmla="*/ 211 h 244"/>
                  <a:gd name="T20" fmla="*/ 265 w 353"/>
                  <a:gd name="T21" fmla="*/ 211 h 244"/>
                  <a:gd name="T22" fmla="*/ 269 w 353"/>
                  <a:gd name="T23" fmla="*/ 209 h 244"/>
                  <a:gd name="T24" fmla="*/ 287 w 353"/>
                  <a:gd name="T25" fmla="*/ 200 h 244"/>
                  <a:gd name="T26" fmla="*/ 311 w 353"/>
                  <a:gd name="T27" fmla="*/ 181 h 244"/>
                  <a:gd name="T28" fmla="*/ 329 w 353"/>
                  <a:gd name="T29" fmla="*/ 159 h 244"/>
                  <a:gd name="T30" fmla="*/ 343 w 353"/>
                  <a:gd name="T31" fmla="*/ 132 h 244"/>
                  <a:gd name="T32" fmla="*/ 352 w 353"/>
                  <a:gd name="T33" fmla="*/ 103 h 244"/>
                  <a:gd name="T34" fmla="*/ 353 w 353"/>
                  <a:gd name="T35" fmla="*/ 81 h 244"/>
                  <a:gd name="T36" fmla="*/ 352 w 353"/>
                  <a:gd name="T37" fmla="*/ 65 h 244"/>
                  <a:gd name="T38" fmla="*/ 351 w 353"/>
                  <a:gd name="T39" fmla="*/ 54 h 244"/>
                  <a:gd name="T40" fmla="*/ 348 w 353"/>
                  <a:gd name="T41" fmla="*/ 45 h 244"/>
                  <a:gd name="T42" fmla="*/ 346 w 353"/>
                  <a:gd name="T43" fmla="*/ 39 h 244"/>
                  <a:gd name="T44" fmla="*/ 342 w 353"/>
                  <a:gd name="T45" fmla="*/ 28 h 244"/>
                  <a:gd name="T46" fmla="*/ 342 w 353"/>
                  <a:gd name="T47" fmla="*/ 27 h 244"/>
                  <a:gd name="T48" fmla="*/ 340 w 353"/>
                  <a:gd name="T49" fmla="*/ 23 h 244"/>
                  <a:gd name="T50" fmla="*/ 327 w 353"/>
                  <a:gd name="T51" fmla="*/ 0 h 244"/>
                  <a:gd name="T52" fmla="*/ 269 w 353"/>
                  <a:gd name="T53" fmla="*/ 0 h 244"/>
                  <a:gd name="T54" fmla="*/ 290 w 353"/>
                  <a:gd name="T55" fmla="*/ 20 h 244"/>
                  <a:gd name="T56" fmla="*/ 304 w 353"/>
                  <a:gd name="T57" fmla="*/ 44 h 244"/>
                  <a:gd name="T58" fmla="*/ 310 w 353"/>
                  <a:gd name="T59" fmla="*/ 63 h 244"/>
                  <a:gd name="T60" fmla="*/ 311 w 353"/>
                  <a:gd name="T61" fmla="*/ 68 h 244"/>
                  <a:gd name="T62" fmla="*/ 311 w 353"/>
                  <a:gd name="T63" fmla="*/ 69 h 244"/>
                  <a:gd name="T64" fmla="*/ 312 w 353"/>
                  <a:gd name="T65" fmla="*/ 76 h 244"/>
                  <a:gd name="T66" fmla="*/ 312 w 353"/>
                  <a:gd name="T67" fmla="*/ 77 h 244"/>
                  <a:gd name="T68" fmla="*/ 311 w 353"/>
                  <a:gd name="T69" fmla="*/ 96 h 244"/>
                  <a:gd name="T70" fmla="*/ 295 w 353"/>
                  <a:gd name="T71" fmla="*/ 136 h 244"/>
                  <a:gd name="T72" fmla="*/ 265 w 353"/>
                  <a:gd name="T73" fmla="*/ 165 h 244"/>
                  <a:gd name="T74" fmla="*/ 243 w 353"/>
                  <a:gd name="T75" fmla="*/ 175 h 244"/>
                  <a:gd name="T76" fmla="*/ 214 w 353"/>
                  <a:gd name="T77" fmla="*/ 179 h 244"/>
                  <a:gd name="T78" fmla="*/ 213 w 353"/>
                  <a:gd name="T79" fmla="*/ 179 h 244"/>
                  <a:gd name="T80" fmla="*/ 79 w 353"/>
                  <a:gd name="T81" fmla="*/ 166 h 244"/>
                  <a:gd name="T82" fmla="*/ 74 w 353"/>
                  <a:gd name="T83" fmla="*/ 156 h 244"/>
                  <a:gd name="T84" fmla="*/ 68 w 353"/>
                  <a:gd name="T85" fmla="*/ 155 h 244"/>
                  <a:gd name="T86" fmla="*/ 5 w 353"/>
                  <a:gd name="T87" fmla="*/ 192 h 244"/>
                  <a:gd name="T88" fmla="*/ 0 w 353"/>
                  <a:gd name="T89" fmla="*/ 200 h 244"/>
                  <a:gd name="T90" fmla="*/ 5 w 353"/>
                  <a:gd name="T91" fmla="*/ 207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53" h="244">
                    <a:moveTo>
                      <a:pt x="5" y="207"/>
                    </a:moveTo>
                    <a:lnTo>
                      <a:pt x="66" y="243"/>
                    </a:lnTo>
                    <a:lnTo>
                      <a:pt x="66" y="243"/>
                    </a:lnTo>
                    <a:lnTo>
                      <a:pt x="68" y="244"/>
                    </a:lnTo>
                    <a:lnTo>
                      <a:pt x="70" y="244"/>
                    </a:lnTo>
                    <a:lnTo>
                      <a:pt x="73" y="244"/>
                    </a:lnTo>
                    <a:lnTo>
                      <a:pt x="74" y="243"/>
                    </a:lnTo>
                    <a:lnTo>
                      <a:pt x="76" y="242"/>
                    </a:lnTo>
                    <a:lnTo>
                      <a:pt x="77" y="239"/>
                    </a:lnTo>
                    <a:lnTo>
                      <a:pt x="79" y="233"/>
                    </a:lnTo>
                    <a:lnTo>
                      <a:pt x="79" y="220"/>
                    </a:lnTo>
                    <a:lnTo>
                      <a:pt x="211" y="220"/>
                    </a:lnTo>
                    <a:lnTo>
                      <a:pt x="215" y="220"/>
                    </a:lnTo>
                    <a:lnTo>
                      <a:pt x="215" y="220"/>
                    </a:lnTo>
                    <a:lnTo>
                      <a:pt x="228" y="220"/>
                    </a:lnTo>
                    <a:lnTo>
                      <a:pt x="242" y="218"/>
                    </a:lnTo>
                    <a:lnTo>
                      <a:pt x="242" y="218"/>
                    </a:lnTo>
                    <a:lnTo>
                      <a:pt x="242" y="218"/>
                    </a:lnTo>
                    <a:lnTo>
                      <a:pt x="242" y="218"/>
                    </a:lnTo>
                    <a:lnTo>
                      <a:pt x="247" y="216"/>
                    </a:lnTo>
                    <a:lnTo>
                      <a:pt x="247" y="216"/>
                    </a:lnTo>
                    <a:lnTo>
                      <a:pt x="248" y="216"/>
                    </a:lnTo>
                    <a:lnTo>
                      <a:pt x="248" y="216"/>
                    </a:lnTo>
                    <a:lnTo>
                      <a:pt x="253" y="215"/>
                    </a:lnTo>
                    <a:lnTo>
                      <a:pt x="253" y="215"/>
                    </a:lnTo>
                    <a:lnTo>
                      <a:pt x="256" y="214"/>
                    </a:lnTo>
                    <a:lnTo>
                      <a:pt x="256" y="214"/>
                    </a:lnTo>
                    <a:lnTo>
                      <a:pt x="259" y="213"/>
                    </a:lnTo>
                    <a:lnTo>
                      <a:pt x="259" y="213"/>
                    </a:lnTo>
                    <a:lnTo>
                      <a:pt x="262" y="211"/>
                    </a:lnTo>
                    <a:lnTo>
                      <a:pt x="262" y="211"/>
                    </a:lnTo>
                    <a:lnTo>
                      <a:pt x="265" y="211"/>
                    </a:lnTo>
                    <a:lnTo>
                      <a:pt x="265" y="211"/>
                    </a:lnTo>
                    <a:lnTo>
                      <a:pt x="269" y="209"/>
                    </a:lnTo>
                    <a:lnTo>
                      <a:pt x="269" y="209"/>
                    </a:lnTo>
                    <a:lnTo>
                      <a:pt x="269" y="209"/>
                    </a:lnTo>
                    <a:lnTo>
                      <a:pt x="269" y="209"/>
                    </a:lnTo>
                    <a:lnTo>
                      <a:pt x="279" y="205"/>
                    </a:lnTo>
                    <a:lnTo>
                      <a:pt x="287" y="200"/>
                    </a:lnTo>
                    <a:lnTo>
                      <a:pt x="296" y="194"/>
                    </a:lnTo>
                    <a:lnTo>
                      <a:pt x="303" y="188"/>
                    </a:lnTo>
                    <a:lnTo>
                      <a:pt x="311" y="181"/>
                    </a:lnTo>
                    <a:lnTo>
                      <a:pt x="317" y="174"/>
                    </a:lnTo>
                    <a:lnTo>
                      <a:pt x="324" y="166"/>
                    </a:lnTo>
                    <a:lnTo>
                      <a:pt x="329" y="159"/>
                    </a:lnTo>
                    <a:lnTo>
                      <a:pt x="334" y="150"/>
                    </a:lnTo>
                    <a:lnTo>
                      <a:pt x="340" y="141"/>
                    </a:lnTo>
                    <a:lnTo>
                      <a:pt x="343" y="132"/>
                    </a:lnTo>
                    <a:lnTo>
                      <a:pt x="346" y="122"/>
                    </a:lnTo>
                    <a:lnTo>
                      <a:pt x="349" y="112"/>
                    </a:lnTo>
                    <a:lnTo>
                      <a:pt x="352" y="103"/>
                    </a:lnTo>
                    <a:lnTo>
                      <a:pt x="353" y="92"/>
                    </a:lnTo>
                    <a:lnTo>
                      <a:pt x="353" y="81"/>
                    </a:lnTo>
                    <a:lnTo>
                      <a:pt x="353" y="81"/>
                    </a:lnTo>
                    <a:lnTo>
                      <a:pt x="352" y="66"/>
                    </a:lnTo>
                    <a:lnTo>
                      <a:pt x="352" y="66"/>
                    </a:lnTo>
                    <a:lnTo>
                      <a:pt x="352" y="65"/>
                    </a:lnTo>
                    <a:lnTo>
                      <a:pt x="352" y="65"/>
                    </a:lnTo>
                    <a:lnTo>
                      <a:pt x="351" y="54"/>
                    </a:lnTo>
                    <a:lnTo>
                      <a:pt x="351" y="54"/>
                    </a:lnTo>
                    <a:lnTo>
                      <a:pt x="349" y="50"/>
                    </a:lnTo>
                    <a:lnTo>
                      <a:pt x="349" y="50"/>
                    </a:lnTo>
                    <a:lnTo>
                      <a:pt x="348" y="45"/>
                    </a:lnTo>
                    <a:lnTo>
                      <a:pt x="348" y="45"/>
                    </a:lnTo>
                    <a:lnTo>
                      <a:pt x="346" y="39"/>
                    </a:lnTo>
                    <a:lnTo>
                      <a:pt x="346" y="39"/>
                    </a:lnTo>
                    <a:lnTo>
                      <a:pt x="346" y="37"/>
                    </a:lnTo>
                    <a:lnTo>
                      <a:pt x="346" y="37"/>
                    </a:lnTo>
                    <a:lnTo>
                      <a:pt x="342" y="28"/>
                    </a:lnTo>
                    <a:lnTo>
                      <a:pt x="342" y="28"/>
                    </a:lnTo>
                    <a:lnTo>
                      <a:pt x="342" y="27"/>
                    </a:lnTo>
                    <a:lnTo>
                      <a:pt x="342" y="27"/>
                    </a:lnTo>
                    <a:lnTo>
                      <a:pt x="341" y="23"/>
                    </a:lnTo>
                    <a:lnTo>
                      <a:pt x="341" y="23"/>
                    </a:lnTo>
                    <a:lnTo>
                      <a:pt x="340" y="23"/>
                    </a:lnTo>
                    <a:lnTo>
                      <a:pt x="340" y="23"/>
                    </a:lnTo>
                    <a:lnTo>
                      <a:pt x="334" y="11"/>
                    </a:lnTo>
                    <a:lnTo>
                      <a:pt x="327" y="0"/>
                    </a:lnTo>
                    <a:lnTo>
                      <a:pt x="327" y="0"/>
                    </a:lnTo>
                    <a:lnTo>
                      <a:pt x="269" y="0"/>
                    </a:lnTo>
                    <a:lnTo>
                      <a:pt x="269" y="0"/>
                    </a:lnTo>
                    <a:lnTo>
                      <a:pt x="276" y="6"/>
                    </a:lnTo>
                    <a:lnTo>
                      <a:pt x="284" y="12"/>
                    </a:lnTo>
                    <a:lnTo>
                      <a:pt x="290" y="20"/>
                    </a:lnTo>
                    <a:lnTo>
                      <a:pt x="296" y="27"/>
                    </a:lnTo>
                    <a:lnTo>
                      <a:pt x="300" y="36"/>
                    </a:lnTo>
                    <a:lnTo>
                      <a:pt x="304" y="44"/>
                    </a:lnTo>
                    <a:lnTo>
                      <a:pt x="308" y="53"/>
                    </a:lnTo>
                    <a:lnTo>
                      <a:pt x="310" y="63"/>
                    </a:lnTo>
                    <a:lnTo>
                      <a:pt x="310" y="63"/>
                    </a:lnTo>
                    <a:lnTo>
                      <a:pt x="310" y="63"/>
                    </a:lnTo>
                    <a:lnTo>
                      <a:pt x="310" y="63"/>
                    </a:lnTo>
                    <a:lnTo>
                      <a:pt x="311" y="68"/>
                    </a:lnTo>
                    <a:lnTo>
                      <a:pt x="311" y="68"/>
                    </a:lnTo>
                    <a:lnTo>
                      <a:pt x="311" y="69"/>
                    </a:lnTo>
                    <a:lnTo>
                      <a:pt x="311" y="69"/>
                    </a:lnTo>
                    <a:lnTo>
                      <a:pt x="312" y="73"/>
                    </a:lnTo>
                    <a:lnTo>
                      <a:pt x="312" y="73"/>
                    </a:lnTo>
                    <a:lnTo>
                      <a:pt x="312" y="76"/>
                    </a:lnTo>
                    <a:lnTo>
                      <a:pt x="312" y="76"/>
                    </a:lnTo>
                    <a:lnTo>
                      <a:pt x="312" y="77"/>
                    </a:lnTo>
                    <a:lnTo>
                      <a:pt x="312" y="77"/>
                    </a:lnTo>
                    <a:lnTo>
                      <a:pt x="312" y="81"/>
                    </a:lnTo>
                    <a:lnTo>
                      <a:pt x="312" y="81"/>
                    </a:lnTo>
                    <a:lnTo>
                      <a:pt x="311" y="96"/>
                    </a:lnTo>
                    <a:lnTo>
                      <a:pt x="308" y="110"/>
                    </a:lnTo>
                    <a:lnTo>
                      <a:pt x="302" y="123"/>
                    </a:lnTo>
                    <a:lnTo>
                      <a:pt x="295" y="136"/>
                    </a:lnTo>
                    <a:lnTo>
                      <a:pt x="286" y="147"/>
                    </a:lnTo>
                    <a:lnTo>
                      <a:pt x="276" y="156"/>
                    </a:lnTo>
                    <a:lnTo>
                      <a:pt x="265" y="165"/>
                    </a:lnTo>
                    <a:lnTo>
                      <a:pt x="252" y="172"/>
                    </a:lnTo>
                    <a:lnTo>
                      <a:pt x="252" y="172"/>
                    </a:lnTo>
                    <a:lnTo>
                      <a:pt x="243" y="175"/>
                    </a:lnTo>
                    <a:lnTo>
                      <a:pt x="233" y="177"/>
                    </a:lnTo>
                    <a:lnTo>
                      <a:pt x="224" y="179"/>
                    </a:lnTo>
                    <a:lnTo>
                      <a:pt x="214" y="179"/>
                    </a:lnTo>
                    <a:lnTo>
                      <a:pt x="214" y="179"/>
                    </a:lnTo>
                    <a:lnTo>
                      <a:pt x="213" y="179"/>
                    </a:lnTo>
                    <a:lnTo>
                      <a:pt x="213" y="179"/>
                    </a:lnTo>
                    <a:lnTo>
                      <a:pt x="79" y="179"/>
                    </a:lnTo>
                    <a:lnTo>
                      <a:pt x="79" y="166"/>
                    </a:lnTo>
                    <a:lnTo>
                      <a:pt x="79" y="166"/>
                    </a:lnTo>
                    <a:lnTo>
                      <a:pt x="77" y="160"/>
                    </a:lnTo>
                    <a:lnTo>
                      <a:pt x="76" y="158"/>
                    </a:lnTo>
                    <a:lnTo>
                      <a:pt x="74" y="156"/>
                    </a:lnTo>
                    <a:lnTo>
                      <a:pt x="73" y="155"/>
                    </a:lnTo>
                    <a:lnTo>
                      <a:pt x="70" y="155"/>
                    </a:lnTo>
                    <a:lnTo>
                      <a:pt x="68" y="155"/>
                    </a:lnTo>
                    <a:lnTo>
                      <a:pt x="66" y="156"/>
                    </a:lnTo>
                    <a:lnTo>
                      <a:pt x="5" y="192"/>
                    </a:lnTo>
                    <a:lnTo>
                      <a:pt x="5" y="192"/>
                    </a:lnTo>
                    <a:lnTo>
                      <a:pt x="1" y="195"/>
                    </a:lnTo>
                    <a:lnTo>
                      <a:pt x="0" y="197"/>
                    </a:lnTo>
                    <a:lnTo>
                      <a:pt x="0" y="200"/>
                    </a:lnTo>
                    <a:lnTo>
                      <a:pt x="0" y="202"/>
                    </a:lnTo>
                    <a:lnTo>
                      <a:pt x="1" y="204"/>
                    </a:lnTo>
                    <a:lnTo>
                      <a:pt x="5" y="207"/>
                    </a:lnTo>
                    <a:lnTo>
                      <a:pt x="5" y="207"/>
                    </a:lnTo>
                    <a:close/>
                  </a:path>
                </a:pathLst>
              </a:custGeom>
              <a:solidFill>
                <a:srgbClr val="009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0" name="Freeform 5"/>
            <p:cNvSpPr>
              <a:spLocks noEditPoints="1"/>
            </p:cNvSpPr>
            <p:nvPr/>
          </p:nvSpPr>
          <p:spPr bwMode="auto">
            <a:xfrm>
              <a:off x="2587934" y="3169197"/>
              <a:ext cx="423292" cy="427284"/>
            </a:xfrm>
            <a:custGeom>
              <a:avLst/>
              <a:gdLst>
                <a:gd name="T0" fmla="*/ 426 w 426"/>
                <a:gd name="T1" fmla="*/ 93 h 426"/>
                <a:gd name="T2" fmla="*/ 394 w 426"/>
                <a:gd name="T3" fmla="*/ 65 h 426"/>
                <a:gd name="T4" fmla="*/ 393 w 426"/>
                <a:gd name="T5" fmla="*/ 59 h 426"/>
                <a:gd name="T6" fmla="*/ 388 w 426"/>
                <a:gd name="T7" fmla="*/ 47 h 426"/>
                <a:gd name="T8" fmla="*/ 379 w 426"/>
                <a:gd name="T9" fmla="*/ 38 h 426"/>
                <a:gd name="T10" fmla="*/ 368 w 426"/>
                <a:gd name="T11" fmla="*/ 33 h 426"/>
                <a:gd name="T12" fmla="*/ 332 w 426"/>
                <a:gd name="T13" fmla="*/ 32 h 426"/>
                <a:gd name="T14" fmla="*/ 304 w 426"/>
                <a:gd name="T15" fmla="*/ 0 h 426"/>
                <a:gd name="T16" fmla="*/ 262 w 426"/>
                <a:gd name="T17" fmla="*/ 32 h 426"/>
                <a:gd name="T18" fmla="*/ 235 w 426"/>
                <a:gd name="T19" fmla="*/ 0 h 426"/>
                <a:gd name="T20" fmla="*/ 192 w 426"/>
                <a:gd name="T21" fmla="*/ 32 h 426"/>
                <a:gd name="T22" fmla="*/ 164 w 426"/>
                <a:gd name="T23" fmla="*/ 0 h 426"/>
                <a:gd name="T24" fmla="*/ 122 w 426"/>
                <a:gd name="T25" fmla="*/ 32 h 426"/>
                <a:gd name="T26" fmla="*/ 94 w 426"/>
                <a:gd name="T27" fmla="*/ 0 h 426"/>
                <a:gd name="T28" fmla="*/ 32 w 426"/>
                <a:gd name="T29" fmla="*/ 32 h 426"/>
                <a:gd name="T30" fmla="*/ 0 w 426"/>
                <a:gd name="T31" fmla="*/ 93 h 426"/>
                <a:gd name="T32" fmla="*/ 32 w 426"/>
                <a:gd name="T33" fmla="*/ 121 h 426"/>
                <a:gd name="T34" fmla="*/ 0 w 426"/>
                <a:gd name="T35" fmla="*/ 163 h 426"/>
                <a:gd name="T36" fmla="*/ 32 w 426"/>
                <a:gd name="T37" fmla="*/ 191 h 426"/>
                <a:gd name="T38" fmla="*/ 0 w 426"/>
                <a:gd name="T39" fmla="*/ 235 h 426"/>
                <a:gd name="T40" fmla="*/ 32 w 426"/>
                <a:gd name="T41" fmla="*/ 263 h 426"/>
                <a:gd name="T42" fmla="*/ 0 w 426"/>
                <a:gd name="T43" fmla="*/ 305 h 426"/>
                <a:gd name="T44" fmla="*/ 32 w 426"/>
                <a:gd name="T45" fmla="*/ 333 h 426"/>
                <a:gd name="T46" fmla="*/ 32 w 426"/>
                <a:gd name="T47" fmla="*/ 362 h 426"/>
                <a:gd name="T48" fmla="*/ 36 w 426"/>
                <a:gd name="T49" fmla="*/ 374 h 426"/>
                <a:gd name="T50" fmla="*/ 42 w 426"/>
                <a:gd name="T51" fmla="*/ 384 h 426"/>
                <a:gd name="T52" fmla="*/ 53 w 426"/>
                <a:gd name="T53" fmla="*/ 392 h 426"/>
                <a:gd name="T54" fmla="*/ 66 w 426"/>
                <a:gd name="T55" fmla="*/ 394 h 426"/>
                <a:gd name="T56" fmla="*/ 94 w 426"/>
                <a:gd name="T57" fmla="*/ 426 h 426"/>
                <a:gd name="T58" fmla="*/ 122 w 426"/>
                <a:gd name="T59" fmla="*/ 394 h 426"/>
                <a:gd name="T60" fmla="*/ 164 w 426"/>
                <a:gd name="T61" fmla="*/ 426 h 426"/>
                <a:gd name="T62" fmla="*/ 192 w 426"/>
                <a:gd name="T63" fmla="*/ 394 h 426"/>
                <a:gd name="T64" fmla="*/ 235 w 426"/>
                <a:gd name="T65" fmla="*/ 426 h 426"/>
                <a:gd name="T66" fmla="*/ 262 w 426"/>
                <a:gd name="T67" fmla="*/ 394 h 426"/>
                <a:gd name="T68" fmla="*/ 304 w 426"/>
                <a:gd name="T69" fmla="*/ 426 h 426"/>
                <a:gd name="T70" fmla="*/ 332 w 426"/>
                <a:gd name="T71" fmla="*/ 394 h 426"/>
                <a:gd name="T72" fmla="*/ 394 w 426"/>
                <a:gd name="T73" fmla="*/ 333 h 426"/>
                <a:gd name="T74" fmla="*/ 426 w 426"/>
                <a:gd name="T75" fmla="*/ 305 h 426"/>
                <a:gd name="T76" fmla="*/ 394 w 426"/>
                <a:gd name="T77" fmla="*/ 263 h 426"/>
                <a:gd name="T78" fmla="*/ 426 w 426"/>
                <a:gd name="T79" fmla="*/ 235 h 426"/>
                <a:gd name="T80" fmla="*/ 394 w 426"/>
                <a:gd name="T81" fmla="*/ 191 h 426"/>
                <a:gd name="T82" fmla="*/ 426 w 426"/>
                <a:gd name="T83" fmla="*/ 163 h 426"/>
                <a:gd name="T84" fmla="*/ 394 w 426"/>
                <a:gd name="T85" fmla="*/ 121 h 426"/>
                <a:gd name="T86" fmla="*/ 359 w 426"/>
                <a:gd name="T87" fmla="*/ 360 h 426"/>
                <a:gd name="T88" fmla="*/ 67 w 426"/>
                <a:gd name="T89" fmla="*/ 66 h 426"/>
                <a:gd name="T90" fmla="*/ 359 w 426"/>
                <a:gd name="T91" fmla="*/ 360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26" h="426">
                  <a:moveTo>
                    <a:pt x="426" y="121"/>
                  </a:moveTo>
                  <a:lnTo>
                    <a:pt x="426" y="93"/>
                  </a:lnTo>
                  <a:lnTo>
                    <a:pt x="394" y="93"/>
                  </a:lnTo>
                  <a:lnTo>
                    <a:pt x="394" y="65"/>
                  </a:lnTo>
                  <a:lnTo>
                    <a:pt x="394" y="65"/>
                  </a:lnTo>
                  <a:lnTo>
                    <a:pt x="393" y="59"/>
                  </a:lnTo>
                  <a:lnTo>
                    <a:pt x="390" y="52"/>
                  </a:lnTo>
                  <a:lnTo>
                    <a:pt x="388" y="47"/>
                  </a:lnTo>
                  <a:lnTo>
                    <a:pt x="384" y="42"/>
                  </a:lnTo>
                  <a:lnTo>
                    <a:pt x="379" y="38"/>
                  </a:lnTo>
                  <a:lnTo>
                    <a:pt x="373" y="35"/>
                  </a:lnTo>
                  <a:lnTo>
                    <a:pt x="368" y="33"/>
                  </a:lnTo>
                  <a:lnTo>
                    <a:pt x="360" y="32"/>
                  </a:lnTo>
                  <a:lnTo>
                    <a:pt x="332" y="32"/>
                  </a:lnTo>
                  <a:lnTo>
                    <a:pt x="332" y="0"/>
                  </a:lnTo>
                  <a:lnTo>
                    <a:pt x="304" y="0"/>
                  </a:lnTo>
                  <a:lnTo>
                    <a:pt x="304" y="32"/>
                  </a:lnTo>
                  <a:lnTo>
                    <a:pt x="262" y="32"/>
                  </a:lnTo>
                  <a:lnTo>
                    <a:pt x="262" y="0"/>
                  </a:lnTo>
                  <a:lnTo>
                    <a:pt x="235" y="0"/>
                  </a:lnTo>
                  <a:lnTo>
                    <a:pt x="235" y="32"/>
                  </a:lnTo>
                  <a:lnTo>
                    <a:pt x="192" y="32"/>
                  </a:lnTo>
                  <a:lnTo>
                    <a:pt x="192" y="0"/>
                  </a:lnTo>
                  <a:lnTo>
                    <a:pt x="164" y="0"/>
                  </a:lnTo>
                  <a:lnTo>
                    <a:pt x="164" y="32"/>
                  </a:lnTo>
                  <a:lnTo>
                    <a:pt x="122" y="32"/>
                  </a:lnTo>
                  <a:lnTo>
                    <a:pt x="122" y="0"/>
                  </a:lnTo>
                  <a:lnTo>
                    <a:pt x="94" y="0"/>
                  </a:lnTo>
                  <a:lnTo>
                    <a:pt x="94" y="32"/>
                  </a:lnTo>
                  <a:lnTo>
                    <a:pt x="32" y="32"/>
                  </a:lnTo>
                  <a:lnTo>
                    <a:pt x="32" y="93"/>
                  </a:lnTo>
                  <a:lnTo>
                    <a:pt x="0" y="93"/>
                  </a:lnTo>
                  <a:lnTo>
                    <a:pt x="0" y="121"/>
                  </a:lnTo>
                  <a:lnTo>
                    <a:pt x="32" y="121"/>
                  </a:lnTo>
                  <a:lnTo>
                    <a:pt x="32" y="163"/>
                  </a:lnTo>
                  <a:lnTo>
                    <a:pt x="0" y="163"/>
                  </a:lnTo>
                  <a:lnTo>
                    <a:pt x="0" y="191"/>
                  </a:lnTo>
                  <a:lnTo>
                    <a:pt x="32" y="191"/>
                  </a:lnTo>
                  <a:lnTo>
                    <a:pt x="32" y="235"/>
                  </a:lnTo>
                  <a:lnTo>
                    <a:pt x="0" y="235"/>
                  </a:lnTo>
                  <a:lnTo>
                    <a:pt x="0" y="263"/>
                  </a:lnTo>
                  <a:lnTo>
                    <a:pt x="32" y="263"/>
                  </a:lnTo>
                  <a:lnTo>
                    <a:pt x="32" y="305"/>
                  </a:lnTo>
                  <a:lnTo>
                    <a:pt x="0" y="305"/>
                  </a:lnTo>
                  <a:lnTo>
                    <a:pt x="0" y="333"/>
                  </a:lnTo>
                  <a:lnTo>
                    <a:pt x="32" y="333"/>
                  </a:lnTo>
                  <a:lnTo>
                    <a:pt x="32" y="362"/>
                  </a:lnTo>
                  <a:lnTo>
                    <a:pt x="32" y="362"/>
                  </a:lnTo>
                  <a:lnTo>
                    <a:pt x="33" y="368"/>
                  </a:lnTo>
                  <a:lnTo>
                    <a:pt x="36" y="374"/>
                  </a:lnTo>
                  <a:lnTo>
                    <a:pt x="38" y="380"/>
                  </a:lnTo>
                  <a:lnTo>
                    <a:pt x="42" y="384"/>
                  </a:lnTo>
                  <a:lnTo>
                    <a:pt x="47" y="389"/>
                  </a:lnTo>
                  <a:lnTo>
                    <a:pt x="53" y="392"/>
                  </a:lnTo>
                  <a:lnTo>
                    <a:pt x="58" y="393"/>
                  </a:lnTo>
                  <a:lnTo>
                    <a:pt x="66" y="394"/>
                  </a:lnTo>
                  <a:lnTo>
                    <a:pt x="94" y="394"/>
                  </a:lnTo>
                  <a:lnTo>
                    <a:pt x="94" y="426"/>
                  </a:lnTo>
                  <a:lnTo>
                    <a:pt x="122" y="426"/>
                  </a:lnTo>
                  <a:lnTo>
                    <a:pt x="122" y="394"/>
                  </a:lnTo>
                  <a:lnTo>
                    <a:pt x="164" y="394"/>
                  </a:lnTo>
                  <a:lnTo>
                    <a:pt x="164" y="426"/>
                  </a:lnTo>
                  <a:lnTo>
                    <a:pt x="192" y="426"/>
                  </a:lnTo>
                  <a:lnTo>
                    <a:pt x="192" y="394"/>
                  </a:lnTo>
                  <a:lnTo>
                    <a:pt x="235" y="394"/>
                  </a:lnTo>
                  <a:lnTo>
                    <a:pt x="235" y="426"/>
                  </a:lnTo>
                  <a:lnTo>
                    <a:pt x="262" y="426"/>
                  </a:lnTo>
                  <a:lnTo>
                    <a:pt x="262" y="394"/>
                  </a:lnTo>
                  <a:lnTo>
                    <a:pt x="304" y="394"/>
                  </a:lnTo>
                  <a:lnTo>
                    <a:pt x="304" y="426"/>
                  </a:lnTo>
                  <a:lnTo>
                    <a:pt x="332" y="426"/>
                  </a:lnTo>
                  <a:lnTo>
                    <a:pt x="332" y="394"/>
                  </a:lnTo>
                  <a:lnTo>
                    <a:pt x="394" y="394"/>
                  </a:lnTo>
                  <a:lnTo>
                    <a:pt x="394" y="333"/>
                  </a:lnTo>
                  <a:lnTo>
                    <a:pt x="426" y="333"/>
                  </a:lnTo>
                  <a:lnTo>
                    <a:pt x="426" y="305"/>
                  </a:lnTo>
                  <a:lnTo>
                    <a:pt x="394" y="305"/>
                  </a:lnTo>
                  <a:lnTo>
                    <a:pt x="394" y="263"/>
                  </a:lnTo>
                  <a:lnTo>
                    <a:pt x="426" y="263"/>
                  </a:lnTo>
                  <a:lnTo>
                    <a:pt x="426" y="235"/>
                  </a:lnTo>
                  <a:lnTo>
                    <a:pt x="394" y="235"/>
                  </a:lnTo>
                  <a:lnTo>
                    <a:pt x="394" y="191"/>
                  </a:lnTo>
                  <a:lnTo>
                    <a:pt x="426" y="191"/>
                  </a:lnTo>
                  <a:lnTo>
                    <a:pt x="426" y="163"/>
                  </a:lnTo>
                  <a:lnTo>
                    <a:pt x="394" y="163"/>
                  </a:lnTo>
                  <a:lnTo>
                    <a:pt x="394" y="121"/>
                  </a:lnTo>
                  <a:lnTo>
                    <a:pt x="426" y="121"/>
                  </a:lnTo>
                  <a:close/>
                  <a:moveTo>
                    <a:pt x="359" y="360"/>
                  </a:moveTo>
                  <a:lnTo>
                    <a:pt x="67" y="360"/>
                  </a:lnTo>
                  <a:lnTo>
                    <a:pt x="67" y="66"/>
                  </a:lnTo>
                  <a:lnTo>
                    <a:pt x="359" y="66"/>
                  </a:lnTo>
                  <a:lnTo>
                    <a:pt x="359" y="36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1298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711015" y="1922000"/>
            <a:ext cx="10756088" cy="1339266"/>
          </a:xfrm>
          <a:prstGeom prst="rect">
            <a:avLst/>
          </a:prstGeom>
        </p:spPr>
        <p:txBody>
          <a:bodyPr vert="horz" wrap="square" lIns="0" tIns="60944" rIns="0" bIns="60944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865" b="1" kern="0" dirty="0">
                <a:solidFill>
                  <a:srgbClr val="0096D6"/>
                </a:solidFill>
              </a:rPr>
              <a:t>HP Labs c</a:t>
            </a:r>
            <a:r>
              <a:rPr lang="en-US" sz="5865" b="1" kern="0" dirty="0" smtClean="0">
                <a:solidFill>
                  <a:srgbClr val="0096D6"/>
                </a:solidFill>
              </a:rPr>
              <a:t>harter</a:t>
            </a:r>
            <a:r>
              <a:rPr lang="en-US" sz="5865" kern="0" dirty="0">
                <a:solidFill>
                  <a:srgbClr val="0096D6"/>
                </a:solidFill>
              </a:rPr>
              <a:t/>
            </a:r>
            <a:br>
              <a:rPr lang="en-US" sz="5865" kern="0" dirty="0">
                <a:solidFill>
                  <a:srgbClr val="0096D6"/>
                </a:solidFill>
              </a:rPr>
            </a:br>
            <a:r>
              <a:rPr lang="en-US" sz="3199" kern="0" dirty="0">
                <a:solidFill>
                  <a:schemeClr val="accent3"/>
                </a:solidFill>
              </a:rPr>
              <a:t>Delivering innovations that transform business, life, and society </a:t>
            </a:r>
            <a:endParaRPr lang="en-US" sz="3732" kern="0" dirty="0">
              <a:solidFill>
                <a:schemeClr val="accent3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711014" y="3378937"/>
            <a:ext cx="10705851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rot="5400000">
            <a:off x="5858050" y="4483000"/>
            <a:ext cx="1221884" cy="2117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rot="5400000">
            <a:off x="2945671" y="4507244"/>
            <a:ext cx="1221884" cy="2117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rot="5400000">
            <a:off x="8570050" y="4476939"/>
            <a:ext cx="1221884" cy="2117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1096787" y="3871289"/>
            <a:ext cx="2608409" cy="140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r>
              <a:rPr lang="en-US" sz="3199" b="1" dirty="0">
                <a:solidFill>
                  <a:schemeClr val="accent1"/>
                </a:solidFill>
              </a:rPr>
              <a:t>Deliver</a:t>
            </a:r>
            <a:r>
              <a:rPr lang="en-US" sz="3199" b="1" dirty="0">
                <a:solidFill>
                  <a:schemeClr val="accent3">
                    <a:lumMod val="75000"/>
                  </a:schemeClr>
                </a:solidFill>
              </a:rPr>
              <a:t/>
            </a:r>
            <a:br>
              <a:rPr lang="en-US" sz="3199" b="1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1866" dirty="0">
                <a:solidFill>
                  <a:schemeClr val="accent3">
                    <a:lumMod val="75000"/>
                  </a:schemeClr>
                </a:solidFill>
              </a:rPr>
              <a:t>breakthrough technologies </a:t>
            </a:r>
          </a:p>
        </p:txBody>
      </p:sp>
      <p:sp>
        <p:nvSpPr>
          <p:cNvPr id="14" name="Rectangle 9"/>
          <p:cNvSpPr>
            <a:spLocks noChangeArrowheads="1"/>
          </p:cNvSpPr>
          <p:nvPr/>
        </p:nvSpPr>
        <p:spPr bwMode="auto">
          <a:xfrm>
            <a:off x="3608409" y="3871289"/>
            <a:ext cx="2608409" cy="140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r>
              <a:rPr lang="en-US" sz="3199" b="1" dirty="0">
                <a:solidFill>
                  <a:schemeClr val="accent1"/>
                </a:solidFill>
              </a:rPr>
              <a:t>Create  </a:t>
            </a:r>
            <a:r>
              <a:rPr lang="en-US" sz="3199" b="1" dirty="0">
                <a:solidFill>
                  <a:schemeClr val="accent3">
                    <a:lumMod val="75000"/>
                  </a:schemeClr>
                </a:solidFill>
              </a:rPr>
              <a:t/>
            </a:r>
            <a:br>
              <a:rPr lang="en-US" sz="3199" b="1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1866" dirty="0">
                <a:solidFill>
                  <a:schemeClr val="accent3">
                    <a:lumMod val="75000"/>
                  </a:schemeClr>
                </a:solidFill>
              </a:rPr>
              <a:t>opportunities for our </a:t>
            </a:r>
            <a:br>
              <a:rPr lang="en-US" sz="1866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1866" dirty="0">
                <a:solidFill>
                  <a:schemeClr val="accent3">
                    <a:lumMod val="75000"/>
                  </a:schemeClr>
                </a:solidFill>
              </a:rPr>
              <a:t>business and customers</a:t>
            </a:r>
          </a:p>
        </p:txBody>
      </p:sp>
      <p:sp>
        <p:nvSpPr>
          <p:cNvPr id="21" name="Rectangle 9"/>
          <p:cNvSpPr>
            <a:spLocks noChangeArrowheads="1"/>
          </p:cNvSpPr>
          <p:nvPr/>
        </p:nvSpPr>
        <p:spPr bwMode="auto">
          <a:xfrm>
            <a:off x="6520787" y="3867056"/>
            <a:ext cx="2608409" cy="140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r>
              <a:rPr lang="en-US" sz="3199" b="1" dirty="0">
                <a:solidFill>
                  <a:schemeClr val="accent1"/>
                </a:solidFill>
              </a:rPr>
              <a:t>Advance</a:t>
            </a:r>
            <a:r>
              <a:rPr lang="en-US" sz="3199" b="1" dirty="0">
                <a:solidFill>
                  <a:schemeClr val="accent3">
                    <a:lumMod val="75000"/>
                  </a:schemeClr>
                </a:solidFill>
              </a:rPr>
              <a:t/>
            </a:r>
            <a:br>
              <a:rPr lang="en-US" sz="3199" b="1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1866" dirty="0">
                <a:solidFill>
                  <a:schemeClr val="accent3">
                    <a:lumMod val="75000"/>
                  </a:schemeClr>
                </a:solidFill>
              </a:rPr>
              <a:t>fundamental</a:t>
            </a:r>
            <a:br>
              <a:rPr lang="en-US" sz="1866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1866" dirty="0">
                <a:solidFill>
                  <a:schemeClr val="accent3">
                    <a:lumMod val="75000"/>
                  </a:schemeClr>
                </a:solidFill>
              </a:rPr>
              <a:t>science</a:t>
            </a: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9232787" y="3871289"/>
            <a:ext cx="2086922" cy="140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r>
              <a:rPr lang="en-US" sz="3199" b="1" dirty="0">
                <a:solidFill>
                  <a:schemeClr val="accent1"/>
                </a:solidFill>
              </a:rPr>
              <a:t>Engage</a:t>
            </a:r>
            <a:r>
              <a:rPr lang="en-US" sz="3199" b="1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br>
              <a:rPr lang="en-US" sz="3199" b="1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1866" dirty="0">
                <a:solidFill>
                  <a:schemeClr val="accent3">
                    <a:lumMod val="75000"/>
                  </a:schemeClr>
                </a:solidFill>
              </a:rPr>
              <a:t>with customers </a:t>
            </a:r>
            <a:br>
              <a:rPr lang="en-US" sz="1866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1866" dirty="0">
                <a:solidFill>
                  <a:schemeClr val="accent3">
                    <a:lumMod val="75000"/>
                  </a:schemeClr>
                </a:solidFill>
              </a:rPr>
              <a:t>and partners </a:t>
            </a:r>
          </a:p>
        </p:txBody>
      </p:sp>
      <p:sp>
        <p:nvSpPr>
          <p:cNvPr id="23" name="Freeform 112"/>
          <p:cNvSpPr>
            <a:spLocks/>
          </p:cNvSpPr>
          <p:nvPr/>
        </p:nvSpPr>
        <p:spPr bwMode="auto">
          <a:xfrm rot="5400000">
            <a:off x="1278854" y="3604499"/>
            <a:ext cx="174668" cy="324373"/>
          </a:xfrm>
          <a:custGeom>
            <a:avLst/>
            <a:gdLst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9762 w 10000"/>
              <a:gd name="connsiteY31" fmla="*/ 2532 h 10000"/>
              <a:gd name="connsiteX32" fmla="*/ 10000 w 10000"/>
              <a:gd name="connsiteY32" fmla="*/ 2876 h 10000"/>
              <a:gd name="connsiteX33" fmla="*/ 10000 w 10000"/>
              <a:gd name="connsiteY33" fmla="*/ 7124 h 10000"/>
              <a:gd name="connsiteX34" fmla="*/ 10000 w 10000"/>
              <a:gd name="connsiteY34" fmla="*/ 7468 h 10000"/>
              <a:gd name="connsiteX35" fmla="*/ 9762 w 10000"/>
              <a:gd name="connsiteY35" fmla="*/ 7468 h 10000"/>
              <a:gd name="connsiteX36" fmla="*/ 6429 w 10000"/>
              <a:gd name="connsiteY36" fmla="*/ 7468 h 10000"/>
              <a:gd name="connsiteX37" fmla="*/ 6429 w 10000"/>
              <a:gd name="connsiteY37" fmla="*/ 8498 h 10000"/>
              <a:gd name="connsiteX38" fmla="*/ 6429 w 10000"/>
              <a:gd name="connsiteY38" fmla="*/ 8498 h 10000"/>
              <a:gd name="connsiteX39" fmla="*/ 6399 w 10000"/>
              <a:gd name="connsiteY39" fmla="*/ 8841 h 10000"/>
              <a:gd name="connsiteX40" fmla="*/ 6369 w 10000"/>
              <a:gd name="connsiteY40" fmla="*/ 9099 h 10000"/>
              <a:gd name="connsiteX41" fmla="*/ 6310 w 10000"/>
              <a:gd name="connsiteY41" fmla="*/ 9356 h 10000"/>
              <a:gd name="connsiteX42" fmla="*/ 6190 w 10000"/>
              <a:gd name="connsiteY42" fmla="*/ 9571 h 10000"/>
              <a:gd name="connsiteX43" fmla="*/ 6071 w 10000"/>
              <a:gd name="connsiteY43" fmla="*/ 9742 h 10000"/>
              <a:gd name="connsiteX44" fmla="*/ 5952 w 10000"/>
              <a:gd name="connsiteY44" fmla="*/ 9871 h 10000"/>
              <a:gd name="connsiteX45" fmla="*/ 5774 w 10000"/>
              <a:gd name="connsiteY45" fmla="*/ 9957 h 10000"/>
              <a:gd name="connsiteX46" fmla="*/ 5625 w 10000"/>
              <a:gd name="connsiteY46" fmla="*/ 10000 h 10000"/>
              <a:gd name="connsiteX47" fmla="*/ 5625 w 10000"/>
              <a:gd name="connsiteY47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2876 h 10000"/>
              <a:gd name="connsiteX32" fmla="*/ 10000 w 10000"/>
              <a:gd name="connsiteY32" fmla="*/ 7124 h 10000"/>
              <a:gd name="connsiteX33" fmla="*/ 10000 w 10000"/>
              <a:gd name="connsiteY33" fmla="*/ 7468 h 10000"/>
              <a:gd name="connsiteX34" fmla="*/ 9762 w 10000"/>
              <a:gd name="connsiteY34" fmla="*/ 7468 h 10000"/>
              <a:gd name="connsiteX35" fmla="*/ 6429 w 10000"/>
              <a:gd name="connsiteY35" fmla="*/ 7468 h 10000"/>
              <a:gd name="connsiteX36" fmla="*/ 6429 w 10000"/>
              <a:gd name="connsiteY36" fmla="*/ 8498 h 10000"/>
              <a:gd name="connsiteX37" fmla="*/ 6429 w 10000"/>
              <a:gd name="connsiteY37" fmla="*/ 8498 h 10000"/>
              <a:gd name="connsiteX38" fmla="*/ 6399 w 10000"/>
              <a:gd name="connsiteY38" fmla="*/ 8841 h 10000"/>
              <a:gd name="connsiteX39" fmla="*/ 6369 w 10000"/>
              <a:gd name="connsiteY39" fmla="*/ 9099 h 10000"/>
              <a:gd name="connsiteX40" fmla="*/ 6310 w 10000"/>
              <a:gd name="connsiteY40" fmla="*/ 9356 h 10000"/>
              <a:gd name="connsiteX41" fmla="*/ 6190 w 10000"/>
              <a:gd name="connsiteY41" fmla="*/ 9571 h 10000"/>
              <a:gd name="connsiteX42" fmla="*/ 6071 w 10000"/>
              <a:gd name="connsiteY42" fmla="*/ 9742 h 10000"/>
              <a:gd name="connsiteX43" fmla="*/ 5952 w 10000"/>
              <a:gd name="connsiteY43" fmla="*/ 9871 h 10000"/>
              <a:gd name="connsiteX44" fmla="*/ 5774 w 10000"/>
              <a:gd name="connsiteY44" fmla="*/ 9957 h 10000"/>
              <a:gd name="connsiteX45" fmla="*/ 5625 w 10000"/>
              <a:gd name="connsiteY45" fmla="*/ 10000 h 10000"/>
              <a:gd name="connsiteX46" fmla="*/ 5625 w 10000"/>
              <a:gd name="connsiteY46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9762 w 10000"/>
              <a:gd name="connsiteY33" fmla="*/ 7468 h 10000"/>
              <a:gd name="connsiteX34" fmla="*/ 6429 w 10000"/>
              <a:gd name="connsiteY34" fmla="*/ 7468 h 10000"/>
              <a:gd name="connsiteX35" fmla="*/ 6429 w 10000"/>
              <a:gd name="connsiteY35" fmla="*/ 8498 h 10000"/>
              <a:gd name="connsiteX36" fmla="*/ 6429 w 10000"/>
              <a:gd name="connsiteY36" fmla="*/ 8498 h 10000"/>
              <a:gd name="connsiteX37" fmla="*/ 6399 w 10000"/>
              <a:gd name="connsiteY37" fmla="*/ 8841 h 10000"/>
              <a:gd name="connsiteX38" fmla="*/ 6369 w 10000"/>
              <a:gd name="connsiteY38" fmla="*/ 9099 h 10000"/>
              <a:gd name="connsiteX39" fmla="*/ 6310 w 10000"/>
              <a:gd name="connsiteY39" fmla="*/ 9356 h 10000"/>
              <a:gd name="connsiteX40" fmla="*/ 6190 w 10000"/>
              <a:gd name="connsiteY40" fmla="*/ 9571 h 10000"/>
              <a:gd name="connsiteX41" fmla="*/ 6071 w 10000"/>
              <a:gd name="connsiteY41" fmla="*/ 9742 h 10000"/>
              <a:gd name="connsiteX42" fmla="*/ 5952 w 10000"/>
              <a:gd name="connsiteY42" fmla="*/ 9871 h 10000"/>
              <a:gd name="connsiteX43" fmla="*/ 5774 w 10000"/>
              <a:gd name="connsiteY43" fmla="*/ 9957 h 10000"/>
              <a:gd name="connsiteX44" fmla="*/ 5625 w 10000"/>
              <a:gd name="connsiteY44" fmla="*/ 10000 h 10000"/>
              <a:gd name="connsiteX45" fmla="*/ 5625 w 10000"/>
              <a:gd name="connsiteY45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6429 w 10000"/>
              <a:gd name="connsiteY33" fmla="*/ 7468 h 10000"/>
              <a:gd name="connsiteX34" fmla="*/ 6429 w 10000"/>
              <a:gd name="connsiteY34" fmla="*/ 8498 h 10000"/>
              <a:gd name="connsiteX35" fmla="*/ 6429 w 10000"/>
              <a:gd name="connsiteY35" fmla="*/ 8498 h 10000"/>
              <a:gd name="connsiteX36" fmla="*/ 6399 w 10000"/>
              <a:gd name="connsiteY36" fmla="*/ 8841 h 10000"/>
              <a:gd name="connsiteX37" fmla="*/ 6369 w 10000"/>
              <a:gd name="connsiteY37" fmla="*/ 9099 h 10000"/>
              <a:gd name="connsiteX38" fmla="*/ 6310 w 10000"/>
              <a:gd name="connsiteY38" fmla="*/ 9356 h 10000"/>
              <a:gd name="connsiteX39" fmla="*/ 6190 w 10000"/>
              <a:gd name="connsiteY39" fmla="*/ 9571 h 10000"/>
              <a:gd name="connsiteX40" fmla="*/ 6071 w 10000"/>
              <a:gd name="connsiteY40" fmla="*/ 9742 h 10000"/>
              <a:gd name="connsiteX41" fmla="*/ 5952 w 10000"/>
              <a:gd name="connsiteY41" fmla="*/ 9871 h 10000"/>
              <a:gd name="connsiteX42" fmla="*/ 5774 w 10000"/>
              <a:gd name="connsiteY42" fmla="*/ 9957 h 10000"/>
              <a:gd name="connsiteX43" fmla="*/ 5625 w 10000"/>
              <a:gd name="connsiteY43" fmla="*/ 10000 h 10000"/>
              <a:gd name="connsiteX44" fmla="*/ 5625 w 10000"/>
              <a:gd name="connsiteY44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6429 w 10000"/>
              <a:gd name="connsiteY32" fmla="*/ 7468 h 10000"/>
              <a:gd name="connsiteX33" fmla="*/ 6429 w 10000"/>
              <a:gd name="connsiteY33" fmla="*/ 8498 h 10000"/>
              <a:gd name="connsiteX34" fmla="*/ 6429 w 10000"/>
              <a:gd name="connsiteY34" fmla="*/ 8498 h 10000"/>
              <a:gd name="connsiteX35" fmla="*/ 6399 w 10000"/>
              <a:gd name="connsiteY35" fmla="*/ 8841 h 10000"/>
              <a:gd name="connsiteX36" fmla="*/ 6369 w 10000"/>
              <a:gd name="connsiteY36" fmla="*/ 9099 h 10000"/>
              <a:gd name="connsiteX37" fmla="*/ 6310 w 10000"/>
              <a:gd name="connsiteY37" fmla="*/ 9356 h 10000"/>
              <a:gd name="connsiteX38" fmla="*/ 6190 w 10000"/>
              <a:gd name="connsiteY38" fmla="*/ 9571 h 10000"/>
              <a:gd name="connsiteX39" fmla="*/ 6071 w 10000"/>
              <a:gd name="connsiteY39" fmla="*/ 9742 h 10000"/>
              <a:gd name="connsiteX40" fmla="*/ 5952 w 10000"/>
              <a:gd name="connsiteY40" fmla="*/ 9871 h 10000"/>
              <a:gd name="connsiteX41" fmla="*/ 5774 w 10000"/>
              <a:gd name="connsiteY41" fmla="*/ 9957 h 10000"/>
              <a:gd name="connsiteX42" fmla="*/ 5625 w 10000"/>
              <a:gd name="connsiteY42" fmla="*/ 10000 h 10000"/>
              <a:gd name="connsiteX43" fmla="*/ 5625 w 10000"/>
              <a:gd name="connsiteY43" fmla="*/ 10000 h 10000"/>
              <a:gd name="connsiteX0" fmla="*/ 5625 w 6429"/>
              <a:gd name="connsiteY0" fmla="*/ 10000 h 10000"/>
              <a:gd name="connsiteX1" fmla="*/ 5625 w 6429"/>
              <a:gd name="connsiteY1" fmla="*/ 10000 h 10000"/>
              <a:gd name="connsiteX2" fmla="*/ 5476 w 6429"/>
              <a:gd name="connsiteY2" fmla="*/ 9957 h 10000"/>
              <a:gd name="connsiteX3" fmla="*/ 5357 w 6429"/>
              <a:gd name="connsiteY3" fmla="*/ 9914 h 10000"/>
              <a:gd name="connsiteX4" fmla="*/ 5089 w 6429"/>
              <a:gd name="connsiteY4" fmla="*/ 9785 h 10000"/>
              <a:gd name="connsiteX5" fmla="*/ 536 w 6429"/>
              <a:gd name="connsiteY5" fmla="*/ 6094 h 10000"/>
              <a:gd name="connsiteX6" fmla="*/ 536 w 6429"/>
              <a:gd name="connsiteY6" fmla="*/ 6094 h 10000"/>
              <a:gd name="connsiteX7" fmla="*/ 298 w 6429"/>
              <a:gd name="connsiteY7" fmla="*/ 5880 h 10000"/>
              <a:gd name="connsiteX8" fmla="*/ 119 w 6429"/>
              <a:gd name="connsiteY8" fmla="*/ 5579 h 10000"/>
              <a:gd name="connsiteX9" fmla="*/ 30 w 6429"/>
              <a:gd name="connsiteY9" fmla="*/ 5322 h 10000"/>
              <a:gd name="connsiteX10" fmla="*/ 0 w 6429"/>
              <a:gd name="connsiteY10" fmla="*/ 4979 h 10000"/>
              <a:gd name="connsiteX11" fmla="*/ 0 w 6429"/>
              <a:gd name="connsiteY11" fmla="*/ 4979 h 10000"/>
              <a:gd name="connsiteX12" fmla="*/ 30 w 6429"/>
              <a:gd name="connsiteY12" fmla="*/ 4678 h 10000"/>
              <a:gd name="connsiteX13" fmla="*/ 119 w 6429"/>
              <a:gd name="connsiteY13" fmla="*/ 4378 h 10000"/>
              <a:gd name="connsiteX14" fmla="*/ 298 w 6429"/>
              <a:gd name="connsiteY14" fmla="*/ 4120 h 10000"/>
              <a:gd name="connsiteX15" fmla="*/ 536 w 6429"/>
              <a:gd name="connsiteY15" fmla="*/ 3906 h 10000"/>
              <a:gd name="connsiteX16" fmla="*/ 5089 w 6429"/>
              <a:gd name="connsiteY16" fmla="*/ 215 h 10000"/>
              <a:gd name="connsiteX17" fmla="*/ 5089 w 6429"/>
              <a:gd name="connsiteY17" fmla="*/ 215 h 10000"/>
              <a:gd name="connsiteX18" fmla="*/ 5357 w 6429"/>
              <a:gd name="connsiteY18" fmla="*/ 86 h 10000"/>
              <a:gd name="connsiteX19" fmla="*/ 5476 w 6429"/>
              <a:gd name="connsiteY19" fmla="*/ 43 h 10000"/>
              <a:gd name="connsiteX20" fmla="*/ 5625 w 6429"/>
              <a:gd name="connsiteY20" fmla="*/ 0 h 10000"/>
              <a:gd name="connsiteX21" fmla="*/ 5625 w 6429"/>
              <a:gd name="connsiteY21" fmla="*/ 0 h 10000"/>
              <a:gd name="connsiteX22" fmla="*/ 5774 w 6429"/>
              <a:gd name="connsiteY22" fmla="*/ 43 h 10000"/>
              <a:gd name="connsiteX23" fmla="*/ 5923 w 6429"/>
              <a:gd name="connsiteY23" fmla="*/ 86 h 10000"/>
              <a:gd name="connsiteX24" fmla="*/ 6042 w 6429"/>
              <a:gd name="connsiteY24" fmla="*/ 215 h 10000"/>
              <a:gd name="connsiteX25" fmla="*/ 6161 w 6429"/>
              <a:gd name="connsiteY25" fmla="*/ 386 h 10000"/>
              <a:gd name="connsiteX26" fmla="*/ 6280 w 6429"/>
              <a:gd name="connsiteY26" fmla="*/ 558 h 10000"/>
              <a:gd name="connsiteX27" fmla="*/ 6369 w 6429"/>
              <a:gd name="connsiteY27" fmla="*/ 815 h 10000"/>
              <a:gd name="connsiteX28" fmla="*/ 6399 w 6429"/>
              <a:gd name="connsiteY28" fmla="*/ 1116 h 10000"/>
              <a:gd name="connsiteX29" fmla="*/ 6429 w 6429"/>
              <a:gd name="connsiteY29" fmla="*/ 1502 h 10000"/>
              <a:gd name="connsiteX30" fmla="*/ 6429 w 6429"/>
              <a:gd name="connsiteY30" fmla="*/ 2532 h 10000"/>
              <a:gd name="connsiteX31" fmla="*/ 6429 w 6429"/>
              <a:gd name="connsiteY31" fmla="*/ 7468 h 10000"/>
              <a:gd name="connsiteX32" fmla="*/ 6429 w 6429"/>
              <a:gd name="connsiteY32" fmla="*/ 8498 h 10000"/>
              <a:gd name="connsiteX33" fmla="*/ 6429 w 6429"/>
              <a:gd name="connsiteY33" fmla="*/ 8498 h 10000"/>
              <a:gd name="connsiteX34" fmla="*/ 6399 w 6429"/>
              <a:gd name="connsiteY34" fmla="*/ 8841 h 10000"/>
              <a:gd name="connsiteX35" fmla="*/ 6369 w 6429"/>
              <a:gd name="connsiteY35" fmla="*/ 9099 h 10000"/>
              <a:gd name="connsiteX36" fmla="*/ 6310 w 6429"/>
              <a:gd name="connsiteY36" fmla="*/ 9356 h 10000"/>
              <a:gd name="connsiteX37" fmla="*/ 6190 w 6429"/>
              <a:gd name="connsiteY37" fmla="*/ 9571 h 10000"/>
              <a:gd name="connsiteX38" fmla="*/ 6071 w 6429"/>
              <a:gd name="connsiteY38" fmla="*/ 9742 h 10000"/>
              <a:gd name="connsiteX39" fmla="*/ 5952 w 6429"/>
              <a:gd name="connsiteY39" fmla="*/ 9871 h 10000"/>
              <a:gd name="connsiteX40" fmla="*/ 5774 w 6429"/>
              <a:gd name="connsiteY40" fmla="*/ 9957 h 10000"/>
              <a:gd name="connsiteX41" fmla="*/ 5625 w 6429"/>
              <a:gd name="connsiteY41" fmla="*/ 10000 h 10000"/>
              <a:gd name="connsiteX42" fmla="*/ 5625 w 6429"/>
              <a:gd name="connsiteY42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429" h="10000">
                <a:moveTo>
                  <a:pt x="5625" y="10000"/>
                </a:moveTo>
                <a:lnTo>
                  <a:pt x="5625" y="10000"/>
                </a:lnTo>
                <a:lnTo>
                  <a:pt x="5476" y="9957"/>
                </a:lnTo>
                <a:cubicBezTo>
                  <a:pt x="5436" y="9943"/>
                  <a:pt x="5397" y="9928"/>
                  <a:pt x="5357" y="9914"/>
                </a:cubicBezTo>
                <a:lnTo>
                  <a:pt x="5089" y="9785"/>
                </a:lnTo>
                <a:lnTo>
                  <a:pt x="536" y="6094"/>
                </a:lnTo>
                <a:lnTo>
                  <a:pt x="536" y="6094"/>
                </a:lnTo>
                <a:lnTo>
                  <a:pt x="298" y="5880"/>
                </a:lnTo>
                <a:cubicBezTo>
                  <a:pt x="238" y="5780"/>
                  <a:pt x="179" y="5679"/>
                  <a:pt x="119" y="5579"/>
                </a:cubicBezTo>
                <a:cubicBezTo>
                  <a:pt x="89" y="5493"/>
                  <a:pt x="60" y="5408"/>
                  <a:pt x="30" y="5322"/>
                </a:cubicBezTo>
                <a:cubicBezTo>
                  <a:pt x="20" y="5208"/>
                  <a:pt x="10" y="5093"/>
                  <a:pt x="0" y="4979"/>
                </a:cubicBezTo>
                <a:lnTo>
                  <a:pt x="0" y="4979"/>
                </a:lnTo>
                <a:cubicBezTo>
                  <a:pt x="10" y="4879"/>
                  <a:pt x="20" y="4778"/>
                  <a:pt x="30" y="4678"/>
                </a:cubicBezTo>
                <a:cubicBezTo>
                  <a:pt x="60" y="4578"/>
                  <a:pt x="89" y="4478"/>
                  <a:pt x="119" y="4378"/>
                </a:cubicBezTo>
                <a:lnTo>
                  <a:pt x="298" y="4120"/>
                </a:lnTo>
                <a:lnTo>
                  <a:pt x="536" y="3906"/>
                </a:lnTo>
                <a:lnTo>
                  <a:pt x="5089" y="215"/>
                </a:lnTo>
                <a:lnTo>
                  <a:pt x="5089" y="215"/>
                </a:lnTo>
                <a:lnTo>
                  <a:pt x="5357" y="86"/>
                </a:lnTo>
                <a:cubicBezTo>
                  <a:pt x="5397" y="72"/>
                  <a:pt x="5436" y="57"/>
                  <a:pt x="5476" y="43"/>
                </a:cubicBezTo>
                <a:lnTo>
                  <a:pt x="5625" y="0"/>
                </a:lnTo>
                <a:lnTo>
                  <a:pt x="5625" y="0"/>
                </a:lnTo>
                <a:lnTo>
                  <a:pt x="5774" y="43"/>
                </a:lnTo>
                <a:lnTo>
                  <a:pt x="5923" y="86"/>
                </a:lnTo>
                <a:lnTo>
                  <a:pt x="6042" y="215"/>
                </a:lnTo>
                <a:cubicBezTo>
                  <a:pt x="6082" y="272"/>
                  <a:pt x="6121" y="329"/>
                  <a:pt x="6161" y="386"/>
                </a:cubicBezTo>
                <a:cubicBezTo>
                  <a:pt x="6201" y="443"/>
                  <a:pt x="6240" y="501"/>
                  <a:pt x="6280" y="558"/>
                </a:cubicBezTo>
                <a:cubicBezTo>
                  <a:pt x="6310" y="644"/>
                  <a:pt x="6339" y="729"/>
                  <a:pt x="6369" y="815"/>
                </a:cubicBezTo>
                <a:cubicBezTo>
                  <a:pt x="6379" y="915"/>
                  <a:pt x="6389" y="1016"/>
                  <a:pt x="6399" y="1116"/>
                </a:cubicBezTo>
                <a:cubicBezTo>
                  <a:pt x="6409" y="1245"/>
                  <a:pt x="6419" y="1373"/>
                  <a:pt x="6429" y="1502"/>
                </a:cubicBezTo>
                <a:lnTo>
                  <a:pt x="6429" y="2532"/>
                </a:lnTo>
                <a:lnTo>
                  <a:pt x="6429" y="7468"/>
                </a:lnTo>
                <a:lnTo>
                  <a:pt x="6429" y="8498"/>
                </a:lnTo>
                <a:lnTo>
                  <a:pt x="6429" y="8498"/>
                </a:lnTo>
                <a:cubicBezTo>
                  <a:pt x="6419" y="8612"/>
                  <a:pt x="6409" y="8727"/>
                  <a:pt x="6399" y="8841"/>
                </a:cubicBezTo>
                <a:lnTo>
                  <a:pt x="6369" y="9099"/>
                </a:lnTo>
                <a:cubicBezTo>
                  <a:pt x="6349" y="9185"/>
                  <a:pt x="6330" y="9270"/>
                  <a:pt x="6310" y="9356"/>
                </a:cubicBezTo>
                <a:lnTo>
                  <a:pt x="6190" y="9571"/>
                </a:lnTo>
                <a:cubicBezTo>
                  <a:pt x="6150" y="9628"/>
                  <a:pt x="6111" y="9685"/>
                  <a:pt x="6071" y="9742"/>
                </a:cubicBezTo>
                <a:lnTo>
                  <a:pt x="5952" y="9871"/>
                </a:lnTo>
                <a:lnTo>
                  <a:pt x="5774" y="9957"/>
                </a:lnTo>
                <a:lnTo>
                  <a:pt x="5625" y="10000"/>
                </a:lnTo>
                <a:lnTo>
                  <a:pt x="5625" y="1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6">
              <a:solidFill>
                <a:prstClr val="white"/>
              </a:solidFill>
            </a:endParaRPr>
          </a:p>
        </p:txBody>
      </p:sp>
      <p:sp>
        <p:nvSpPr>
          <p:cNvPr id="24" name="Freeform 112"/>
          <p:cNvSpPr>
            <a:spLocks/>
          </p:cNvSpPr>
          <p:nvPr/>
        </p:nvSpPr>
        <p:spPr bwMode="auto">
          <a:xfrm rot="5400000">
            <a:off x="3793612" y="3604497"/>
            <a:ext cx="174669" cy="324373"/>
          </a:xfrm>
          <a:custGeom>
            <a:avLst/>
            <a:gdLst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9762 w 10000"/>
              <a:gd name="connsiteY31" fmla="*/ 2532 h 10000"/>
              <a:gd name="connsiteX32" fmla="*/ 10000 w 10000"/>
              <a:gd name="connsiteY32" fmla="*/ 2876 h 10000"/>
              <a:gd name="connsiteX33" fmla="*/ 10000 w 10000"/>
              <a:gd name="connsiteY33" fmla="*/ 7124 h 10000"/>
              <a:gd name="connsiteX34" fmla="*/ 10000 w 10000"/>
              <a:gd name="connsiteY34" fmla="*/ 7468 h 10000"/>
              <a:gd name="connsiteX35" fmla="*/ 9762 w 10000"/>
              <a:gd name="connsiteY35" fmla="*/ 7468 h 10000"/>
              <a:gd name="connsiteX36" fmla="*/ 6429 w 10000"/>
              <a:gd name="connsiteY36" fmla="*/ 7468 h 10000"/>
              <a:gd name="connsiteX37" fmla="*/ 6429 w 10000"/>
              <a:gd name="connsiteY37" fmla="*/ 8498 h 10000"/>
              <a:gd name="connsiteX38" fmla="*/ 6429 w 10000"/>
              <a:gd name="connsiteY38" fmla="*/ 8498 h 10000"/>
              <a:gd name="connsiteX39" fmla="*/ 6399 w 10000"/>
              <a:gd name="connsiteY39" fmla="*/ 8841 h 10000"/>
              <a:gd name="connsiteX40" fmla="*/ 6369 w 10000"/>
              <a:gd name="connsiteY40" fmla="*/ 9099 h 10000"/>
              <a:gd name="connsiteX41" fmla="*/ 6310 w 10000"/>
              <a:gd name="connsiteY41" fmla="*/ 9356 h 10000"/>
              <a:gd name="connsiteX42" fmla="*/ 6190 w 10000"/>
              <a:gd name="connsiteY42" fmla="*/ 9571 h 10000"/>
              <a:gd name="connsiteX43" fmla="*/ 6071 w 10000"/>
              <a:gd name="connsiteY43" fmla="*/ 9742 h 10000"/>
              <a:gd name="connsiteX44" fmla="*/ 5952 w 10000"/>
              <a:gd name="connsiteY44" fmla="*/ 9871 h 10000"/>
              <a:gd name="connsiteX45" fmla="*/ 5774 w 10000"/>
              <a:gd name="connsiteY45" fmla="*/ 9957 h 10000"/>
              <a:gd name="connsiteX46" fmla="*/ 5625 w 10000"/>
              <a:gd name="connsiteY46" fmla="*/ 10000 h 10000"/>
              <a:gd name="connsiteX47" fmla="*/ 5625 w 10000"/>
              <a:gd name="connsiteY47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2876 h 10000"/>
              <a:gd name="connsiteX32" fmla="*/ 10000 w 10000"/>
              <a:gd name="connsiteY32" fmla="*/ 7124 h 10000"/>
              <a:gd name="connsiteX33" fmla="*/ 10000 w 10000"/>
              <a:gd name="connsiteY33" fmla="*/ 7468 h 10000"/>
              <a:gd name="connsiteX34" fmla="*/ 9762 w 10000"/>
              <a:gd name="connsiteY34" fmla="*/ 7468 h 10000"/>
              <a:gd name="connsiteX35" fmla="*/ 6429 w 10000"/>
              <a:gd name="connsiteY35" fmla="*/ 7468 h 10000"/>
              <a:gd name="connsiteX36" fmla="*/ 6429 w 10000"/>
              <a:gd name="connsiteY36" fmla="*/ 8498 h 10000"/>
              <a:gd name="connsiteX37" fmla="*/ 6429 w 10000"/>
              <a:gd name="connsiteY37" fmla="*/ 8498 h 10000"/>
              <a:gd name="connsiteX38" fmla="*/ 6399 w 10000"/>
              <a:gd name="connsiteY38" fmla="*/ 8841 h 10000"/>
              <a:gd name="connsiteX39" fmla="*/ 6369 w 10000"/>
              <a:gd name="connsiteY39" fmla="*/ 9099 h 10000"/>
              <a:gd name="connsiteX40" fmla="*/ 6310 w 10000"/>
              <a:gd name="connsiteY40" fmla="*/ 9356 h 10000"/>
              <a:gd name="connsiteX41" fmla="*/ 6190 w 10000"/>
              <a:gd name="connsiteY41" fmla="*/ 9571 h 10000"/>
              <a:gd name="connsiteX42" fmla="*/ 6071 w 10000"/>
              <a:gd name="connsiteY42" fmla="*/ 9742 h 10000"/>
              <a:gd name="connsiteX43" fmla="*/ 5952 w 10000"/>
              <a:gd name="connsiteY43" fmla="*/ 9871 h 10000"/>
              <a:gd name="connsiteX44" fmla="*/ 5774 w 10000"/>
              <a:gd name="connsiteY44" fmla="*/ 9957 h 10000"/>
              <a:gd name="connsiteX45" fmla="*/ 5625 w 10000"/>
              <a:gd name="connsiteY45" fmla="*/ 10000 h 10000"/>
              <a:gd name="connsiteX46" fmla="*/ 5625 w 10000"/>
              <a:gd name="connsiteY46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9762 w 10000"/>
              <a:gd name="connsiteY33" fmla="*/ 7468 h 10000"/>
              <a:gd name="connsiteX34" fmla="*/ 6429 w 10000"/>
              <a:gd name="connsiteY34" fmla="*/ 7468 h 10000"/>
              <a:gd name="connsiteX35" fmla="*/ 6429 w 10000"/>
              <a:gd name="connsiteY35" fmla="*/ 8498 h 10000"/>
              <a:gd name="connsiteX36" fmla="*/ 6429 w 10000"/>
              <a:gd name="connsiteY36" fmla="*/ 8498 h 10000"/>
              <a:gd name="connsiteX37" fmla="*/ 6399 w 10000"/>
              <a:gd name="connsiteY37" fmla="*/ 8841 h 10000"/>
              <a:gd name="connsiteX38" fmla="*/ 6369 w 10000"/>
              <a:gd name="connsiteY38" fmla="*/ 9099 h 10000"/>
              <a:gd name="connsiteX39" fmla="*/ 6310 w 10000"/>
              <a:gd name="connsiteY39" fmla="*/ 9356 h 10000"/>
              <a:gd name="connsiteX40" fmla="*/ 6190 w 10000"/>
              <a:gd name="connsiteY40" fmla="*/ 9571 h 10000"/>
              <a:gd name="connsiteX41" fmla="*/ 6071 w 10000"/>
              <a:gd name="connsiteY41" fmla="*/ 9742 h 10000"/>
              <a:gd name="connsiteX42" fmla="*/ 5952 w 10000"/>
              <a:gd name="connsiteY42" fmla="*/ 9871 h 10000"/>
              <a:gd name="connsiteX43" fmla="*/ 5774 w 10000"/>
              <a:gd name="connsiteY43" fmla="*/ 9957 h 10000"/>
              <a:gd name="connsiteX44" fmla="*/ 5625 w 10000"/>
              <a:gd name="connsiteY44" fmla="*/ 10000 h 10000"/>
              <a:gd name="connsiteX45" fmla="*/ 5625 w 10000"/>
              <a:gd name="connsiteY45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6429 w 10000"/>
              <a:gd name="connsiteY33" fmla="*/ 7468 h 10000"/>
              <a:gd name="connsiteX34" fmla="*/ 6429 w 10000"/>
              <a:gd name="connsiteY34" fmla="*/ 8498 h 10000"/>
              <a:gd name="connsiteX35" fmla="*/ 6429 w 10000"/>
              <a:gd name="connsiteY35" fmla="*/ 8498 h 10000"/>
              <a:gd name="connsiteX36" fmla="*/ 6399 w 10000"/>
              <a:gd name="connsiteY36" fmla="*/ 8841 h 10000"/>
              <a:gd name="connsiteX37" fmla="*/ 6369 w 10000"/>
              <a:gd name="connsiteY37" fmla="*/ 9099 h 10000"/>
              <a:gd name="connsiteX38" fmla="*/ 6310 w 10000"/>
              <a:gd name="connsiteY38" fmla="*/ 9356 h 10000"/>
              <a:gd name="connsiteX39" fmla="*/ 6190 w 10000"/>
              <a:gd name="connsiteY39" fmla="*/ 9571 h 10000"/>
              <a:gd name="connsiteX40" fmla="*/ 6071 w 10000"/>
              <a:gd name="connsiteY40" fmla="*/ 9742 h 10000"/>
              <a:gd name="connsiteX41" fmla="*/ 5952 w 10000"/>
              <a:gd name="connsiteY41" fmla="*/ 9871 h 10000"/>
              <a:gd name="connsiteX42" fmla="*/ 5774 w 10000"/>
              <a:gd name="connsiteY42" fmla="*/ 9957 h 10000"/>
              <a:gd name="connsiteX43" fmla="*/ 5625 w 10000"/>
              <a:gd name="connsiteY43" fmla="*/ 10000 h 10000"/>
              <a:gd name="connsiteX44" fmla="*/ 5625 w 10000"/>
              <a:gd name="connsiteY44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6429 w 10000"/>
              <a:gd name="connsiteY32" fmla="*/ 7468 h 10000"/>
              <a:gd name="connsiteX33" fmla="*/ 6429 w 10000"/>
              <a:gd name="connsiteY33" fmla="*/ 8498 h 10000"/>
              <a:gd name="connsiteX34" fmla="*/ 6429 w 10000"/>
              <a:gd name="connsiteY34" fmla="*/ 8498 h 10000"/>
              <a:gd name="connsiteX35" fmla="*/ 6399 w 10000"/>
              <a:gd name="connsiteY35" fmla="*/ 8841 h 10000"/>
              <a:gd name="connsiteX36" fmla="*/ 6369 w 10000"/>
              <a:gd name="connsiteY36" fmla="*/ 9099 h 10000"/>
              <a:gd name="connsiteX37" fmla="*/ 6310 w 10000"/>
              <a:gd name="connsiteY37" fmla="*/ 9356 h 10000"/>
              <a:gd name="connsiteX38" fmla="*/ 6190 w 10000"/>
              <a:gd name="connsiteY38" fmla="*/ 9571 h 10000"/>
              <a:gd name="connsiteX39" fmla="*/ 6071 w 10000"/>
              <a:gd name="connsiteY39" fmla="*/ 9742 h 10000"/>
              <a:gd name="connsiteX40" fmla="*/ 5952 w 10000"/>
              <a:gd name="connsiteY40" fmla="*/ 9871 h 10000"/>
              <a:gd name="connsiteX41" fmla="*/ 5774 w 10000"/>
              <a:gd name="connsiteY41" fmla="*/ 9957 h 10000"/>
              <a:gd name="connsiteX42" fmla="*/ 5625 w 10000"/>
              <a:gd name="connsiteY42" fmla="*/ 10000 h 10000"/>
              <a:gd name="connsiteX43" fmla="*/ 5625 w 10000"/>
              <a:gd name="connsiteY43" fmla="*/ 10000 h 10000"/>
              <a:gd name="connsiteX0" fmla="*/ 5625 w 6429"/>
              <a:gd name="connsiteY0" fmla="*/ 10000 h 10000"/>
              <a:gd name="connsiteX1" fmla="*/ 5625 w 6429"/>
              <a:gd name="connsiteY1" fmla="*/ 10000 h 10000"/>
              <a:gd name="connsiteX2" fmla="*/ 5476 w 6429"/>
              <a:gd name="connsiteY2" fmla="*/ 9957 h 10000"/>
              <a:gd name="connsiteX3" fmla="*/ 5357 w 6429"/>
              <a:gd name="connsiteY3" fmla="*/ 9914 h 10000"/>
              <a:gd name="connsiteX4" fmla="*/ 5089 w 6429"/>
              <a:gd name="connsiteY4" fmla="*/ 9785 h 10000"/>
              <a:gd name="connsiteX5" fmla="*/ 536 w 6429"/>
              <a:gd name="connsiteY5" fmla="*/ 6094 h 10000"/>
              <a:gd name="connsiteX6" fmla="*/ 536 w 6429"/>
              <a:gd name="connsiteY6" fmla="*/ 6094 h 10000"/>
              <a:gd name="connsiteX7" fmla="*/ 298 w 6429"/>
              <a:gd name="connsiteY7" fmla="*/ 5880 h 10000"/>
              <a:gd name="connsiteX8" fmla="*/ 119 w 6429"/>
              <a:gd name="connsiteY8" fmla="*/ 5579 h 10000"/>
              <a:gd name="connsiteX9" fmla="*/ 30 w 6429"/>
              <a:gd name="connsiteY9" fmla="*/ 5322 h 10000"/>
              <a:gd name="connsiteX10" fmla="*/ 0 w 6429"/>
              <a:gd name="connsiteY10" fmla="*/ 4979 h 10000"/>
              <a:gd name="connsiteX11" fmla="*/ 0 w 6429"/>
              <a:gd name="connsiteY11" fmla="*/ 4979 h 10000"/>
              <a:gd name="connsiteX12" fmla="*/ 30 w 6429"/>
              <a:gd name="connsiteY12" fmla="*/ 4678 h 10000"/>
              <a:gd name="connsiteX13" fmla="*/ 119 w 6429"/>
              <a:gd name="connsiteY13" fmla="*/ 4378 h 10000"/>
              <a:gd name="connsiteX14" fmla="*/ 298 w 6429"/>
              <a:gd name="connsiteY14" fmla="*/ 4120 h 10000"/>
              <a:gd name="connsiteX15" fmla="*/ 536 w 6429"/>
              <a:gd name="connsiteY15" fmla="*/ 3906 h 10000"/>
              <a:gd name="connsiteX16" fmla="*/ 5089 w 6429"/>
              <a:gd name="connsiteY16" fmla="*/ 215 h 10000"/>
              <a:gd name="connsiteX17" fmla="*/ 5089 w 6429"/>
              <a:gd name="connsiteY17" fmla="*/ 215 h 10000"/>
              <a:gd name="connsiteX18" fmla="*/ 5357 w 6429"/>
              <a:gd name="connsiteY18" fmla="*/ 86 h 10000"/>
              <a:gd name="connsiteX19" fmla="*/ 5476 w 6429"/>
              <a:gd name="connsiteY19" fmla="*/ 43 h 10000"/>
              <a:gd name="connsiteX20" fmla="*/ 5625 w 6429"/>
              <a:gd name="connsiteY20" fmla="*/ 0 h 10000"/>
              <a:gd name="connsiteX21" fmla="*/ 5625 w 6429"/>
              <a:gd name="connsiteY21" fmla="*/ 0 h 10000"/>
              <a:gd name="connsiteX22" fmla="*/ 5774 w 6429"/>
              <a:gd name="connsiteY22" fmla="*/ 43 h 10000"/>
              <a:gd name="connsiteX23" fmla="*/ 5923 w 6429"/>
              <a:gd name="connsiteY23" fmla="*/ 86 h 10000"/>
              <a:gd name="connsiteX24" fmla="*/ 6042 w 6429"/>
              <a:gd name="connsiteY24" fmla="*/ 215 h 10000"/>
              <a:gd name="connsiteX25" fmla="*/ 6161 w 6429"/>
              <a:gd name="connsiteY25" fmla="*/ 386 h 10000"/>
              <a:gd name="connsiteX26" fmla="*/ 6280 w 6429"/>
              <a:gd name="connsiteY26" fmla="*/ 558 h 10000"/>
              <a:gd name="connsiteX27" fmla="*/ 6369 w 6429"/>
              <a:gd name="connsiteY27" fmla="*/ 815 h 10000"/>
              <a:gd name="connsiteX28" fmla="*/ 6399 w 6429"/>
              <a:gd name="connsiteY28" fmla="*/ 1116 h 10000"/>
              <a:gd name="connsiteX29" fmla="*/ 6429 w 6429"/>
              <a:gd name="connsiteY29" fmla="*/ 1502 h 10000"/>
              <a:gd name="connsiteX30" fmla="*/ 6429 w 6429"/>
              <a:gd name="connsiteY30" fmla="*/ 2532 h 10000"/>
              <a:gd name="connsiteX31" fmla="*/ 6429 w 6429"/>
              <a:gd name="connsiteY31" fmla="*/ 7468 h 10000"/>
              <a:gd name="connsiteX32" fmla="*/ 6429 w 6429"/>
              <a:gd name="connsiteY32" fmla="*/ 8498 h 10000"/>
              <a:gd name="connsiteX33" fmla="*/ 6429 w 6429"/>
              <a:gd name="connsiteY33" fmla="*/ 8498 h 10000"/>
              <a:gd name="connsiteX34" fmla="*/ 6399 w 6429"/>
              <a:gd name="connsiteY34" fmla="*/ 8841 h 10000"/>
              <a:gd name="connsiteX35" fmla="*/ 6369 w 6429"/>
              <a:gd name="connsiteY35" fmla="*/ 9099 h 10000"/>
              <a:gd name="connsiteX36" fmla="*/ 6310 w 6429"/>
              <a:gd name="connsiteY36" fmla="*/ 9356 h 10000"/>
              <a:gd name="connsiteX37" fmla="*/ 6190 w 6429"/>
              <a:gd name="connsiteY37" fmla="*/ 9571 h 10000"/>
              <a:gd name="connsiteX38" fmla="*/ 6071 w 6429"/>
              <a:gd name="connsiteY38" fmla="*/ 9742 h 10000"/>
              <a:gd name="connsiteX39" fmla="*/ 5952 w 6429"/>
              <a:gd name="connsiteY39" fmla="*/ 9871 h 10000"/>
              <a:gd name="connsiteX40" fmla="*/ 5774 w 6429"/>
              <a:gd name="connsiteY40" fmla="*/ 9957 h 10000"/>
              <a:gd name="connsiteX41" fmla="*/ 5625 w 6429"/>
              <a:gd name="connsiteY41" fmla="*/ 10000 h 10000"/>
              <a:gd name="connsiteX42" fmla="*/ 5625 w 6429"/>
              <a:gd name="connsiteY42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429" h="10000">
                <a:moveTo>
                  <a:pt x="5625" y="10000"/>
                </a:moveTo>
                <a:lnTo>
                  <a:pt x="5625" y="10000"/>
                </a:lnTo>
                <a:lnTo>
                  <a:pt x="5476" y="9957"/>
                </a:lnTo>
                <a:cubicBezTo>
                  <a:pt x="5436" y="9943"/>
                  <a:pt x="5397" y="9928"/>
                  <a:pt x="5357" y="9914"/>
                </a:cubicBezTo>
                <a:lnTo>
                  <a:pt x="5089" y="9785"/>
                </a:lnTo>
                <a:lnTo>
                  <a:pt x="536" y="6094"/>
                </a:lnTo>
                <a:lnTo>
                  <a:pt x="536" y="6094"/>
                </a:lnTo>
                <a:lnTo>
                  <a:pt x="298" y="5880"/>
                </a:lnTo>
                <a:cubicBezTo>
                  <a:pt x="238" y="5780"/>
                  <a:pt x="179" y="5679"/>
                  <a:pt x="119" y="5579"/>
                </a:cubicBezTo>
                <a:cubicBezTo>
                  <a:pt x="89" y="5493"/>
                  <a:pt x="60" y="5408"/>
                  <a:pt x="30" y="5322"/>
                </a:cubicBezTo>
                <a:cubicBezTo>
                  <a:pt x="20" y="5208"/>
                  <a:pt x="10" y="5093"/>
                  <a:pt x="0" y="4979"/>
                </a:cubicBezTo>
                <a:lnTo>
                  <a:pt x="0" y="4979"/>
                </a:lnTo>
                <a:cubicBezTo>
                  <a:pt x="10" y="4879"/>
                  <a:pt x="20" y="4778"/>
                  <a:pt x="30" y="4678"/>
                </a:cubicBezTo>
                <a:cubicBezTo>
                  <a:pt x="60" y="4578"/>
                  <a:pt x="89" y="4478"/>
                  <a:pt x="119" y="4378"/>
                </a:cubicBezTo>
                <a:lnTo>
                  <a:pt x="298" y="4120"/>
                </a:lnTo>
                <a:lnTo>
                  <a:pt x="536" y="3906"/>
                </a:lnTo>
                <a:lnTo>
                  <a:pt x="5089" y="215"/>
                </a:lnTo>
                <a:lnTo>
                  <a:pt x="5089" y="215"/>
                </a:lnTo>
                <a:lnTo>
                  <a:pt x="5357" y="86"/>
                </a:lnTo>
                <a:cubicBezTo>
                  <a:pt x="5397" y="72"/>
                  <a:pt x="5436" y="57"/>
                  <a:pt x="5476" y="43"/>
                </a:cubicBezTo>
                <a:lnTo>
                  <a:pt x="5625" y="0"/>
                </a:lnTo>
                <a:lnTo>
                  <a:pt x="5625" y="0"/>
                </a:lnTo>
                <a:lnTo>
                  <a:pt x="5774" y="43"/>
                </a:lnTo>
                <a:lnTo>
                  <a:pt x="5923" y="86"/>
                </a:lnTo>
                <a:lnTo>
                  <a:pt x="6042" y="215"/>
                </a:lnTo>
                <a:cubicBezTo>
                  <a:pt x="6082" y="272"/>
                  <a:pt x="6121" y="329"/>
                  <a:pt x="6161" y="386"/>
                </a:cubicBezTo>
                <a:cubicBezTo>
                  <a:pt x="6201" y="443"/>
                  <a:pt x="6240" y="501"/>
                  <a:pt x="6280" y="558"/>
                </a:cubicBezTo>
                <a:cubicBezTo>
                  <a:pt x="6310" y="644"/>
                  <a:pt x="6339" y="729"/>
                  <a:pt x="6369" y="815"/>
                </a:cubicBezTo>
                <a:cubicBezTo>
                  <a:pt x="6379" y="915"/>
                  <a:pt x="6389" y="1016"/>
                  <a:pt x="6399" y="1116"/>
                </a:cubicBezTo>
                <a:cubicBezTo>
                  <a:pt x="6409" y="1245"/>
                  <a:pt x="6419" y="1373"/>
                  <a:pt x="6429" y="1502"/>
                </a:cubicBezTo>
                <a:lnTo>
                  <a:pt x="6429" y="2532"/>
                </a:lnTo>
                <a:lnTo>
                  <a:pt x="6429" y="7468"/>
                </a:lnTo>
                <a:lnTo>
                  <a:pt x="6429" y="8498"/>
                </a:lnTo>
                <a:lnTo>
                  <a:pt x="6429" y="8498"/>
                </a:lnTo>
                <a:cubicBezTo>
                  <a:pt x="6419" y="8612"/>
                  <a:pt x="6409" y="8727"/>
                  <a:pt x="6399" y="8841"/>
                </a:cubicBezTo>
                <a:lnTo>
                  <a:pt x="6369" y="9099"/>
                </a:lnTo>
                <a:cubicBezTo>
                  <a:pt x="6349" y="9185"/>
                  <a:pt x="6330" y="9270"/>
                  <a:pt x="6310" y="9356"/>
                </a:cubicBezTo>
                <a:lnTo>
                  <a:pt x="6190" y="9571"/>
                </a:lnTo>
                <a:cubicBezTo>
                  <a:pt x="6150" y="9628"/>
                  <a:pt x="6111" y="9685"/>
                  <a:pt x="6071" y="9742"/>
                </a:cubicBezTo>
                <a:lnTo>
                  <a:pt x="5952" y="9871"/>
                </a:lnTo>
                <a:lnTo>
                  <a:pt x="5774" y="9957"/>
                </a:lnTo>
                <a:lnTo>
                  <a:pt x="5625" y="10000"/>
                </a:lnTo>
                <a:lnTo>
                  <a:pt x="5625" y="1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6">
              <a:solidFill>
                <a:prstClr val="white"/>
              </a:solidFill>
            </a:endParaRPr>
          </a:p>
        </p:txBody>
      </p:sp>
      <p:sp>
        <p:nvSpPr>
          <p:cNvPr id="29" name="Freeform 112"/>
          <p:cNvSpPr>
            <a:spLocks/>
          </p:cNvSpPr>
          <p:nvPr/>
        </p:nvSpPr>
        <p:spPr bwMode="auto">
          <a:xfrm rot="5400000">
            <a:off x="6721240" y="3604498"/>
            <a:ext cx="174668" cy="324373"/>
          </a:xfrm>
          <a:custGeom>
            <a:avLst/>
            <a:gdLst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9762 w 10000"/>
              <a:gd name="connsiteY31" fmla="*/ 2532 h 10000"/>
              <a:gd name="connsiteX32" fmla="*/ 10000 w 10000"/>
              <a:gd name="connsiteY32" fmla="*/ 2876 h 10000"/>
              <a:gd name="connsiteX33" fmla="*/ 10000 w 10000"/>
              <a:gd name="connsiteY33" fmla="*/ 7124 h 10000"/>
              <a:gd name="connsiteX34" fmla="*/ 10000 w 10000"/>
              <a:gd name="connsiteY34" fmla="*/ 7468 h 10000"/>
              <a:gd name="connsiteX35" fmla="*/ 9762 w 10000"/>
              <a:gd name="connsiteY35" fmla="*/ 7468 h 10000"/>
              <a:gd name="connsiteX36" fmla="*/ 6429 w 10000"/>
              <a:gd name="connsiteY36" fmla="*/ 7468 h 10000"/>
              <a:gd name="connsiteX37" fmla="*/ 6429 w 10000"/>
              <a:gd name="connsiteY37" fmla="*/ 8498 h 10000"/>
              <a:gd name="connsiteX38" fmla="*/ 6429 w 10000"/>
              <a:gd name="connsiteY38" fmla="*/ 8498 h 10000"/>
              <a:gd name="connsiteX39" fmla="*/ 6399 w 10000"/>
              <a:gd name="connsiteY39" fmla="*/ 8841 h 10000"/>
              <a:gd name="connsiteX40" fmla="*/ 6369 w 10000"/>
              <a:gd name="connsiteY40" fmla="*/ 9099 h 10000"/>
              <a:gd name="connsiteX41" fmla="*/ 6310 w 10000"/>
              <a:gd name="connsiteY41" fmla="*/ 9356 h 10000"/>
              <a:gd name="connsiteX42" fmla="*/ 6190 w 10000"/>
              <a:gd name="connsiteY42" fmla="*/ 9571 h 10000"/>
              <a:gd name="connsiteX43" fmla="*/ 6071 w 10000"/>
              <a:gd name="connsiteY43" fmla="*/ 9742 h 10000"/>
              <a:gd name="connsiteX44" fmla="*/ 5952 w 10000"/>
              <a:gd name="connsiteY44" fmla="*/ 9871 h 10000"/>
              <a:gd name="connsiteX45" fmla="*/ 5774 w 10000"/>
              <a:gd name="connsiteY45" fmla="*/ 9957 h 10000"/>
              <a:gd name="connsiteX46" fmla="*/ 5625 w 10000"/>
              <a:gd name="connsiteY46" fmla="*/ 10000 h 10000"/>
              <a:gd name="connsiteX47" fmla="*/ 5625 w 10000"/>
              <a:gd name="connsiteY47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2876 h 10000"/>
              <a:gd name="connsiteX32" fmla="*/ 10000 w 10000"/>
              <a:gd name="connsiteY32" fmla="*/ 7124 h 10000"/>
              <a:gd name="connsiteX33" fmla="*/ 10000 w 10000"/>
              <a:gd name="connsiteY33" fmla="*/ 7468 h 10000"/>
              <a:gd name="connsiteX34" fmla="*/ 9762 w 10000"/>
              <a:gd name="connsiteY34" fmla="*/ 7468 h 10000"/>
              <a:gd name="connsiteX35" fmla="*/ 6429 w 10000"/>
              <a:gd name="connsiteY35" fmla="*/ 7468 h 10000"/>
              <a:gd name="connsiteX36" fmla="*/ 6429 w 10000"/>
              <a:gd name="connsiteY36" fmla="*/ 8498 h 10000"/>
              <a:gd name="connsiteX37" fmla="*/ 6429 w 10000"/>
              <a:gd name="connsiteY37" fmla="*/ 8498 h 10000"/>
              <a:gd name="connsiteX38" fmla="*/ 6399 w 10000"/>
              <a:gd name="connsiteY38" fmla="*/ 8841 h 10000"/>
              <a:gd name="connsiteX39" fmla="*/ 6369 w 10000"/>
              <a:gd name="connsiteY39" fmla="*/ 9099 h 10000"/>
              <a:gd name="connsiteX40" fmla="*/ 6310 w 10000"/>
              <a:gd name="connsiteY40" fmla="*/ 9356 h 10000"/>
              <a:gd name="connsiteX41" fmla="*/ 6190 w 10000"/>
              <a:gd name="connsiteY41" fmla="*/ 9571 h 10000"/>
              <a:gd name="connsiteX42" fmla="*/ 6071 w 10000"/>
              <a:gd name="connsiteY42" fmla="*/ 9742 h 10000"/>
              <a:gd name="connsiteX43" fmla="*/ 5952 w 10000"/>
              <a:gd name="connsiteY43" fmla="*/ 9871 h 10000"/>
              <a:gd name="connsiteX44" fmla="*/ 5774 w 10000"/>
              <a:gd name="connsiteY44" fmla="*/ 9957 h 10000"/>
              <a:gd name="connsiteX45" fmla="*/ 5625 w 10000"/>
              <a:gd name="connsiteY45" fmla="*/ 10000 h 10000"/>
              <a:gd name="connsiteX46" fmla="*/ 5625 w 10000"/>
              <a:gd name="connsiteY46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9762 w 10000"/>
              <a:gd name="connsiteY33" fmla="*/ 7468 h 10000"/>
              <a:gd name="connsiteX34" fmla="*/ 6429 w 10000"/>
              <a:gd name="connsiteY34" fmla="*/ 7468 h 10000"/>
              <a:gd name="connsiteX35" fmla="*/ 6429 w 10000"/>
              <a:gd name="connsiteY35" fmla="*/ 8498 h 10000"/>
              <a:gd name="connsiteX36" fmla="*/ 6429 w 10000"/>
              <a:gd name="connsiteY36" fmla="*/ 8498 h 10000"/>
              <a:gd name="connsiteX37" fmla="*/ 6399 w 10000"/>
              <a:gd name="connsiteY37" fmla="*/ 8841 h 10000"/>
              <a:gd name="connsiteX38" fmla="*/ 6369 w 10000"/>
              <a:gd name="connsiteY38" fmla="*/ 9099 h 10000"/>
              <a:gd name="connsiteX39" fmla="*/ 6310 w 10000"/>
              <a:gd name="connsiteY39" fmla="*/ 9356 h 10000"/>
              <a:gd name="connsiteX40" fmla="*/ 6190 w 10000"/>
              <a:gd name="connsiteY40" fmla="*/ 9571 h 10000"/>
              <a:gd name="connsiteX41" fmla="*/ 6071 w 10000"/>
              <a:gd name="connsiteY41" fmla="*/ 9742 h 10000"/>
              <a:gd name="connsiteX42" fmla="*/ 5952 w 10000"/>
              <a:gd name="connsiteY42" fmla="*/ 9871 h 10000"/>
              <a:gd name="connsiteX43" fmla="*/ 5774 w 10000"/>
              <a:gd name="connsiteY43" fmla="*/ 9957 h 10000"/>
              <a:gd name="connsiteX44" fmla="*/ 5625 w 10000"/>
              <a:gd name="connsiteY44" fmla="*/ 10000 h 10000"/>
              <a:gd name="connsiteX45" fmla="*/ 5625 w 10000"/>
              <a:gd name="connsiteY45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6429 w 10000"/>
              <a:gd name="connsiteY33" fmla="*/ 7468 h 10000"/>
              <a:gd name="connsiteX34" fmla="*/ 6429 w 10000"/>
              <a:gd name="connsiteY34" fmla="*/ 8498 h 10000"/>
              <a:gd name="connsiteX35" fmla="*/ 6429 w 10000"/>
              <a:gd name="connsiteY35" fmla="*/ 8498 h 10000"/>
              <a:gd name="connsiteX36" fmla="*/ 6399 w 10000"/>
              <a:gd name="connsiteY36" fmla="*/ 8841 h 10000"/>
              <a:gd name="connsiteX37" fmla="*/ 6369 w 10000"/>
              <a:gd name="connsiteY37" fmla="*/ 9099 h 10000"/>
              <a:gd name="connsiteX38" fmla="*/ 6310 w 10000"/>
              <a:gd name="connsiteY38" fmla="*/ 9356 h 10000"/>
              <a:gd name="connsiteX39" fmla="*/ 6190 w 10000"/>
              <a:gd name="connsiteY39" fmla="*/ 9571 h 10000"/>
              <a:gd name="connsiteX40" fmla="*/ 6071 w 10000"/>
              <a:gd name="connsiteY40" fmla="*/ 9742 h 10000"/>
              <a:gd name="connsiteX41" fmla="*/ 5952 w 10000"/>
              <a:gd name="connsiteY41" fmla="*/ 9871 h 10000"/>
              <a:gd name="connsiteX42" fmla="*/ 5774 w 10000"/>
              <a:gd name="connsiteY42" fmla="*/ 9957 h 10000"/>
              <a:gd name="connsiteX43" fmla="*/ 5625 w 10000"/>
              <a:gd name="connsiteY43" fmla="*/ 10000 h 10000"/>
              <a:gd name="connsiteX44" fmla="*/ 5625 w 10000"/>
              <a:gd name="connsiteY44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6429 w 10000"/>
              <a:gd name="connsiteY32" fmla="*/ 7468 h 10000"/>
              <a:gd name="connsiteX33" fmla="*/ 6429 w 10000"/>
              <a:gd name="connsiteY33" fmla="*/ 8498 h 10000"/>
              <a:gd name="connsiteX34" fmla="*/ 6429 w 10000"/>
              <a:gd name="connsiteY34" fmla="*/ 8498 h 10000"/>
              <a:gd name="connsiteX35" fmla="*/ 6399 w 10000"/>
              <a:gd name="connsiteY35" fmla="*/ 8841 h 10000"/>
              <a:gd name="connsiteX36" fmla="*/ 6369 w 10000"/>
              <a:gd name="connsiteY36" fmla="*/ 9099 h 10000"/>
              <a:gd name="connsiteX37" fmla="*/ 6310 w 10000"/>
              <a:gd name="connsiteY37" fmla="*/ 9356 h 10000"/>
              <a:gd name="connsiteX38" fmla="*/ 6190 w 10000"/>
              <a:gd name="connsiteY38" fmla="*/ 9571 h 10000"/>
              <a:gd name="connsiteX39" fmla="*/ 6071 w 10000"/>
              <a:gd name="connsiteY39" fmla="*/ 9742 h 10000"/>
              <a:gd name="connsiteX40" fmla="*/ 5952 w 10000"/>
              <a:gd name="connsiteY40" fmla="*/ 9871 h 10000"/>
              <a:gd name="connsiteX41" fmla="*/ 5774 w 10000"/>
              <a:gd name="connsiteY41" fmla="*/ 9957 h 10000"/>
              <a:gd name="connsiteX42" fmla="*/ 5625 w 10000"/>
              <a:gd name="connsiteY42" fmla="*/ 10000 h 10000"/>
              <a:gd name="connsiteX43" fmla="*/ 5625 w 10000"/>
              <a:gd name="connsiteY43" fmla="*/ 10000 h 10000"/>
              <a:gd name="connsiteX0" fmla="*/ 5625 w 6429"/>
              <a:gd name="connsiteY0" fmla="*/ 10000 h 10000"/>
              <a:gd name="connsiteX1" fmla="*/ 5625 w 6429"/>
              <a:gd name="connsiteY1" fmla="*/ 10000 h 10000"/>
              <a:gd name="connsiteX2" fmla="*/ 5476 w 6429"/>
              <a:gd name="connsiteY2" fmla="*/ 9957 h 10000"/>
              <a:gd name="connsiteX3" fmla="*/ 5357 w 6429"/>
              <a:gd name="connsiteY3" fmla="*/ 9914 h 10000"/>
              <a:gd name="connsiteX4" fmla="*/ 5089 w 6429"/>
              <a:gd name="connsiteY4" fmla="*/ 9785 h 10000"/>
              <a:gd name="connsiteX5" fmla="*/ 536 w 6429"/>
              <a:gd name="connsiteY5" fmla="*/ 6094 h 10000"/>
              <a:gd name="connsiteX6" fmla="*/ 536 w 6429"/>
              <a:gd name="connsiteY6" fmla="*/ 6094 h 10000"/>
              <a:gd name="connsiteX7" fmla="*/ 298 w 6429"/>
              <a:gd name="connsiteY7" fmla="*/ 5880 h 10000"/>
              <a:gd name="connsiteX8" fmla="*/ 119 w 6429"/>
              <a:gd name="connsiteY8" fmla="*/ 5579 h 10000"/>
              <a:gd name="connsiteX9" fmla="*/ 30 w 6429"/>
              <a:gd name="connsiteY9" fmla="*/ 5322 h 10000"/>
              <a:gd name="connsiteX10" fmla="*/ 0 w 6429"/>
              <a:gd name="connsiteY10" fmla="*/ 4979 h 10000"/>
              <a:gd name="connsiteX11" fmla="*/ 0 w 6429"/>
              <a:gd name="connsiteY11" fmla="*/ 4979 h 10000"/>
              <a:gd name="connsiteX12" fmla="*/ 30 w 6429"/>
              <a:gd name="connsiteY12" fmla="*/ 4678 h 10000"/>
              <a:gd name="connsiteX13" fmla="*/ 119 w 6429"/>
              <a:gd name="connsiteY13" fmla="*/ 4378 h 10000"/>
              <a:gd name="connsiteX14" fmla="*/ 298 w 6429"/>
              <a:gd name="connsiteY14" fmla="*/ 4120 h 10000"/>
              <a:gd name="connsiteX15" fmla="*/ 536 w 6429"/>
              <a:gd name="connsiteY15" fmla="*/ 3906 h 10000"/>
              <a:gd name="connsiteX16" fmla="*/ 5089 w 6429"/>
              <a:gd name="connsiteY16" fmla="*/ 215 h 10000"/>
              <a:gd name="connsiteX17" fmla="*/ 5089 w 6429"/>
              <a:gd name="connsiteY17" fmla="*/ 215 h 10000"/>
              <a:gd name="connsiteX18" fmla="*/ 5357 w 6429"/>
              <a:gd name="connsiteY18" fmla="*/ 86 h 10000"/>
              <a:gd name="connsiteX19" fmla="*/ 5476 w 6429"/>
              <a:gd name="connsiteY19" fmla="*/ 43 h 10000"/>
              <a:gd name="connsiteX20" fmla="*/ 5625 w 6429"/>
              <a:gd name="connsiteY20" fmla="*/ 0 h 10000"/>
              <a:gd name="connsiteX21" fmla="*/ 5625 w 6429"/>
              <a:gd name="connsiteY21" fmla="*/ 0 h 10000"/>
              <a:gd name="connsiteX22" fmla="*/ 5774 w 6429"/>
              <a:gd name="connsiteY22" fmla="*/ 43 h 10000"/>
              <a:gd name="connsiteX23" fmla="*/ 5923 w 6429"/>
              <a:gd name="connsiteY23" fmla="*/ 86 h 10000"/>
              <a:gd name="connsiteX24" fmla="*/ 6042 w 6429"/>
              <a:gd name="connsiteY24" fmla="*/ 215 h 10000"/>
              <a:gd name="connsiteX25" fmla="*/ 6161 w 6429"/>
              <a:gd name="connsiteY25" fmla="*/ 386 h 10000"/>
              <a:gd name="connsiteX26" fmla="*/ 6280 w 6429"/>
              <a:gd name="connsiteY26" fmla="*/ 558 h 10000"/>
              <a:gd name="connsiteX27" fmla="*/ 6369 w 6429"/>
              <a:gd name="connsiteY27" fmla="*/ 815 h 10000"/>
              <a:gd name="connsiteX28" fmla="*/ 6399 w 6429"/>
              <a:gd name="connsiteY28" fmla="*/ 1116 h 10000"/>
              <a:gd name="connsiteX29" fmla="*/ 6429 w 6429"/>
              <a:gd name="connsiteY29" fmla="*/ 1502 h 10000"/>
              <a:gd name="connsiteX30" fmla="*/ 6429 w 6429"/>
              <a:gd name="connsiteY30" fmla="*/ 2532 h 10000"/>
              <a:gd name="connsiteX31" fmla="*/ 6429 w 6429"/>
              <a:gd name="connsiteY31" fmla="*/ 7468 h 10000"/>
              <a:gd name="connsiteX32" fmla="*/ 6429 w 6429"/>
              <a:gd name="connsiteY32" fmla="*/ 8498 h 10000"/>
              <a:gd name="connsiteX33" fmla="*/ 6429 w 6429"/>
              <a:gd name="connsiteY33" fmla="*/ 8498 h 10000"/>
              <a:gd name="connsiteX34" fmla="*/ 6399 w 6429"/>
              <a:gd name="connsiteY34" fmla="*/ 8841 h 10000"/>
              <a:gd name="connsiteX35" fmla="*/ 6369 w 6429"/>
              <a:gd name="connsiteY35" fmla="*/ 9099 h 10000"/>
              <a:gd name="connsiteX36" fmla="*/ 6310 w 6429"/>
              <a:gd name="connsiteY36" fmla="*/ 9356 h 10000"/>
              <a:gd name="connsiteX37" fmla="*/ 6190 w 6429"/>
              <a:gd name="connsiteY37" fmla="*/ 9571 h 10000"/>
              <a:gd name="connsiteX38" fmla="*/ 6071 w 6429"/>
              <a:gd name="connsiteY38" fmla="*/ 9742 h 10000"/>
              <a:gd name="connsiteX39" fmla="*/ 5952 w 6429"/>
              <a:gd name="connsiteY39" fmla="*/ 9871 h 10000"/>
              <a:gd name="connsiteX40" fmla="*/ 5774 w 6429"/>
              <a:gd name="connsiteY40" fmla="*/ 9957 h 10000"/>
              <a:gd name="connsiteX41" fmla="*/ 5625 w 6429"/>
              <a:gd name="connsiteY41" fmla="*/ 10000 h 10000"/>
              <a:gd name="connsiteX42" fmla="*/ 5625 w 6429"/>
              <a:gd name="connsiteY42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429" h="10000">
                <a:moveTo>
                  <a:pt x="5625" y="10000"/>
                </a:moveTo>
                <a:lnTo>
                  <a:pt x="5625" y="10000"/>
                </a:lnTo>
                <a:lnTo>
                  <a:pt x="5476" y="9957"/>
                </a:lnTo>
                <a:cubicBezTo>
                  <a:pt x="5436" y="9943"/>
                  <a:pt x="5397" y="9928"/>
                  <a:pt x="5357" y="9914"/>
                </a:cubicBezTo>
                <a:lnTo>
                  <a:pt x="5089" y="9785"/>
                </a:lnTo>
                <a:lnTo>
                  <a:pt x="536" y="6094"/>
                </a:lnTo>
                <a:lnTo>
                  <a:pt x="536" y="6094"/>
                </a:lnTo>
                <a:lnTo>
                  <a:pt x="298" y="5880"/>
                </a:lnTo>
                <a:cubicBezTo>
                  <a:pt x="238" y="5780"/>
                  <a:pt x="179" y="5679"/>
                  <a:pt x="119" y="5579"/>
                </a:cubicBezTo>
                <a:cubicBezTo>
                  <a:pt x="89" y="5493"/>
                  <a:pt x="60" y="5408"/>
                  <a:pt x="30" y="5322"/>
                </a:cubicBezTo>
                <a:cubicBezTo>
                  <a:pt x="20" y="5208"/>
                  <a:pt x="10" y="5093"/>
                  <a:pt x="0" y="4979"/>
                </a:cubicBezTo>
                <a:lnTo>
                  <a:pt x="0" y="4979"/>
                </a:lnTo>
                <a:cubicBezTo>
                  <a:pt x="10" y="4879"/>
                  <a:pt x="20" y="4778"/>
                  <a:pt x="30" y="4678"/>
                </a:cubicBezTo>
                <a:cubicBezTo>
                  <a:pt x="60" y="4578"/>
                  <a:pt x="89" y="4478"/>
                  <a:pt x="119" y="4378"/>
                </a:cubicBezTo>
                <a:lnTo>
                  <a:pt x="298" y="4120"/>
                </a:lnTo>
                <a:lnTo>
                  <a:pt x="536" y="3906"/>
                </a:lnTo>
                <a:lnTo>
                  <a:pt x="5089" y="215"/>
                </a:lnTo>
                <a:lnTo>
                  <a:pt x="5089" y="215"/>
                </a:lnTo>
                <a:lnTo>
                  <a:pt x="5357" y="86"/>
                </a:lnTo>
                <a:cubicBezTo>
                  <a:pt x="5397" y="72"/>
                  <a:pt x="5436" y="57"/>
                  <a:pt x="5476" y="43"/>
                </a:cubicBezTo>
                <a:lnTo>
                  <a:pt x="5625" y="0"/>
                </a:lnTo>
                <a:lnTo>
                  <a:pt x="5625" y="0"/>
                </a:lnTo>
                <a:lnTo>
                  <a:pt x="5774" y="43"/>
                </a:lnTo>
                <a:lnTo>
                  <a:pt x="5923" y="86"/>
                </a:lnTo>
                <a:lnTo>
                  <a:pt x="6042" y="215"/>
                </a:lnTo>
                <a:cubicBezTo>
                  <a:pt x="6082" y="272"/>
                  <a:pt x="6121" y="329"/>
                  <a:pt x="6161" y="386"/>
                </a:cubicBezTo>
                <a:cubicBezTo>
                  <a:pt x="6201" y="443"/>
                  <a:pt x="6240" y="501"/>
                  <a:pt x="6280" y="558"/>
                </a:cubicBezTo>
                <a:cubicBezTo>
                  <a:pt x="6310" y="644"/>
                  <a:pt x="6339" y="729"/>
                  <a:pt x="6369" y="815"/>
                </a:cubicBezTo>
                <a:cubicBezTo>
                  <a:pt x="6379" y="915"/>
                  <a:pt x="6389" y="1016"/>
                  <a:pt x="6399" y="1116"/>
                </a:cubicBezTo>
                <a:cubicBezTo>
                  <a:pt x="6409" y="1245"/>
                  <a:pt x="6419" y="1373"/>
                  <a:pt x="6429" y="1502"/>
                </a:cubicBezTo>
                <a:lnTo>
                  <a:pt x="6429" y="2532"/>
                </a:lnTo>
                <a:lnTo>
                  <a:pt x="6429" y="7468"/>
                </a:lnTo>
                <a:lnTo>
                  <a:pt x="6429" y="8498"/>
                </a:lnTo>
                <a:lnTo>
                  <a:pt x="6429" y="8498"/>
                </a:lnTo>
                <a:cubicBezTo>
                  <a:pt x="6419" y="8612"/>
                  <a:pt x="6409" y="8727"/>
                  <a:pt x="6399" y="8841"/>
                </a:cubicBezTo>
                <a:lnTo>
                  <a:pt x="6369" y="9099"/>
                </a:lnTo>
                <a:cubicBezTo>
                  <a:pt x="6349" y="9185"/>
                  <a:pt x="6330" y="9270"/>
                  <a:pt x="6310" y="9356"/>
                </a:cubicBezTo>
                <a:lnTo>
                  <a:pt x="6190" y="9571"/>
                </a:lnTo>
                <a:cubicBezTo>
                  <a:pt x="6150" y="9628"/>
                  <a:pt x="6111" y="9685"/>
                  <a:pt x="6071" y="9742"/>
                </a:cubicBezTo>
                <a:lnTo>
                  <a:pt x="5952" y="9871"/>
                </a:lnTo>
                <a:lnTo>
                  <a:pt x="5774" y="9957"/>
                </a:lnTo>
                <a:lnTo>
                  <a:pt x="5625" y="10000"/>
                </a:lnTo>
                <a:lnTo>
                  <a:pt x="5625" y="1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6">
              <a:solidFill>
                <a:prstClr val="white"/>
              </a:solidFill>
            </a:endParaRPr>
          </a:p>
        </p:txBody>
      </p:sp>
      <p:sp>
        <p:nvSpPr>
          <p:cNvPr id="30" name="Freeform 112"/>
          <p:cNvSpPr>
            <a:spLocks/>
          </p:cNvSpPr>
          <p:nvPr/>
        </p:nvSpPr>
        <p:spPr bwMode="auto">
          <a:xfrm rot="5400000">
            <a:off x="9397255" y="3604498"/>
            <a:ext cx="174668" cy="324373"/>
          </a:xfrm>
          <a:custGeom>
            <a:avLst/>
            <a:gdLst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9762 w 10000"/>
              <a:gd name="connsiteY31" fmla="*/ 2532 h 10000"/>
              <a:gd name="connsiteX32" fmla="*/ 10000 w 10000"/>
              <a:gd name="connsiteY32" fmla="*/ 2876 h 10000"/>
              <a:gd name="connsiteX33" fmla="*/ 10000 w 10000"/>
              <a:gd name="connsiteY33" fmla="*/ 7124 h 10000"/>
              <a:gd name="connsiteX34" fmla="*/ 10000 w 10000"/>
              <a:gd name="connsiteY34" fmla="*/ 7468 h 10000"/>
              <a:gd name="connsiteX35" fmla="*/ 9762 w 10000"/>
              <a:gd name="connsiteY35" fmla="*/ 7468 h 10000"/>
              <a:gd name="connsiteX36" fmla="*/ 6429 w 10000"/>
              <a:gd name="connsiteY36" fmla="*/ 7468 h 10000"/>
              <a:gd name="connsiteX37" fmla="*/ 6429 w 10000"/>
              <a:gd name="connsiteY37" fmla="*/ 8498 h 10000"/>
              <a:gd name="connsiteX38" fmla="*/ 6429 w 10000"/>
              <a:gd name="connsiteY38" fmla="*/ 8498 h 10000"/>
              <a:gd name="connsiteX39" fmla="*/ 6399 w 10000"/>
              <a:gd name="connsiteY39" fmla="*/ 8841 h 10000"/>
              <a:gd name="connsiteX40" fmla="*/ 6369 w 10000"/>
              <a:gd name="connsiteY40" fmla="*/ 9099 h 10000"/>
              <a:gd name="connsiteX41" fmla="*/ 6310 w 10000"/>
              <a:gd name="connsiteY41" fmla="*/ 9356 h 10000"/>
              <a:gd name="connsiteX42" fmla="*/ 6190 w 10000"/>
              <a:gd name="connsiteY42" fmla="*/ 9571 h 10000"/>
              <a:gd name="connsiteX43" fmla="*/ 6071 w 10000"/>
              <a:gd name="connsiteY43" fmla="*/ 9742 h 10000"/>
              <a:gd name="connsiteX44" fmla="*/ 5952 w 10000"/>
              <a:gd name="connsiteY44" fmla="*/ 9871 h 10000"/>
              <a:gd name="connsiteX45" fmla="*/ 5774 w 10000"/>
              <a:gd name="connsiteY45" fmla="*/ 9957 h 10000"/>
              <a:gd name="connsiteX46" fmla="*/ 5625 w 10000"/>
              <a:gd name="connsiteY46" fmla="*/ 10000 h 10000"/>
              <a:gd name="connsiteX47" fmla="*/ 5625 w 10000"/>
              <a:gd name="connsiteY47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2876 h 10000"/>
              <a:gd name="connsiteX32" fmla="*/ 10000 w 10000"/>
              <a:gd name="connsiteY32" fmla="*/ 7124 h 10000"/>
              <a:gd name="connsiteX33" fmla="*/ 10000 w 10000"/>
              <a:gd name="connsiteY33" fmla="*/ 7468 h 10000"/>
              <a:gd name="connsiteX34" fmla="*/ 9762 w 10000"/>
              <a:gd name="connsiteY34" fmla="*/ 7468 h 10000"/>
              <a:gd name="connsiteX35" fmla="*/ 6429 w 10000"/>
              <a:gd name="connsiteY35" fmla="*/ 7468 h 10000"/>
              <a:gd name="connsiteX36" fmla="*/ 6429 w 10000"/>
              <a:gd name="connsiteY36" fmla="*/ 8498 h 10000"/>
              <a:gd name="connsiteX37" fmla="*/ 6429 w 10000"/>
              <a:gd name="connsiteY37" fmla="*/ 8498 h 10000"/>
              <a:gd name="connsiteX38" fmla="*/ 6399 w 10000"/>
              <a:gd name="connsiteY38" fmla="*/ 8841 h 10000"/>
              <a:gd name="connsiteX39" fmla="*/ 6369 w 10000"/>
              <a:gd name="connsiteY39" fmla="*/ 9099 h 10000"/>
              <a:gd name="connsiteX40" fmla="*/ 6310 w 10000"/>
              <a:gd name="connsiteY40" fmla="*/ 9356 h 10000"/>
              <a:gd name="connsiteX41" fmla="*/ 6190 w 10000"/>
              <a:gd name="connsiteY41" fmla="*/ 9571 h 10000"/>
              <a:gd name="connsiteX42" fmla="*/ 6071 w 10000"/>
              <a:gd name="connsiteY42" fmla="*/ 9742 h 10000"/>
              <a:gd name="connsiteX43" fmla="*/ 5952 w 10000"/>
              <a:gd name="connsiteY43" fmla="*/ 9871 h 10000"/>
              <a:gd name="connsiteX44" fmla="*/ 5774 w 10000"/>
              <a:gd name="connsiteY44" fmla="*/ 9957 h 10000"/>
              <a:gd name="connsiteX45" fmla="*/ 5625 w 10000"/>
              <a:gd name="connsiteY45" fmla="*/ 10000 h 10000"/>
              <a:gd name="connsiteX46" fmla="*/ 5625 w 10000"/>
              <a:gd name="connsiteY46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9762 w 10000"/>
              <a:gd name="connsiteY33" fmla="*/ 7468 h 10000"/>
              <a:gd name="connsiteX34" fmla="*/ 6429 w 10000"/>
              <a:gd name="connsiteY34" fmla="*/ 7468 h 10000"/>
              <a:gd name="connsiteX35" fmla="*/ 6429 w 10000"/>
              <a:gd name="connsiteY35" fmla="*/ 8498 h 10000"/>
              <a:gd name="connsiteX36" fmla="*/ 6429 w 10000"/>
              <a:gd name="connsiteY36" fmla="*/ 8498 h 10000"/>
              <a:gd name="connsiteX37" fmla="*/ 6399 w 10000"/>
              <a:gd name="connsiteY37" fmla="*/ 8841 h 10000"/>
              <a:gd name="connsiteX38" fmla="*/ 6369 w 10000"/>
              <a:gd name="connsiteY38" fmla="*/ 9099 h 10000"/>
              <a:gd name="connsiteX39" fmla="*/ 6310 w 10000"/>
              <a:gd name="connsiteY39" fmla="*/ 9356 h 10000"/>
              <a:gd name="connsiteX40" fmla="*/ 6190 w 10000"/>
              <a:gd name="connsiteY40" fmla="*/ 9571 h 10000"/>
              <a:gd name="connsiteX41" fmla="*/ 6071 w 10000"/>
              <a:gd name="connsiteY41" fmla="*/ 9742 h 10000"/>
              <a:gd name="connsiteX42" fmla="*/ 5952 w 10000"/>
              <a:gd name="connsiteY42" fmla="*/ 9871 h 10000"/>
              <a:gd name="connsiteX43" fmla="*/ 5774 w 10000"/>
              <a:gd name="connsiteY43" fmla="*/ 9957 h 10000"/>
              <a:gd name="connsiteX44" fmla="*/ 5625 w 10000"/>
              <a:gd name="connsiteY44" fmla="*/ 10000 h 10000"/>
              <a:gd name="connsiteX45" fmla="*/ 5625 w 10000"/>
              <a:gd name="connsiteY45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6429 w 10000"/>
              <a:gd name="connsiteY33" fmla="*/ 7468 h 10000"/>
              <a:gd name="connsiteX34" fmla="*/ 6429 w 10000"/>
              <a:gd name="connsiteY34" fmla="*/ 8498 h 10000"/>
              <a:gd name="connsiteX35" fmla="*/ 6429 w 10000"/>
              <a:gd name="connsiteY35" fmla="*/ 8498 h 10000"/>
              <a:gd name="connsiteX36" fmla="*/ 6399 w 10000"/>
              <a:gd name="connsiteY36" fmla="*/ 8841 h 10000"/>
              <a:gd name="connsiteX37" fmla="*/ 6369 w 10000"/>
              <a:gd name="connsiteY37" fmla="*/ 9099 h 10000"/>
              <a:gd name="connsiteX38" fmla="*/ 6310 w 10000"/>
              <a:gd name="connsiteY38" fmla="*/ 9356 h 10000"/>
              <a:gd name="connsiteX39" fmla="*/ 6190 w 10000"/>
              <a:gd name="connsiteY39" fmla="*/ 9571 h 10000"/>
              <a:gd name="connsiteX40" fmla="*/ 6071 w 10000"/>
              <a:gd name="connsiteY40" fmla="*/ 9742 h 10000"/>
              <a:gd name="connsiteX41" fmla="*/ 5952 w 10000"/>
              <a:gd name="connsiteY41" fmla="*/ 9871 h 10000"/>
              <a:gd name="connsiteX42" fmla="*/ 5774 w 10000"/>
              <a:gd name="connsiteY42" fmla="*/ 9957 h 10000"/>
              <a:gd name="connsiteX43" fmla="*/ 5625 w 10000"/>
              <a:gd name="connsiteY43" fmla="*/ 10000 h 10000"/>
              <a:gd name="connsiteX44" fmla="*/ 5625 w 10000"/>
              <a:gd name="connsiteY44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6429 w 10000"/>
              <a:gd name="connsiteY32" fmla="*/ 7468 h 10000"/>
              <a:gd name="connsiteX33" fmla="*/ 6429 w 10000"/>
              <a:gd name="connsiteY33" fmla="*/ 8498 h 10000"/>
              <a:gd name="connsiteX34" fmla="*/ 6429 w 10000"/>
              <a:gd name="connsiteY34" fmla="*/ 8498 h 10000"/>
              <a:gd name="connsiteX35" fmla="*/ 6399 w 10000"/>
              <a:gd name="connsiteY35" fmla="*/ 8841 h 10000"/>
              <a:gd name="connsiteX36" fmla="*/ 6369 w 10000"/>
              <a:gd name="connsiteY36" fmla="*/ 9099 h 10000"/>
              <a:gd name="connsiteX37" fmla="*/ 6310 w 10000"/>
              <a:gd name="connsiteY37" fmla="*/ 9356 h 10000"/>
              <a:gd name="connsiteX38" fmla="*/ 6190 w 10000"/>
              <a:gd name="connsiteY38" fmla="*/ 9571 h 10000"/>
              <a:gd name="connsiteX39" fmla="*/ 6071 w 10000"/>
              <a:gd name="connsiteY39" fmla="*/ 9742 h 10000"/>
              <a:gd name="connsiteX40" fmla="*/ 5952 w 10000"/>
              <a:gd name="connsiteY40" fmla="*/ 9871 h 10000"/>
              <a:gd name="connsiteX41" fmla="*/ 5774 w 10000"/>
              <a:gd name="connsiteY41" fmla="*/ 9957 h 10000"/>
              <a:gd name="connsiteX42" fmla="*/ 5625 w 10000"/>
              <a:gd name="connsiteY42" fmla="*/ 10000 h 10000"/>
              <a:gd name="connsiteX43" fmla="*/ 5625 w 10000"/>
              <a:gd name="connsiteY43" fmla="*/ 10000 h 10000"/>
              <a:gd name="connsiteX0" fmla="*/ 5625 w 6429"/>
              <a:gd name="connsiteY0" fmla="*/ 10000 h 10000"/>
              <a:gd name="connsiteX1" fmla="*/ 5625 w 6429"/>
              <a:gd name="connsiteY1" fmla="*/ 10000 h 10000"/>
              <a:gd name="connsiteX2" fmla="*/ 5476 w 6429"/>
              <a:gd name="connsiteY2" fmla="*/ 9957 h 10000"/>
              <a:gd name="connsiteX3" fmla="*/ 5357 w 6429"/>
              <a:gd name="connsiteY3" fmla="*/ 9914 h 10000"/>
              <a:gd name="connsiteX4" fmla="*/ 5089 w 6429"/>
              <a:gd name="connsiteY4" fmla="*/ 9785 h 10000"/>
              <a:gd name="connsiteX5" fmla="*/ 536 w 6429"/>
              <a:gd name="connsiteY5" fmla="*/ 6094 h 10000"/>
              <a:gd name="connsiteX6" fmla="*/ 536 w 6429"/>
              <a:gd name="connsiteY6" fmla="*/ 6094 h 10000"/>
              <a:gd name="connsiteX7" fmla="*/ 298 w 6429"/>
              <a:gd name="connsiteY7" fmla="*/ 5880 h 10000"/>
              <a:gd name="connsiteX8" fmla="*/ 119 w 6429"/>
              <a:gd name="connsiteY8" fmla="*/ 5579 h 10000"/>
              <a:gd name="connsiteX9" fmla="*/ 30 w 6429"/>
              <a:gd name="connsiteY9" fmla="*/ 5322 h 10000"/>
              <a:gd name="connsiteX10" fmla="*/ 0 w 6429"/>
              <a:gd name="connsiteY10" fmla="*/ 4979 h 10000"/>
              <a:gd name="connsiteX11" fmla="*/ 0 w 6429"/>
              <a:gd name="connsiteY11" fmla="*/ 4979 h 10000"/>
              <a:gd name="connsiteX12" fmla="*/ 30 w 6429"/>
              <a:gd name="connsiteY12" fmla="*/ 4678 h 10000"/>
              <a:gd name="connsiteX13" fmla="*/ 119 w 6429"/>
              <a:gd name="connsiteY13" fmla="*/ 4378 h 10000"/>
              <a:gd name="connsiteX14" fmla="*/ 298 w 6429"/>
              <a:gd name="connsiteY14" fmla="*/ 4120 h 10000"/>
              <a:gd name="connsiteX15" fmla="*/ 536 w 6429"/>
              <a:gd name="connsiteY15" fmla="*/ 3906 h 10000"/>
              <a:gd name="connsiteX16" fmla="*/ 5089 w 6429"/>
              <a:gd name="connsiteY16" fmla="*/ 215 h 10000"/>
              <a:gd name="connsiteX17" fmla="*/ 5089 w 6429"/>
              <a:gd name="connsiteY17" fmla="*/ 215 h 10000"/>
              <a:gd name="connsiteX18" fmla="*/ 5357 w 6429"/>
              <a:gd name="connsiteY18" fmla="*/ 86 h 10000"/>
              <a:gd name="connsiteX19" fmla="*/ 5476 w 6429"/>
              <a:gd name="connsiteY19" fmla="*/ 43 h 10000"/>
              <a:gd name="connsiteX20" fmla="*/ 5625 w 6429"/>
              <a:gd name="connsiteY20" fmla="*/ 0 h 10000"/>
              <a:gd name="connsiteX21" fmla="*/ 5625 w 6429"/>
              <a:gd name="connsiteY21" fmla="*/ 0 h 10000"/>
              <a:gd name="connsiteX22" fmla="*/ 5774 w 6429"/>
              <a:gd name="connsiteY22" fmla="*/ 43 h 10000"/>
              <a:gd name="connsiteX23" fmla="*/ 5923 w 6429"/>
              <a:gd name="connsiteY23" fmla="*/ 86 h 10000"/>
              <a:gd name="connsiteX24" fmla="*/ 6042 w 6429"/>
              <a:gd name="connsiteY24" fmla="*/ 215 h 10000"/>
              <a:gd name="connsiteX25" fmla="*/ 6161 w 6429"/>
              <a:gd name="connsiteY25" fmla="*/ 386 h 10000"/>
              <a:gd name="connsiteX26" fmla="*/ 6280 w 6429"/>
              <a:gd name="connsiteY26" fmla="*/ 558 h 10000"/>
              <a:gd name="connsiteX27" fmla="*/ 6369 w 6429"/>
              <a:gd name="connsiteY27" fmla="*/ 815 h 10000"/>
              <a:gd name="connsiteX28" fmla="*/ 6399 w 6429"/>
              <a:gd name="connsiteY28" fmla="*/ 1116 h 10000"/>
              <a:gd name="connsiteX29" fmla="*/ 6429 w 6429"/>
              <a:gd name="connsiteY29" fmla="*/ 1502 h 10000"/>
              <a:gd name="connsiteX30" fmla="*/ 6429 w 6429"/>
              <a:gd name="connsiteY30" fmla="*/ 2532 h 10000"/>
              <a:gd name="connsiteX31" fmla="*/ 6429 w 6429"/>
              <a:gd name="connsiteY31" fmla="*/ 7468 h 10000"/>
              <a:gd name="connsiteX32" fmla="*/ 6429 w 6429"/>
              <a:gd name="connsiteY32" fmla="*/ 8498 h 10000"/>
              <a:gd name="connsiteX33" fmla="*/ 6429 w 6429"/>
              <a:gd name="connsiteY33" fmla="*/ 8498 h 10000"/>
              <a:gd name="connsiteX34" fmla="*/ 6399 w 6429"/>
              <a:gd name="connsiteY34" fmla="*/ 8841 h 10000"/>
              <a:gd name="connsiteX35" fmla="*/ 6369 w 6429"/>
              <a:gd name="connsiteY35" fmla="*/ 9099 h 10000"/>
              <a:gd name="connsiteX36" fmla="*/ 6310 w 6429"/>
              <a:gd name="connsiteY36" fmla="*/ 9356 h 10000"/>
              <a:gd name="connsiteX37" fmla="*/ 6190 w 6429"/>
              <a:gd name="connsiteY37" fmla="*/ 9571 h 10000"/>
              <a:gd name="connsiteX38" fmla="*/ 6071 w 6429"/>
              <a:gd name="connsiteY38" fmla="*/ 9742 h 10000"/>
              <a:gd name="connsiteX39" fmla="*/ 5952 w 6429"/>
              <a:gd name="connsiteY39" fmla="*/ 9871 h 10000"/>
              <a:gd name="connsiteX40" fmla="*/ 5774 w 6429"/>
              <a:gd name="connsiteY40" fmla="*/ 9957 h 10000"/>
              <a:gd name="connsiteX41" fmla="*/ 5625 w 6429"/>
              <a:gd name="connsiteY41" fmla="*/ 10000 h 10000"/>
              <a:gd name="connsiteX42" fmla="*/ 5625 w 6429"/>
              <a:gd name="connsiteY42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429" h="10000">
                <a:moveTo>
                  <a:pt x="5625" y="10000"/>
                </a:moveTo>
                <a:lnTo>
                  <a:pt x="5625" y="10000"/>
                </a:lnTo>
                <a:lnTo>
                  <a:pt x="5476" y="9957"/>
                </a:lnTo>
                <a:cubicBezTo>
                  <a:pt x="5436" y="9943"/>
                  <a:pt x="5397" y="9928"/>
                  <a:pt x="5357" y="9914"/>
                </a:cubicBezTo>
                <a:lnTo>
                  <a:pt x="5089" y="9785"/>
                </a:lnTo>
                <a:lnTo>
                  <a:pt x="536" y="6094"/>
                </a:lnTo>
                <a:lnTo>
                  <a:pt x="536" y="6094"/>
                </a:lnTo>
                <a:lnTo>
                  <a:pt x="298" y="5880"/>
                </a:lnTo>
                <a:cubicBezTo>
                  <a:pt x="238" y="5780"/>
                  <a:pt x="179" y="5679"/>
                  <a:pt x="119" y="5579"/>
                </a:cubicBezTo>
                <a:cubicBezTo>
                  <a:pt x="89" y="5493"/>
                  <a:pt x="60" y="5408"/>
                  <a:pt x="30" y="5322"/>
                </a:cubicBezTo>
                <a:cubicBezTo>
                  <a:pt x="20" y="5208"/>
                  <a:pt x="10" y="5093"/>
                  <a:pt x="0" y="4979"/>
                </a:cubicBezTo>
                <a:lnTo>
                  <a:pt x="0" y="4979"/>
                </a:lnTo>
                <a:cubicBezTo>
                  <a:pt x="10" y="4879"/>
                  <a:pt x="20" y="4778"/>
                  <a:pt x="30" y="4678"/>
                </a:cubicBezTo>
                <a:cubicBezTo>
                  <a:pt x="60" y="4578"/>
                  <a:pt x="89" y="4478"/>
                  <a:pt x="119" y="4378"/>
                </a:cubicBezTo>
                <a:lnTo>
                  <a:pt x="298" y="4120"/>
                </a:lnTo>
                <a:lnTo>
                  <a:pt x="536" y="3906"/>
                </a:lnTo>
                <a:lnTo>
                  <a:pt x="5089" y="215"/>
                </a:lnTo>
                <a:lnTo>
                  <a:pt x="5089" y="215"/>
                </a:lnTo>
                <a:lnTo>
                  <a:pt x="5357" y="86"/>
                </a:lnTo>
                <a:cubicBezTo>
                  <a:pt x="5397" y="72"/>
                  <a:pt x="5436" y="57"/>
                  <a:pt x="5476" y="43"/>
                </a:cubicBezTo>
                <a:lnTo>
                  <a:pt x="5625" y="0"/>
                </a:lnTo>
                <a:lnTo>
                  <a:pt x="5625" y="0"/>
                </a:lnTo>
                <a:lnTo>
                  <a:pt x="5774" y="43"/>
                </a:lnTo>
                <a:lnTo>
                  <a:pt x="5923" y="86"/>
                </a:lnTo>
                <a:lnTo>
                  <a:pt x="6042" y="215"/>
                </a:lnTo>
                <a:cubicBezTo>
                  <a:pt x="6082" y="272"/>
                  <a:pt x="6121" y="329"/>
                  <a:pt x="6161" y="386"/>
                </a:cubicBezTo>
                <a:cubicBezTo>
                  <a:pt x="6201" y="443"/>
                  <a:pt x="6240" y="501"/>
                  <a:pt x="6280" y="558"/>
                </a:cubicBezTo>
                <a:cubicBezTo>
                  <a:pt x="6310" y="644"/>
                  <a:pt x="6339" y="729"/>
                  <a:pt x="6369" y="815"/>
                </a:cubicBezTo>
                <a:cubicBezTo>
                  <a:pt x="6379" y="915"/>
                  <a:pt x="6389" y="1016"/>
                  <a:pt x="6399" y="1116"/>
                </a:cubicBezTo>
                <a:cubicBezTo>
                  <a:pt x="6409" y="1245"/>
                  <a:pt x="6419" y="1373"/>
                  <a:pt x="6429" y="1502"/>
                </a:cubicBezTo>
                <a:lnTo>
                  <a:pt x="6429" y="2532"/>
                </a:lnTo>
                <a:lnTo>
                  <a:pt x="6429" y="7468"/>
                </a:lnTo>
                <a:lnTo>
                  <a:pt x="6429" y="8498"/>
                </a:lnTo>
                <a:lnTo>
                  <a:pt x="6429" y="8498"/>
                </a:lnTo>
                <a:cubicBezTo>
                  <a:pt x="6419" y="8612"/>
                  <a:pt x="6409" y="8727"/>
                  <a:pt x="6399" y="8841"/>
                </a:cubicBezTo>
                <a:lnTo>
                  <a:pt x="6369" y="9099"/>
                </a:lnTo>
                <a:cubicBezTo>
                  <a:pt x="6349" y="9185"/>
                  <a:pt x="6330" y="9270"/>
                  <a:pt x="6310" y="9356"/>
                </a:cubicBezTo>
                <a:lnTo>
                  <a:pt x="6190" y="9571"/>
                </a:lnTo>
                <a:cubicBezTo>
                  <a:pt x="6150" y="9628"/>
                  <a:pt x="6111" y="9685"/>
                  <a:pt x="6071" y="9742"/>
                </a:cubicBezTo>
                <a:lnTo>
                  <a:pt x="5952" y="9871"/>
                </a:lnTo>
                <a:lnTo>
                  <a:pt x="5774" y="9957"/>
                </a:lnTo>
                <a:lnTo>
                  <a:pt x="5625" y="10000"/>
                </a:lnTo>
                <a:lnTo>
                  <a:pt x="5625" y="1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6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619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Recover:</a:t>
            </a:r>
            <a:r>
              <a:rPr lang="en-GB" dirty="0" smtClean="0"/>
              <a:t> Recover from kernel level malware 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mtClean="0"/>
              <a:t> Out-of-band integrity measurements trigger an alarm</a:t>
            </a:r>
            <a:endParaRPr lang="en-GB" dirty="0"/>
          </a:p>
        </p:txBody>
      </p:sp>
      <p:grpSp>
        <p:nvGrpSpPr>
          <p:cNvPr id="15" name="Group 422"/>
          <p:cNvGrpSpPr>
            <a:grpSpLocks noChangeAspect="1"/>
          </p:cNvGrpSpPr>
          <p:nvPr/>
        </p:nvGrpSpPr>
        <p:grpSpPr bwMode="auto">
          <a:xfrm>
            <a:off x="11052014" y="390743"/>
            <a:ext cx="527370" cy="603922"/>
            <a:chOff x="5326" y="548"/>
            <a:chExt cx="186" cy="213"/>
          </a:xfrm>
          <a:solidFill>
            <a:schemeClr val="accent1"/>
          </a:solidFill>
        </p:grpSpPr>
        <p:sp>
          <p:nvSpPr>
            <p:cNvPr id="16" name="Freeform 423"/>
            <p:cNvSpPr>
              <a:spLocks noEditPoints="1"/>
            </p:cNvSpPr>
            <p:nvPr/>
          </p:nvSpPr>
          <p:spPr bwMode="auto">
            <a:xfrm>
              <a:off x="5426" y="548"/>
              <a:ext cx="86" cy="153"/>
            </a:xfrm>
            <a:custGeom>
              <a:avLst/>
              <a:gdLst>
                <a:gd name="T0" fmla="*/ 85 w 172"/>
                <a:gd name="T1" fmla="*/ 94 h 306"/>
                <a:gd name="T2" fmla="*/ 106 w 172"/>
                <a:gd name="T3" fmla="*/ 91 h 306"/>
                <a:gd name="T4" fmla="*/ 120 w 172"/>
                <a:gd name="T5" fmla="*/ 84 h 306"/>
                <a:gd name="T6" fmla="*/ 128 w 172"/>
                <a:gd name="T7" fmla="*/ 69 h 306"/>
                <a:gd name="T8" fmla="*/ 131 w 172"/>
                <a:gd name="T9" fmla="*/ 47 h 306"/>
                <a:gd name="T10" fmla="*/ 129 w 172"/>
                <a:gd name="T11" fmla="*/ 35 h 306"/>
                <a:gd name="T12" fmla="*/ 125 w 172"/>
                <a:gd name="T13" fmla="*/ 17 h 306"/>
                <a:gd name="T14" fmla="*/ 114 w 172"/>
                <a:gd name="T15" fmla="*/ 6 h 306"/>
                <a:gd name="T16" fmla="*/ 97 w 172"/>
                <a:gd name="T17" fmla="*/ 0 h 306"/>
                <a:gd name="T18" fmla="*/ 85 w 172"/>
                <a:gd name="T19" fmla="*/ 0 h 306"/>
                <a:gd name="T20" fmla="*/ 65 w 172"/>
                <a:gd name="T21" fmla="*/ 2 h 306"/>
                <a:gd name="T22" fmla="*/ 51 w 172"/>
                <a:gd name="T23" fmla="*/ 10 h 306"/>
                <a:gd name="T24" fmla="*/ 43 w 172"/>
                <a:gd name="T25" fmla="*/ 25 h 306"/>
                <a:gd name="T26" fmla="*/ 41 w 172"/>
                <a:gd name="T27" fmla="*/ 47 h 306"/>
                <a:gd name="T28" fmla="*/ 41 w 172"/>
                <a:gd name="T29" fmla="*/ 59 h 306"/>
                <a:gd name="T30" fmla="*/ 46 w 172"/>
                <a:gd name="T31" fmla="*/ 76 h 306"/>
                <a:gd name="T32" fmla="*/ 57 w 172"/>
                <a:gd name="T33" fmla="*/ 88 h 306"/>
                <a:gd name="T34" fmla="*/ 74 w 172"/>
                <a:gd name="T35" fmla="*/ 93 h 306"/>
                <a:gd name="T36" fmla="*/ 85 w 172"/>
                <a:gd name="T37" fmla="*/ 94 h 306"/>
                <a:gd name="T38" fmla="*/ 36 w 172"/>
                <a:gd name="T39" fmla="*/ 108 h 306"/>
                <a:gd name="T40" fmla="*/ 28 w 172"/>
                <a:gd name="T41" fmla="*/ 108 h 306"/>
                <a:gd name="T42" fmla="*/ 14 w 172"/>
                <a:gd name="T43" fmla="*/ 113 h 306"/>
                <a:gd name="T44" fmla="*/ 5 w 172"/>
                <a:gd name="T45" fmla="*/ 122 h 306"/>
                <a:gd name="T46" fmla="*/ 0 w 172"/>
                <a:gd name="T47" fmla="*/ 138 h 306"/>
                <a:gd name="T48" fmla="*/ 0 w 172"/>
                <a:gd name="T49" fmla="*/ 173 h 306"/>
                <a:gd name="T50" fmla="*/ 28 w 172"/>
                <a:gd name="T51" fmla="*/ 156 h 306"/>
                <a:gd name="T52" fmla="*/ 29 w 172"/>
                <a:gd name="T53" fmla="*/ 154 h 306"/>
                <a:gd name="T54" fmla="*/ 32 w 172"/>
                <a:gd name="T55" fmla="*/ 153 h 306"/>
                <a:gd name="T56" fmla="*/ 36 w 172"/>
                <a:gd name="T57" fmla="*/ 156 h 306"/>
                <a:gd name="T58" fmla="*/ 133 w 172"/>
                <a:gd name="T59" fmla="*/ 306 h 306"/>
                <a:gd name="T60" fmla="*/ 135 w 172"/>
                <a:gd name="T61" fmla="*/ 281 h 306"/>
                <a:gd name="T62" fmla="*/ 136 w 172"/>
                <a:gd name="T63" fmla="*/ 265 h 306"/>
                <a:gd name="T64" fmla="*/ 136 w 172"/>
                <a:gd name="T65" fmla="*/ 156 h 306"/>
                <a:gd name="T66" fmla="*/ 139 w 172"/>
                <a:gd name="T67" fmla="*/ 153 h 306"/>
                <a:gd name="T68" fmla="*/ 142 w 172"/>
                <a:gd name="T69" fmla="*/ 154 h 306"/>
                <a:gd name="T70" fmla="*/ 142 w 172"/>
                <a:gd name="T71" fmla="*/ 258 h 306"/>
                <a:gd name="T72" fmla="*/ 143 w 172"/>
                <a:gd name="T73" fmla="*/ 260 h 306"/>
                <a:gd name="T74" fmla="*/ 145 w 172"/>
                <a:gd name="T75" fmla="*/ 266 h 306"/>
                <a:gd name="T76" fmla="*/ 152 w 172"/>
                <a:gd name="T77" fmla="*/ 272 h 306"/>
                <a:gd name="T78" fmla="*/ 158 w 172"/>
                <a:gd name="T79" fmla="*/ 272 h 306"/>
                <a:gd name="T80" fmla="*/ 167 w 172"/>
                <a:gd name="T81" fmla="*/ 269 h 306"/>
                <a:gd name="T82" fmla="*/ 172 w 172"/>
                <a:gd name="T83" fmla="*/ 258 h 306"/>
                <a:gd name="T84" fmla="*/ 172 w 172"/>
                <a:gd name="T85" fmla="*/ 146 h 306"/>
                <a:gd name="T86" fmla="*/ 169 w 172"/>
                <a:gd name="T87" fmla="*/ 129 h 306"/>
                <a:gd name="T88" fmla="*/ 162 w 172"/>
                <a:gd name="T89" fmla="*/ 117 h 306"/>
                <a:gd name="T90" fmla="*/ 151 w 172"/>
                <a:gd name="T91" fmla="*/ 111 h 306"/>
                <a:gd name="T92" fmla="*/ 136 w 172"/>
                <a:gd name="T93" fmla="*/ 108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2" h="306">
                  <a:moveTo>
                    <a:pt x="85" y="94"/>
                  </a:moveTo>
                  <a:lnTo>
                    <a:pt x="85" y="94"/>
                  </a:lnTo>
                  <a:lnTo>
                    <a:pt x="97" y="93"/>
                  </a:lnTo>
                  <a:lnTo>
                    <a:pt x="106" y="91"/>
                  </a:lnTo>
                  <a:lnTo>
                    <a:pt x="114" y="88"/>
                  </a:lnTo>
                  <a:lnTo>
                    <a:pt x="120" y="84"/>
                  </a:lnTo>
                  <a:lnTo>
                    <a:pt x="125" y="76"/>
                  </a:lnTo>
                  <a:lnTo>
                    <a:pt x="128" y="69"/>
                  </a:lnTo>
                  <a:lnTo>
                    <a:pt x="129" y="59"/>
                  </a:lnTo>
                  <a:lnTo>
                    <a:pt x="131" y="47"/>
                  </a:lnTo>
                  <a:lnTo>
                    <a:pt x="131" y="47"/>
                  </a:lnTo>
                  <a:lnTo>
                    <a:pt x="129" y="35"/>
                  </a:lnTo>
                  <a:lnTo>
                    <a:pt x="128" y="25"/>
                  </a:lnTo>
                  <a:lnTo>
                    <a:pt x="125" y="17"/>
                  </a:lnTo>
                  <a:lnTo>
                    <a:pt x="120" y="10"/>
                  </a:lnTo>
                  <a:lnTo>
                    <a:pt x="114" y="6"/>
                  </a:lnTo>
                  <a:lnTo>
                    <a:pt x="106" y="2"/>
                  </a:lnTo>
                  <a:lnTo>
                    <a:pt x="97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65" y="2"/>
                  </a:lnTo>
                  <a:lnTo>
                    <a:pt x="57" y="6"/>
                  </a:lnTo>
                  <a:lnTo>
                    <a:pt x="51" y="10"/>
                  </a:lnTo>
                  <a:lnTo>
                    <a:pt x="46" y="17"/>
                  </a:lnTo>
                  <a:lnTo>
                    <a:pt x="43" y="25"/>
                  </a:lnTo>
                  <a:lnTo>
                    <a:pt x="41" y="35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59"/>
                  </a:lnTo>
                  <a:lnTo>
                    <a:pt x="43" y="69"/>
                  </a:lnTo>
                  <a:lnTo>
                    <a:pt x="46" y="76"/>
                  </a:lnTo>
                  <a:lnTo>
                    <a:pt x="51" y="84"/>
                  </a:lnTo>
                  <a:lnTo>
                    <a:pt x="57" y="88"/>
                  </a:lnTo>
                  <a:lnTo>
                    <a:pt x="65" y="91"/>
                  </a:lnTo>
                  <a:lnTo>
                    <a:pt x="74" y="93"/>
                  </a:lnTo>
                  <a:lnTo>
                    <a:pt x="85" y="94"/>
                  </a:lnTo>
                  <a:lnTo>
                    <a:pt x="85" y="94"/>
                  </a:lnTo>
                  <a:close/>
                  <a:moveTo>
                    <a:pt x="136" y="108"/>
                  </a:moveTo>
                  <a:lnTo>
                    <a:pt x="36" y="108"/>
                  </a:lnTo>
                  <a:lnTo>
                    <a:pt x="36" y="108"/>
                  </a:lnTo>
                  <a:lnTo>
                    <a:pt x="28" y="108"/>
                  </a:lnTo>
                  <a:lnTo>
                    <a:pt x="21" y="111"/>
                  </a:lnTo>
                  <a:lnTo>
                    <a:pt x="14" y="113"/>
                  </a:lnTo>
                  <a:lnTo>
                    <a:pt x="10" y="117"/>
                  </a:lnTo>
                  <a:lnTo>
                    <a:pt x="5" y="122"/>
                  </a:lnTo>
                  <a:lnTo>
                    <a:pt x="2" y="129"/>
                  </a:lnTo>
                  <a:lnTo>
                    <a:pt x="0" y="138"/>
                  </a:lnTo>
                  <a:lnTo>
                    <a:pt x="0" y="146"/>
                  </a:lnTo>
                  <a:lnTo>
                    <a:pt x="0" y="173"/>
                  </a:lnTo>
                  <a:lnTo>
                    <a:pt x="28" y="201"/>
                  </a:lnTo>
                  <a:lnTo>
                    <a:pt x="28" y="156"/>
                  </a:lnTo>
                  <a:lnTo>
                    <a:pt x="28" y="156"/>
                  </a:lnTo>
                  <a:lnTo>
                    <a:pt x="29" y="154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5" y="154"/>
                  </a:lnTo>
                  <a:lnTo>
                    <a:pt x="36" y="156"/>
                  </a:lnTo>
                  <a:lnTo>
                    <a:pt x="36" y="209"/>
                  </a:lnTo>
                  <a:lnTo>
                    <a:pt x="133" y="306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6" y="265"/>
                  </a:lnTo>
                  <a:lnTo>
                    <a:pt x="136" y="156"/>
                  </a:lnTo>
                  <a:lnTo>
                    <a:pt x="136" y="156"/>
                  </a:lnTo>
                  <a:lnTo>
                    <a:pt x="137" y="154"/>
                  </a:lnTo>
                  <a:lnTo>
                    <a:pt x="139" y="153"/>
                  </a:lnTo>
                  <a:lnTo>
                    <a:pt x="139" y="153"/>
                  </a:lnTo>
                  <a:lnTo>
                    <a:pt x="142" y="154"/>
                  </a:lnTo>
                  <a:lnTo>
                    <a:pt x="142" y="156"/>
                  </a:lnTo>
                  <a:lnTo>
                    <a:pt x="142" y="258"/>
                  </a:lnTo>
                  <a:lnTo>
                    <a:pt x="142" y="258"/>
                  </a:lnTo>
                  <a:lnTo>
                    <a:pt x="143" y="260"/>
                  </a:lnTo>
                  <a:lnTo>
                    <a:pt x="143" y="260"/>
                  </a:lnTo>
                  <a:lnTo>
                    <a:pt x="145" y="266"/>
                  </a:lnTo>
                  <a:lnTo>
                    <a:pt x="148" y="269"/>
                  </a:lnTo>
                  <a:lnTo>
                    <a:pt x="152" y="272"/>
                  </a:lnTo>
                  <a:lnTo>
                    <a:pt x="158" y="272"/>
                  </a:lnTo>
                  <a:lnTo>
                    <a:pt x="158" y="272"/>
                  </a:lnTo>
                  <a:lnTo>
                    <a:pt x="163" y="271"/>
                  </a:lnTo>
                  <a:lnTo>
                    <a:pt x="167" y="269"/>
                  </a:lnTo>
                  <a:lnTo>
                    <a:pt x="170" y="264"/>
                  </a:lnTo>
                  <a:lnTo>
                    <a:pt x="172" y="258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2" y="138"/>
                  </a:lnTo>
                  <a:lnTo>
                    <a:pt x="169" y="129"/>
                  </a:lnTo>
                  <a:lnTo>
                    <a:pt x="166" y="122"/>
                  </a:lnTo>
                  <a:lnTo>
                    <a:pt x="162" y="117"/>
                  </a:lnTo>
                  <a:lnTo>
                    <a:pt x="158" y="113"/>
                  </a:lnTo>
                  <a:lnTo>
                    <a:pt x="151" y="111"/>
                  </a:lnTo>
                  <a:lnTo>
                    <a:pt x="143" y="108"/>
                  </a:lnTo>
                  <a:lnTo>
                    <a:pt x="136" y="108"/>
                  </a:lnTo>
                  <a:lnTo>
                    <a:pt x="136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424"/>
            <p:cNvSpPr>
              <a:spLocks noEditPoints="1"/>
            </p:cNvSpPr>
            <p:nvPr/>
          </p:nvSpPr>
          <p:spPr bwMode="auto">
            <a:xfrm>
              <a:off x="5326" y="580"/>
              <a:ext cx="181" cy="181"/>
            </a:xfrm>
            <a:custGeom>
              <a:avLst/>
              <a:gdLst>
                <a:gd name="T0" fmla="*/ 179 w 362"/>
                <a:gd name="T1" fmla="*/ 112 h 362"/>
                <a:gd name="T2" fmla="*/ 181 w 362"/>
                <a:gd name="T3" fmla="*/ 101 h 362"/>
                <a:gd name="T4" fmla="*/ 180 w 362"/>
                <a:gd name="T5" fmla="*/ 79 h 362"/>
                <a:gd name="T6" fmla="*/ 174 w 362"/>
                <a:gd name="T7" fmla="*/ 56 h 362"/>
                <a:gd name="T8" fmla="*/ 162 w 362"/>
                <a:gd name="T9" fmla="*/ 36 h 362"/>
                <a:gd name="T10" fmla="*/ 155 w 362"/>
                <a:gd name="T11" fmla="*/ 27 h 362"/>
                <a:gd name="T12" fmla="*/ 132 w 362"/>
                <a:gd name="T13" fmla="*/ 11 h 362"/>
                <a:gd name="T14" fmla="*/ 106 w 362"/>
                <a:gd name="T15" fmla="*/ 2 h 362"/>
                <a:gd name="T16" fmla="*/ 79 w 362"/>
                <a:gd name="T17" fmla="*/ 1 h 362"/>
                <a:gd name="T18" fmla="*/ 53 w 362"/>
                <a:gd name="T19" fmla="*/ 8 h 362"/>
                <a:gd name="T20" fmla="*/ 102 w 362"/>
                <a:gd name="T21" fmla="*/ 56 h 362"/>
                <a:gd name="T22" fmla="*/ 110 w 362"/>
                <a:gd name="T23" fmla="*/ 67 h 362"/>
                <a:gd name="T24" fmla="*/ 112 w 362"/>
                <a:gd name="T25" fmla="*/ 80 h 362"/>
                <a:gd name="T26" fmla="*/ 110 w 362"/>
                <a:gd name="T27" fmla="*/ 92 h 362"/>
                <a:gd name="T28" fmla="*/ 102 w 362"/>
                <a:gd name="T29" fmla="*/ 103 h 362"/>
                <a:gd name="T30" fmla="*/ 97 w 362"/>
                <a:gd name="T31" fmla="*/ 107 h 362"/>
                <a:gd name="T32" fmla="*/ 85 w 362"/>
                <a:gd name="T33" fmla="*/ 112 h 362"/>
                <a:gd name="T34" fmla="*/ 72 w 362"/>
                <a:gd name="T35" fmla="*/ 112 h 362"/>
                <a:gd name="T36" fmla="*/ 60 w 362"/>
                <a:gd name="T37" fmla="*/ 107 h 362"/>
                <a:gd name="T38" fmla="*/ 7 w 362"/>
                <a:gd name="T39" fmla="*/ 55 h 362"/>
                <a:gd name="T40" fmla="*/ 3 w 362"/>
                <a:gd name="T41" fmla="*/ 67 h 362"/>
                <a:gd name="T42" fmla="*/ 0 w 362"/>
                <a:gd name="T43" fmla="*/ 94 h 362"/>
                <a:gd name="T44" fmla="*/ 4 w 362"/>
                <a:gd name="T45" fmla="*/ 120 h 362"/>
                <a:gd name="T46" fmla="*/ 17 w 362"/>
                <a:gd name="T47" fmla="*/ 145 h 362"/>
                <a:gd name="T48" fmla="*/ 27 w 362"/>
                <a:gd name="T49" fmla="*/ 155 h 362"/>
                <a:gd name="T50" fmla="*/ 45 w 362"/>
                <a:gd name="T51" fmla="*/ 169 h 362"/>
                <a:gd name="T52" fmla="*/ 66 w 362"/>
                <a:gd name="T53" fmla="*/ 179 h 362"/>
                <a:gd name="T54" fmla="*/ 89 w 362"/>
                <a:gd name="T55" fmla="*/ 182 h 362"/>
                <a:gd name="T56" fmla="*/ 112 w 362"/>
                <a:gd name="T57" fmla="*/ 179 h 362"/>
                <a:gd name="T58" fmla="*/ 282 w 362"/>
                <a:gd name="T59" fmla="*/ 349 h 362"/>
                <a:gd name="T60" fmla="*/ 297 w 362"/>
                <a:gd name="T61" fmla="*/ 359 h 362"/>
                <a:gd name="T62" fmla="*/ 314 w 362"/>
                <a:gd name="T63" fmla="*/ 362 h 362"/>
                <a:gd name="T64" fmla="*/ 324 w 362"/>
                <a:gd name="T65" fmla="*/ 362 h 362"/>
                <a:gd name="T66" fmla="*/ 340 w 362"/>
                <a:gd name="T67" fmla="*/ 355 h 362"/>
                <a:gd name="T68" fmla="*/ 348 w 362"/>
                <a:gd name="T69" fmla="*/ 349 h 362"/>
                <a:gd name="T70" fmla="*/ 359 w 362"/>
                <a:gd name="T71" fmla="*/ 333 h 362"/>
                <a:gd name="T72" fmla="*/ 362 w 362"/>
                <a:gd name="T73" fmla="*/ 316 h 362"/>
                <a:gd name="T74" fmla="*/ 359 w 362"/>
                <a:gd name="T75" fmla="*/ 298 h 362"/>
                <a:gd name="T76" fmla="*/ 348 w 362"/>
                <a:gd name="T77" fmla="*/ 283 h 362"/>
                <a:gd name="T78" fmla="*/ 329 w 362"/>
                <a:gd name="T79" fmla="*/ 330 h 362"/>
                <a:gd name="T80" fmla="*/ 326 w 362"/>
                <a:gd name="T81" fmla="*/ 333 h 362"/>
                <a:gd name="T82" fmla="*/ 319 w 362"/>
                <a:gd name="T83" fmla="*/ 336 h 362"/>
                <a:gd name="T84" fmla="*/ 311 w 362"/>
                <a:gd name="T85" fmla="*/ 336 h 362"/>
                <a:gd name="T86" fmla="*/ 304 w 362"/>
                <a:gd name="T87" fmla="*/ 333 h 362"/>
                <a:gd name="T88" fmla="*/ 300 w 362"/>
                <a:gd name="T89" fmla="*/ 330 h 362"/>
                <a:gd name="T90" fmla="*/ 296 w 362"/>
                <a:gd name="T91" fmla="*/ 324 h 362"/>
                <a:gd name="T92" fmla="*/ 294 w 362"/>
                <a:gd name="T93" fmla="*/ 316 h 362"/>
                <a:gd name="T94" fmla="*/ 296 w 362"/>
                <a:gd name="T95" fmla="*/ 308 h 362"/>
                <a:gd name="T96" fmla="*/ 300 w 362"/>
                <a:gd name="T97" fmla="*/ 301 h 362"/>
                <a:gd name="T98" fmla="*/ 304 w 362"/>
                <a:gd name="T99" fmla="*/ 299 h 362"/>
                <a:gd name="T100" fmla="*/ 311 w 362"/>
                <a:gd name="T101" fmla="*/ 296 h 362"/>
                <a:gd name="T102" fmla="*/ 319 w 362"/>
                <a:gd name="T103" fmla="*/ 296 h 362"/>
                <a:gd name="T104" fmla="*/ 326 w 362"/>
                <a:gd name="T105" fmla="*/ 299 h 362"/>
                <a:gd name="T106" fmla="*/ 329 w 362"/>
                <a:gd name="T107" fmla="*/ 301 h 362"/>
                <a:gd name="T108" fmla="*/ 334 w 362"/>
                <a:gd name="T109" fmla="*/ 308 h 362"/>
                <a:gd name="T110" fmla="*/ 336 w 362"/>
                <a:gd name="T111" fmla="*/ 316 h 362"/>
                <a:gd name="T112" fmla="*/ 334 w 362"/>
                <a:gd name="T113" fmla="*/ 324 h 362"/>
                <a:gd name="T114" fmla="*/ 329 w 362"/>
                <a:gd name="T115" fmla="*/ 33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2" h="362">
                  <a:moveTo>
                    <a:pt x="348" y="283"/>
                  </a:moveTo>
                  <a:lnTo>
                    <a:pt x="179" y="112"/>
                  </a:lnTo>
                  <a:lnTo>
                    <a:pt x="179" y="112"/>
                  </a:lnTo>
                  <a:lnTo>
                    <a:pt x="181" y="101"/>
                  </a:lnTo>
                  <a:lnTo>
                    <a:pt x="181" y="90"/>
                  </a:lnTo>
                  <a:lnTo>
                    <a:pt x="180" y="79"/>
                  </a:lnTo>
                  <a:lnTo>
                    <a:pt x="177" y="67"/>
                  </a:lnTo>
                  <a:lnTo>
                    <a:pt x="174" y="56"/>
                  </a:lnTo>
                  <a:lnTo>
                    <a:pt x="169" y="47"/>
                  </a:lnTo>
                  <a:lnTo>
                    <a:pt x="162" y="36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44" y="17"/>
                  </a:lnTo>
                  <a:lnTo>
                    <a:pt x="132" y="11"/>
                  </a:lnTo>
                  <a:lnTo>
                    <a:pt x="119" y="6"/>
                  </a:lnTo>
                  <a:lnTo>
                    <a:pt x="106" y="2"/>
                  </a:lnTo>
                  <a:lnTo>
                    <a:pt x="93" y="0"/>
                  </a:lnTo>
                  <a:lnTo>
                    <a:pt x="79" y="1"/>
                  </a:lnTo>
                  <a:lnTo>
                    <a:pt x="66" y="3"/>
                  </a:lnTo>
                  <a:lnTo>
                    <a:pt x="53" y="8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6" y="62"/>
                  </a:lnTo>
                  <a:lnTo>
                    <a:pt x="110" y="67"/>
                  </a:lnTo>
                  <a:lnTo>
                    <a:pt x="111" y="73"/>
                  </a:lnTo>
                  <a:lnTo>
                    <a:pt x="112" y="80"/>
                  </a:lnTo>
                  <a:lnTo>
                    <a:pt x="111" y="85"/>
                  </a:lnTo>
                  <a:lnTo>
                    <a:pt x="110" y="92"/>
                  </a:lnTo>
                  <a:lnTo>
                    <a:pt x="106" y="97"/>
                  </a:lnTo>
                  <a:lnTo>
                    <a:pt x="102" y="103"/>
                  </a:lnTo>
                  <a:lnTo>
                    <a:pt x="102" y="103"/>
                  </a:lnTo>
                  <a:lnTo>
                    <a:pt x="97" y="107"/>
                  </a:lnTo>
                  <a:lnTo>
                    <a:pt x="91" y="110"/>
                  </a:lnTo>
                  <a:lnTo>
                    <a:pt x="85" y="112"/>
                  </a:lnTo>
                  <a:lnTo>
                    <a:pt x="78" y="112"/>
                  </a:lnTo>
                  <a:lnTo>
                    <a:pt x="72" y="112"/>
                  </a:lnTo>
                  <a:lnTo>
                    <a:pt x="66" y="110"/>
                  </a:lnTo>
                  <a:lnTo>
                    <a:pt x="60" y="107"/>
                  </a:lnTo>
                  <a:lnTo>
                    <a:pt x="56" y="103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3" y="67"/>
                  </a:lnTo>
                  <a:lnTo>
                    <a:pt x="1" y="81"/>
                  </a:lnTo>
                  <a:lnTo>
                    <a:pt x="0" y="94"/>
                  </a:lnTo>
                  <a:lnTo>
                    <a:pt x="1" y="107"/>
                  </a:lnTo>
                  <a:lnTo>
                    <a:pt x="4" y="120"/>
                  </a:lnTo>
                  <a:lnTo>
                    <a:pt x="9" y="133"/>
                  </a:lnTo>
                  <a:lnTo>
                    <a:pt x="17" y="14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35" y="163"/>
                  </a:lnTo>
                  <a:lnTo>
                    <a:pt x="45" y="169"/>
                  </a:lnTo>
                  <a:lnTo>
                    <a:pt x="56" y="175"/>
                  </a:lnTo>
                  <a:lnTo>
                    <a:pt x="66" y="179"/>
                  </a:lnTo>
                  <a:lnTo>
                    <a:pt x="77" y="181"/>
                  </a:lnTo>
                  <a:lnTo>
                    <a:pt x="89" y="182"/>
                  </a:lnTo>
                  <a:lnTo>
                    <a:pt x="101" y="181"/>
                  </a:lnTo>
                  <a:lnTo>
                    <a:pt x="112" y="179"/>
                  </a:lnTo>
                  <a:lnTo>
                    <a:pt x="282" y="349"/>
                  </a:lnTo>
                  <a:lnTo>
                    <a:pt x="282" y="349"/>
                  </a:lnTo>
                  <a:lnTo>
                    <a:pt x="289" y="355"/>
                  </a:lnTo>
                  <a:lnTo>
                    <a:pt x="297" y="359"/>
                  </a:lnTo>
                  <a:lnTo>
                    <a:pt x="306" y="362"/>
                  </a:lnTo>
                  <a:lnTo>
                    <a:pt x="314" y="362"/>
                  </a:lnTo>
                  <a:lnTo>
                    <a:pt x="314" y="362"/>
                  </a:lnTo>
                  <a:lnTo>
                    <a:pt x="324" y="362"/>
                  </a:lnTo>
                  <a:lnTo>
                    <a:pt x="333" y="359"/>
                  </a:lnTo>
                  <a:lnTo>
                    <a:pt x="340" y="355"/>
                  </a:lnTo>
                  <a:lnTo>
                    <a:pt x="348" y="349"/>
                  </a:lnTo>
                  <a:lnTo>
                    <a:pt x="348" y="349"/>
                  </a:lnTo>
                  <a:lnTo>
                    <a:pt x="354" y="342"/>
                  </a:lnTo>
                  <a:lnTo>
                    <a:pt x="359" y="333"/>
                  </a:lnTo>
                  <a:lnTo>
                    <a:pt x="361" y="325"/>
                  </a:lnTo>
                  <a:lnTo>
                    <a:pt x="362" y="316"/>
                  </a:lnTo>
                  <a:lnTo>
                    <a:pt x="361" y="306"/>
                  </a:lnTo>
                  <a:lnTo>
                    <a:pt x="359" y="298"/>
                  </a:lnTo>
                  <a:lnTo>
                    <a:pt x="354" y="290"/>
                  </a:lnTo>
                  <a:lnTo>
                    <a:pt x="348" y="283"/>
                  </a:lnTo>
                  <a:lnTo>
                    <a:pt x="348" y="283"/>
                  </a:lnTo>
                  <a:close/>
                  <a:moveTo>
                    <a:pt x="329" y="330"/>
                  </a:moveTo>
                  <a:lnTo>
                    <a:pt x="329" y="330"/>
                  </a:lnTo>
                  <a:lnTo>
                    <a:pt x="326" y="333"/>
                  </a:lnTo>
                  <a:lnTo>
                    <a:pt x="323" y="334"/>
                  </a:lnTo>
                  <a:lnTo>
                    <a:pt x="319" y="336"/>
                  </a:lnTo>
                  <a:lnTo>
                    <a:pt x="314" y="336"/>
                  </a:lnTo>
                  <a:lnTo>
                    <a:pt x="311" y="336"/>
                  </a:lnTo>
                  <a:lnTo>
                    <a:pt x="307" y="334"/>
                  </a:lnTo>
                  <a:lnTo>
                    <a:pt x="304" y="333"/>
                  </a:lnTo>
                  <a:lnTo>
                    <a:pt x="300" y="330"/>
                  </a:lnTo>
                  <a:lnTo>
                    <a:pt x="300" y="330"/>
                  </a:lnTo>
                  <a:lnTo>
                    <a:pt x="297" y="327"/>
                  </a:lnTo>
                  <a:lnTo>
                    <a:pt x="296" y="324"/>
                  </a:lnTo>
                  <a:lnTo>
                    <a:pt x="295" y="319"/>
                  </a:lnTo>
                  <a:lnTo>
                    <a:pt x="294" y="316"/>
                  </a:lnTo>
                  <a:lnTo>
                    <a:pt x="295" y="312"/>
                  </a:lnTo>
                  <a:lnTo>
                    <a:pt x="296" y="308"/>
                  </a:lnTo>
                  <a:lnTo>
                    <a:pt x="297" y="304"/>
                  </a:lnTo>
                  <a:lnTo>
                    <a:pt x="300" y="301"/>
                  </a:lnTo>
                  <a:lnTo>
                    <a:pt x="300" y="301"/>
                  </a:lnTo>
                  <a:lnTo>
                    <a:pt x="304" y="299"/>
                  </a:lnTo>
                  <a:lnTo>
                    <a:pt x="307" y="297"/>
                  </a:lnTo>
                  <a:lnTo>
                    <a:pt x="311" y="296"/>
                  </a:lnTo>
                  <a:lnTo>
                    <a:pt x="314" y="296"/>
                  </a:lnTo>
                  <a:lnTo>
                    <a:pt x="319" y="296"/>
                  </a:lnTo>
                  <a:lnTo>
                    <a:pt x="323" y="297"/>
                  </a:lnTo>
                  <a:lnTo>
                    <a:pt x="326" y="299"/>
                  </a:lnTo>
                  <a:lnTo>
                    <a:pt x="329" y="301"/>
                  </a:lnTo>
                  <a:lnTo>
                    <a:pt x="329" y="301"/>
                  </a:lnTo>
                  <a:lnTo>
                    <a:pt x="332" y="304"/>
                  </a:lnTo>
                  <a:lnTo>
                    <a:pt x="334" y="308"/>
                  </a:lnTo>
                  <a:lnTo>
                    <a:pt x="335" y="312"/>
                  </a:lnTo>
                  <a:lnTo>
                    <a:pt x="336" y="316"/>
                  </a:lnTo>
                  <a:lnTo>
                    <a:pt x="335" y="319"/>
                  </a:lnTo>
                  <a:lnTo>
                    <a:pt x="334" y="324"/>
                  </a:lnTo>
                  <a:lnTo>
                    <a:pt x="332" y="327"/>
                  </a:lnTo>
                  <a:lnTo>
                    <a:pt x="329" y="330"/>
                  </a:lnTo>
                  <a:lnTo>
                    <a:pt x="329" y="3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3806040" y="2857650"/>
            <a:ext cx="589993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573474">
              <a:spcAft>
                <a:spcPts val="2000"/>
              </a:spcAft>
              <a:buSzPct val="50000"/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prstClr val="black"/>
                </a:solidFill>
                <a:cs typeface="HP Simplified" pitchFamily="34" charset="0"/>
              </a:rPr>
              <a:t>Perform secure reboot to restore to trusted </a:t>
            </a:r>
            <a:r>
              <a:rPr lang="en-GB" sz="2000" dirty="0" smtClean="0">
                <a:solidFill>
                  <a:prstClr val="black"/>
                </a:solidFill>
                <a:cs typeface="HP Simplified" pitchFamily="34" charset="0"/>
              </a:rPr>
              <a:t>state</a:t>
            </a:r>
          </a:p>
          <a:p>
            <a:pPr marL="171450" indent="-171450" defTabSz="573474">
              <a:spcAft>
                <a:spcPts val="2000"/>
              </a:spcAft>
              <a:buSzPct val="50000"/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prstClr val="black"/>
                </a:solidFill>
                <a:cs typeface="HP Simplified" pitchFamily="34" charset="0"/>
              </a:rPr>
              <a:t>Freeze </a:t>
            </a:r>
            <a:r>
              <a:rPr lang="en-GB" sz="2000" dirty="0">
                <a:solidFill>
                  <a:prstClr val="black"/>
                </a:solidFill>
                <a:cs typeface="HP Simplified" pitchFamily="34" charset="0"/>
              </a:rPr>
              <a:t>Machine core and send for forensic analysis</a:t>
            </a:r>
          </a:p>
          <a:p>
            <a:pPr marL="171450" indent="-171450" defTabSz="573474">
              <a:spcAft>
                <a:spcPts val="2000"/>
              </a:spcAft>
              <a:buSzPct val="50000"/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prstClr val="black"/>
                </a:solidFill>
                <a:cs typeface="HP Simplified" pitchFamily="34" charset="0"/>
              </a:rPr>
              <a:t>Migrate workload </a:t>
            </a:r>
            <a:r>
              <a:rPr lang="en-GB" sz="2000" dirty="0">
                <a:solidFill>
                  <a:prstClr val="black"/>
                </a:solidFill>
                <a:cs typeface="HP Simplified" pitchFamily="34" charset="0"/>
              </a:rPr>
              <a:t>to new </a:t>
            </a:r>
            <a:r>
              <a:rPr lang="en-GB" sz="2000" dirty="0" smtClean="0">
                <a:solidFill>
                  <a:prstClr val="black"/>
                </a:solidFill>
                <a:cs typeface="HP Simplified" pitchFamily="34" charset="0"/>
              </a:rPr>
              <a:t>core</a:t>
            </a:r>
            <a:endParaRPr lang="en-GB" sz="2000" dirty="0">
              <a:solidFill>
                <a:prstClr val="black"/>
              </a:solidFill>
              <a:cs typeface="HP Simplified" pitchFamily="34" charset="0"/>
            </a:endParaRPr>
          </a:p>
          <a:p>
            <a:pPr marL="171450" indent="-171450" defTabSz="573474">
              <a:spcAft>
                <a:spcPts val="2000"/>
              </a:spcAft>
              <a:buSzPct val="50000"/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prstClr val="black"/>
                </a:solidFill>
                <a:cs typeface="HP Simplified" pitchFamily="34" charset="0"/>
              </a:rPr>
              <a:t>Turn on advanced monitoring</a:t>
            </a:r>
          </a:p>
        </p:txBody>
      </p:sp>
      <p:sp>
        <p:nvSpPr>
          <p:cNvPr id="18" name="Freeform 454"/>
          <p:cNvSpPr>
            <a:spLocks/>
          </p:cNvSpPr>
          <p:nvPr/>
        </p:nvSpPr>
        <p:spPr bwMode="auto">
          <a:xfrm>
            <a:off x="3838302" y="2926644"/>
            <a:ext cx="138113" cy="242888"/>
          </a:xfrm>
          <a:custGeom>
            <a:avLst/>
            <a:gdLst>
              <a:gd name="T0" fmla="*/ 29 w 174"/>
              <a:gd name="T1" fmla="*/ 5 h 305"/>
              <a:gd name="T2" fmla="*/ 3 w 174"/>
              <a:gd name="T3" fmla="*/ 31 h 305"/>
              <a:gd name="T4" fmla="*/ 3 w 174"/>
              <a:gd name="T5" fmla="*/ 31 h 305"/>
              <a:gd name="T6" fmla="*/ 1 w 174"/>
              <a:gd name="T7" fmla="*/ 35 h 305"/>
              <a:gd name="T8" fmla="*/ 0 w 174"/>
              <a:gd name="T9" fmla="*/ 39 h 305"/>
              <a:gd name="T10" fmla="*/ 1 w 174"/>
              <a:gd name="T11" fmla="*/ 44 h 305"/>
              <a:gd name="T12" fmla="*/ 3 w 174"/>
              <a:gd name="T13" fmla="*/ 48 h 305"/>
              <a:gd name="T14" fmla="*/ 97 w 174"/>
              <a:gd name="T15" fmla="*/ 154 h 305"/>
              <a:gd name="T16" fmla="*/ 5 w 174"/>
              <a:gd name="T17" fmla="*/ 258 h 305"/>
              <a:gd name="T18" fmla="*/ 5 w 174"/>
              <a:gd name="T19" fmla="*/ 258 h 305"/>
              <a:gd name="T20" fmla="*/ 3 w 174"/>
              <a:gd name="T21" fmla="*/ 262 h 305"/>
              <a:gd name="T22" fmla="*/ 2 w 174"/>
              <a:gd name="T23" fmla="*/ 266 h 305"/>
              <a:gd name="T24" fmla="*/ 3 w 174"/>
              <a:gd name="T25" fmla="*/ 271 h 305"/>
              <a:gd name="T26" fmla="*/ 5 w 174"/>
              <a:gd name="T27" fmla="*/ 275 h 305"/>
              <a:gd name="T28" fmla="*/ 31 w 174"/>
              <a:gd name="T29" fmla="*/ 301 h 305"/>
              <a:gd name="T30" fmla="*/ 31 w 174"/>
              <a:gd name="T31" fmla="*/ 301 h 305"/>
              <a:gd name="T32" fmla="*/ 34 w 174"/>
              <a:gd name="T33" fmla="*/ 304 h 305"/>
              <a:gd name="T34" fmla="*/ 40 w 174"/>
              <a:gd name="T35" fmla="*/ 305 h 305"/>
              <a:gd name="T36" fmla="*/ 44 w 174"/>
              <a:gd name="T37" fmla="*/ 304 h 305"/>
              <a:gd name="T38" fmla="*/ 47 w 174"/>
              <a:gd name="T39" fmla="*/ 301 h 305"/>
              <a:gd name="T40" fmla="*/ 171 w 174"/>
              <a:gd name="T41" fmla="*/ 163 h 305"/>
              <a:gd name="T42" fmla="*/ 171 w 174"/>
              <a:gd name="T43" fmla="*/ 163 h 305"/>
              <a:gd name="T44" fmla="*/ 173 w 174"/>
              <a:gd name="T45" fmla="*/ 158 h 305"/>
              <a:gd name="T46" fmla="*/ 174 w 174"/>
              <a:gd name="T47" fmla="*/ 154 h 305"/>
              <a:gd name="T48" fmla="*/ 173 w 174"/>
              <a:gd name="T49" fmla="*/ 150 h 305"/>
              <a:gd name="T50" fmla="*/ 171 w 174"/>
              <a:gd name="T51" fmla="*/ 145 h 305"/>
              <a:gd name="T52" fmla="*/ 169 w 174"/>
              <a:gd name="T53" fmla="*/ 143 h 305"/>
              <a:gd name="T54" fmla="*/ 46 w 174"/>
              <a:gd name="T55" fmla="*/ 5 h 305"/>
              <a:gd name="T56" fmla="*/ 46 w 174"/>
              <a:gd name="T57" fmla="*/ 5 h 305"/>
              <a:gd name="T58" fmla="*/ 42 w 174"/>
              <a:gd name="T59" fmla="*/ 2 h 305"/>
              <a:gd name="T60" fmla="*/ 37 w 174"/>
              <a:gd name="T61" fmla="*/ 0 h 305"/>
              <a:gd name="T62" fmla="*/ 32 w 174"/>
              <a:gd name="T63" fmla="*/ 2 h 305"/>
              <a:gd name="T64" fmla="*/ 29 w 174"/>
              <a:gd name="T65" fmla="*/ 5 h 305"/>
              <a:gd name="T66" fmla="*/ 29 w 174"/>
              <a:gd name="T67" fmla="*/ 5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4" h="305">
                <a:moveTo>
                  <a:pt x="29" y="5"/>
                </a:moveTo>
                <a:lnTo>
                  <a:pt x="3" y="31"/>
                </a:lnTo>
                <a:lnTo>
                  <a:pt x="3" y="31"/>
                </a:lnTo>
                <a:lnTo>
                  <a:pt x="1" y="35"/>
                </a:lnTo>
                <a:lnTo>
                  <a:pt x="0" y="39"/>
                </a:lnTo>
                <a:lnTo>
                  <a:pt x="1" y="44"/>
                </a:lnTo>
                <a:lnTo>
                  <a:pt x="3" y="48"/>
                </a:lnTo>
                <a:lnTo>
                  <a:pt x="97" y="154"/>
                </a:lnTo>
                <a:lnTo>
                  <a:pt x="5" y="258"/>
                </a:lnTo>
                <a:lnTo>
                  <a:pt x="5" y="258"/>
                </a:lnTo>
                <a:lnTo>
                  <a:pt x="3" y="262"/>
                </a:lnTo>
                <a:lnTo>
                  <a:pt x="2" y="266"/>
                </a:lnTo>
                <a:lnTo>
                  <a:pt x="3" y="271"/>
                </a:lnTo>
                <a:lnTo>
                  <a:pt x="5" y="275"/>
                </a:lnTo>
                <a:lnTo>
                  <a:pt x="31" y="301"/>
                </a:lnTo>
                <a:lnTo>
                  <a:pt x="31" y="301"/>
                </a:lnTo>
                <a:lnTo>
                  <a:pt x="34" y="304"/>
                </a:lnTo>
                <a:lnTo>
                  <a:pt x="40" y="305"/>
                </a:lnTo>
                <a:lnTo>
                  <a:pt x="44" y="304"/>
                </a:lnTo>
                <a:lnTo>
                  <a:pt x="47" y="301"/>
                </a:lnTo>
                <a:lnTo>
                  <a:pt x="171" y="163"/>
                </a:lnTo>
                <a:lnTo>
                  <a:pt x="171" y="163"/>
                </a:lnTo>
                <a:lnTo>
                  <a:pt x="173" y="158"/>
                </a:lnTo>
                <a:lnTo>
                  <a:pt x="174" y="154"/>
                </a:lnTo>
                <a:lnTo>
                  <a:pt x="173" y="150"/>
                </a:lnTo>
                <a:lnTo>
                  <a:pt x="171" y="145"/>
                </a:lnTo>
                <a:lnTo>
                  <a:pt x="169" y="143"/>
                </a:lnTo>
                <a:lnTo>
                  <a:pt x="46" y="5"/>
                </a:lnTo>
                <a:lnTo>
                  <a:pt x="46" y="5"/>
                </a:lnTo>
                <a:lnTo>
                  <a:pt x="42" y="2"/>
                </a:lnTo>
                <a:lnTo>
                  <a:pt x="37" y="0"/>
                </a:lnTo>
                <a:lnTo>
                  <a:pt x="32" y="2"/>
                </a:lnTo>
                <a:lnTo>
                  <a:pt x="29" y="5"/>
                </a:lnTo>
                <a:lnTo>
                  <a:pt x="29" y="5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9" name="Freeform 454"/>
          <p:cNvSpPr>
            <a:spLocks/>
          </p:cNvSpPr>
          <p:nvPr/>
        </p:nvSpPr>
        <p:spPr bwMode="auto">
          <a:xfrm>
            <a:off x="3838302" y="3487083"/>
            <a:ext cx="138113" cy="242888"/>
          </a:xfrm>
          <a:custGeom>
            <a:avLst/>
            <a:gdLst>
              <a:gd name="T0" fmla="*/ 29 w 174"/>
              <a:gd name="T1" fmla="*/ 5 h 305"/>
              <a:gd name="T2" fmla="*/ 3 w 174"/>
              <a:gd name="T3" fmla="*/ 31 h 305"/>
              <a:gd name="T4" fmla="*/ 3 w 174"/>
              <a:gd name="T5" fmla="*/ 31 h 305"/>
              <a:gd name="T6" fmla="*/ 1 w 174"/>
              <a:gd name="T7" fmla="*/ 35 h 305"/>
              <a:gd name="T8" fmla="*/ 0 w 174"/>
              <a:gd name="T9" fmla="*/ 39 h 305"/>
              <a:gd name="T10" fmla="*/ 1 w 174"/>
              <a:gd name="T11" fmla="*/ 44 h 305"/>
              <a:gd name="T12" fmla="*/ 3 w 174"/>
              <a:gd name="T13" fmla="*/ 48 h 305"/>
              <a:gd name="T14" fmla="*/ 97 w 174"/>
              <a:gd name="T15" fmla="*/ 154 h 305"/>
              <a:gd name="T16" fmla="*/ 5 w 174"/>
              <a:gd name="T17" fmla="*/ 258 h 305"/>
              <a:gd name="T18" fmla="*/ 5 w 174"/>
              <a:gd name="T19" fmla="*/ 258 h 305"/>
              <a:gd name="T20" fmla="*/ 3 w 174"/>
              <a:gd name="T21" fmla="*/ 262 h 305"/>
              <a:gd name="T22" fmla="*/ 2 w 174"/>
              <a:gd name="T23" fmla="*/ 266 h 305"/>
              <a:gd name="T24" fmla="*/ 3 w 174"/>
              <a:gd name="T25" fmla="*/ 271 h 305"/>
              <a:gd name="T26" fmla="*/ 5 w 174"/>
              <a:gd name="T27" fmla="*/ 275 h 305"/>
              <a:gd name="T28" fmla="*/ 31 w 174"/>
              <a:gd name="T29" fmla="*/ 301 h 305"/>
              <a:gd name="T30" fmla="*/ 31 w 174"/>
              <a:gd name="T31" fmla="*/ 301 h 305"/>
              <a:gd name="T32" fmla="*/ 34 w 174"/>
              <a:gd name="T33" fmla="*/ 304 h 305"/>
              <a:gd name="T34" fmla="*/ 40 w 174"/>
              <a:gd name="T35" fmla="*/ 305 h 305"/>
              <a:gd name="T36" fmla="*/ 44 w 174"/>
              <a:gd name="T37" fmla="*/ 304 h 305"/>
              <a:gd name="T38" fmla="*/ 47 w 174"/>
              <a:gd name="T39" fmla="*/ 301 h 305"/>
              <a:gd name="T40" fmla="*/ 171 w 174"/>
              <a:gd name="T41" fmla="*/ 163 h 305"/>
              <a:gd name="T42" fmla="*/ 171 w 174"/>
              <a:gd name="T43" fmla="*/ 163 h 305"/>
              <a:gd name="T44" fmla="*/ 173 w 174"/>
              <a:gd name="T45" fmla="*/ 158 h 305"/>
              <a:gd name="T46" fmla="*/ 174 w 174"/>
              <a:gd name="T47" fmla="*/ 154 h 305"/>
              <a:gd name="T48" fmla="*/ 173 w 174"/>
              <a:gd name="T49" fmla="*/ 150 h 305"/>
              <a:gd name="T50" fmla="*/ 171 w 174"/>
              <a:gd name="T51" fmla="*/ 145 h 305"/>
              <a:gd name="T52" fmla="*/ 169 w 174"/>
              <a:gd name="T53" fmla="*/ 143 h 305"/>
              <a:gd name="T54" fmla="*/ 46 w 174"/>
              <a:gd name="T55" fmla="*/ 5 h 305"/>
              <a:gd name="T56" fmla="*/ 46 w 174"/>
              <a:gd name="T57" fmla="*/ 5 h 305"/>
              <a:gd name="T58" fmla="*/ 42 w 174"/>
              <a:gd name="T59" fmla="*/ 2 h 305"/>
              <a:gd name="T60" fmla="*/ 37 w 174"/>
              <a:gd name="T61" fmla="*/ 0 h 305"/>
              <a:gd name="T62" fmla="*/ 32 w 174"/>
              <a:gd name="T63" fmla="*/ 2 h 305"/>
              <a:gd name="T64" fmla="*/ 29 w 174"/>
              <a:gd name="T65" fmla="*/ 5 h 305"/>
              <a:gd name="T66" fmla="*/ 29 w 174"/>
              <a:gd name="T67" fmla="*/ 5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4" h="305">
                <a:moveTo>
                  <a:pt x="29" y="5"/>
                </a:moveTo>
                <a:lnTo>
                  <a:pt x="3" y="31"/>
                </a:lnTo>
                <a:lnTo>
                  <a:pt x="3" y="31"/>
                </a:lnTo>
                <a:lnTo>
                  <a:pt x="1" y="35"/>
                </a:lnTo>
                <a:lnTo>
                  <a:pt x="0" y="39"/>
                </a:lnTo>
                <a:lnTo>
                  <a:pt x="1" y="44"/>
                </a:lnTo>
                <a:lnTo>
                  <a:pt x="3" y="48"/>
                </a:lnTo>
                <a:lnTo>
                  <a:pt x="97" y="154"/>
                </a:lnTo>
                <a:lnTo>
                  <a:pt x="5" y="258"/>
                </a:lnTo>
                <a:lnTo>
                  <a:pt x="5" y="258"/>
                </a:lnTo>
                <a:lnTo>
                  <a:pt x="3" y="262"/>
                </a:lnTo>
                <a:lnTo>
                  <a:pt x="2" y="266"/>
                </a:lnTo>
                <a:lnTo>
                  <a:pt x="3" y="271"/>
                </a:lnTo>
                <a:lnTo>
                  <a:pt x="5" y="275"/>
                </a:lnTo>
                <a:lnTo>
                  <a:pt x="31" y="301"/>
                </a:lnTo>
                <a:lnTo>
                  <a:pt x="31" y="301"/>
                </a:lnTo>
                <a:lnTo>
                  <a:pt x="34" y="304"/>
                </a:lnTo>
                <a:lnTo>
                  <a:pt x="40" y="305"/>
                </a:lnTo>
                <a:lnTo>
                  <a:pt x="44" y="304"/>
                </a:lnTo>
                <a:lnTo>
                  <a:pt x="47" y="301"/>
                </a:lnTo>
                <a:lnTo>
                  <a:pt x="171" y="163"/>
                </a:lnTo>
                <a:lnTo>
                  <a:pt x="171" y="163"/>
                </a:lnTo>
                <a:lnTo>
                  <a:pt x="173" y="158"/>
                </a:lnTo>
                <a:lnTo>
                  <a:pt x="174" y="154"/>
                </a:lnTo>
                <a:lnTo>
                  <a:pt x="173" y="150"/>
                </a:lnTo>
                <a:lnTo>
                  <a:pt x="171" y="145"/>
                </a:lnTo>
                <a:lnTo>
                  <a:pt x="169" y="143"/>
                </a:lnTo>
                <a:lnTo>
                  <a:pt x="46" y="5"/>
                </a:lnTo>
                <a:lnTo>
                  <a:pt x="46" y="5"/>
                </a:lnTo>
                <a:lnTo>
                  <a:pt x="42" y="2"/>
                </a:lnTo>
                <a:lnTo>
                  <a:pt x="37" y="0"/>
                </a:lnTo>
                <a:lnTo>
                  <a:pt x="32" y="2"/>
                </a:lnTo>
                <a:lnTo>
                  <a:pt x="29" y="5"/>
                </a:lnTo>
                <a:lnTo>
                  <a:pt x="29" y="5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0" name="Freeform 454"/>
          <p:cNvSpPr>
            <a:spLocks/>
          </p:cNvSpPr>
          <p:nvPr/>
        </p:nvSpPr>
        <p:spPr bwMode="auto">
          <a:xfrm>
            <a:off x="3838302" y="4047522"/>
            <a:ext cx="138113" cy="242888"/>
          </a:xfrm>
          <a:custGeom>
            <a:avLst/>
            <a:gdLst>
              <a:gd name="T0" fmla="*/ 29 w 174"/>
              <a:gd name="T1" fmla="*/ 5 h 305"/>
              <a:gd name="T2" fmla="*/ 3 w 174"/>
              <a:gd name="T3" fmla="*/ 31 h 305"/>
              <a:gd name="T4" fmla="*/ 3 w 174"/>
              <a:gd name="T5" fmla="*/ 31 h 305"/>
              <a:gd name="T6" fmla="*/ 1 w 174"/>
              <a:gd name="T7" fmla="*/ 35 h 305"/>
              <a:gd name="T8" fmla="*/ 0 w 174"/>
              <a:gd name="T9" fmla="*/ 39 h 305"/>
              <a:gd name="T10" fmla="*/ 1 w 174"/>
              <a:gd name="T11" fmla="*/ 44 h 305"/>
              <a:gd name="T12" fmla="*/ 3 w 174"/>
              <a:gd name="T13" fmla="*/ 48 h 305"/>
              <a:gd name="T14" fmla="*/ 97 w 174"/>
              <a:gd name="T15" fmla="*/ 154 h 305"/>
              <a:gd name="T16" fmla="*/ 5 w 174"/>
              <a:gd name="T17" fmla="*/ 258 h 305"/>
              <a:gd name="T18" fmla="*/ 5 w 174"/>
              <a:gd name="T19" fmla="*/ 258 h 305"/>
              <a:gd name="T20" fmla="*/ 3 w 174"/>
              <a:gd name="T21" fmla="*/ 262 h 305"/>
              <a:gd name="T22" fmla="*/ 2 w 174"/>
              <a:gd name="T23" fmla="*/ 266 h 305"/>
              <a:gd name="T24" fmla="*/ 3 w 174"/>
              <a:gd name="T25" fmla="*/ 271 h 305"/>
              <a:gd name="T26" fmla="*/ 5 w 174"/>
              <a:gd name="T27" fmla="*/ 275 h 305"/>
              <a:gd name="T28" fmla="*/ 31 w 174"/>
              <a:gd name="T29" fmla="*/ 301 h 305"/>
              <a:gd name="T30" fmla="*/ 31 w 174"/>
              <a:gd name="T31" fmla="*/ 301 h 305"/>
              <a:gd name="T32" fmla="*/ 34 w 174"/>
              <a:gd name="T33" fmla="*/ 304 h 305"/>
              <a:gd name="T34" fmla="*/ 40 w 174"/>
              <a:gd name="T35" fmla="*/ 305 h 305"/>
              <a:gd name="T36" fmla="*/ 44 w 174"/>
              <a:gd name="T37" fmla="*/ 304 h 305"/>
              <a:gd name="T38" fmla="*/ 47 w 174"/>
              <a:gd name="T39" fmla="*/ 301 h 305"/>
              <a:gd name="T40" fmla="*/ 171 w 174"/>
              <a:gd name="T41" fmla="*/ 163 h 305"/>
              <a:gd name="T42" fmla="*/ 171 w 174"/>
              <a:gd name="T43" fmla="*/ 163 h 305"/>
              <a:gd name="T44" fmla="*/ 173 w 174"/>
              <a:gd name="T45" fmla="*/ 158 h 305"/>
              <a:gd name="T46" fmla="*/ 174 w 174"/>
              <a:gd name="T47" fmla="*/ 154 h 305"/>
              <a:gd name="T48" fmla="*/ 173 w 174"/>
              <a:gd name="T49" fmla="*/ 150 h 305"/>
              <a:gd name="T50" fmla="*/ 171 w 174"/>
              <a:gd name="T51" fmla="*/ 145 h 305"/>
              <a:gd name="T52" fmla="*/ 169 w 174"/>
              <a:gd name="T53" fmla="*/ 143 h 305"/>
              <a:gd name="T54" fmla="*/ 46 w 174"/>
              <a:gd name="T55" fmla="*/ 5 h 305"/>
              <a:gd name="T56" fmla="*/ 46 w 174"/>
              <a:gd name="T57" fmla="*/ 5 h 305"/>
              <a:gd name="T58" fmla="*/ 42 w 174"/>
              <a:gd name="T59" fmla="*/ 2 h 305"/>
              <a:gd name="T60" fmla="*/ 37 w 174"/>
              <a:gd name="T61" fmla="*/ 0 h 305"/>
              <a:gd name="T62" fmla="*/ 32 w 174"/>
              <a:gd name="T63" fmla="*/ 2 h 305"/>
              <a:gd name="T64" fmla="*/ 29 w 174"/>
              <a:gd name="T65" fmla="*/ 5 h 305"/>
              <a:gd name="T66" fmla="*/ 29 w 174"/>
              <a:gd name="T67" fmla="*/ 5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4" h="305">
                <a:moveTo>
                  <a:pt x="29" y="5"/>
                </a:moveTo>
                <a:lnTo>
                  <a:pt x="3" y="31"/>
                </a:lnTo>
                <a:lnTo>
                  <a:pt x="3" y="31"/>
                </a:lnTo>
                <a:lnTo>
                  <a:pt x="1" y="35"/>
                </a:lnTo>
                <a:lnTo>
                  <a:pt x="0" y="39"/>
                </a:lnTo>
                <a:lnTo>
                  <a:pt x="1" y="44"/>
                </a:lnTo>
                <a:lnTo>
                  <a:pt x="3" y="48"/>
                </a:lnTo>
                <a:lnTo>
                  <a:pt x="97" y="154"/>
                </a:lnTo>
                <a:lnTo>
                  <a:pt x="5" y="258"/>
                </a:lnTo>
                <a:lnTo>
                  <a:pt x="5" y="258"/>
                </a:lnTo>
                <a:lnTo>
                  <a:pt x="3" y="262"/>
                </a:lnTo>
                <a:lnTo>
                  <a:pt x="2" y="266"/>
                </a:lnTo>
                <a:lnTo>
                  <a:pt x="3" y="271"/>
                </a:lnTo>
                <a:lnTo>
                  <a:pt x="5" y="275"/>
                </a:lnTo>
                <a:lnTo>
                  <a:pt x="31" y="301"/>
                </a:lnTo>
                <a:lnTo>
                  <a:pt x="31" y="301"/>
                </a:lnTo>
                <a:lnTo>
                  <a:pt x="34" y="304"/>
                </a:lnTo>
                <a:lnTo>
                  <a:pt x="40" y="305"/>
                </a:lnTo>
                <a:lnTo>
                  <a:pt x="44" y="304"/>
                </a:lnTo>
                <a:lnTo>
                  <a:pt x="47" y="301"/>
                </a:lnTo>
                <a:lnTo>
                  <a:pt x="171" y="163"/>
                </a:lnTo>
                <a:lnTo>
                  <a:pt x="171" y="163"/>
                </a:lnTo>
                <a:lnTo>
                  <a:pt x="173" y="158"/>
                </a:lnTo>
                <a:lnTo>
                  <a:pt x="174" y="154"/>
                </a:lnTo>
                <a:lnTo>
                  <a:pt x="173" y="150"/>
                </a:lnTo>
                <a:lnTo>
                  <a:pt x="171" y="145"/>
                </a:lnTo>
                <a:lnTo>
                  <a:pt x="169" y="143"/>
                </a:lnTo>
                <a:lnTo>
                  <a:pt x="46" y="5"/>
                </a:lnTo>
                <a:lnTo>
                  <a:pt x="46" y="5"/>
                </a:lnTo>
                <a:lnTo>
                  <a:pt x="42" y="2"/>
                </a:lnTo>
                <a:lnTo>
                  <a:pt x="37" y="0"/>
                </a:lnTo>
                <a:lnTo>
                  <a:pt x="32" y="2"/>
                </a:lnTo>
                <a:lnTo>
                  <a:pt x="29" y="5"/>
                </a:lnTo>
                <a:lnTo>
                  <a:pt x="29" y="5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1" name="Freeform 454"/>
          <p:cNvSpPr>
            <a:spLocks/>
          </p:cNvSpPr>
          <p:nvPr/>
        </p:nvSpPr>
        <p:spPr bwMode="auto">
          <a:xfrm>
            <a:off x="3838302" y="4607961"/>
            <a:ext cx="138113" cy="242888"/>
          </a:xfrm>
          <a:custGeom>
            <a:avLst/>
            <a:gdLst>
              <a:gd name="T0" fmla="*/ 29 w 174"/>
              <a:gd name="T1" fmla="*/ 5 h 305"/>
              <a:gd name="T2" fmla="*/ 3 w 174"/>
              <a:gd name="T3" fmla="*/ 31 h 305"/>
              <a:gd name="T4" fmla="*/ 3 w 174"/>
              <a:gd name="T5" fmla="*/ 31 h 305"/>
              <a:gd name="T6" fmla="*/ 1 w 174"/>
              <a:gd name="T7" fmla="*/ 35 h 305"/>
              <a:gd name="T8" fmla="*/ 0 w 174"/>
              <a:gd name="T9" fmla="*/ 39 h 305"/>
              <a:gd name="T10" fmla="*/ 1 w 174"/>
              <a:gd name="T11" fmla="*/ 44 h 305"/>
              <a:gd name="T12" fmla="*/ 3 w 174"/>
              <a:gd name="T13" fmla="*/ 48 h 305"/>
              <a:gd name="T14" fmla="*/ 97 w 174"/>
              <a:gd name="T15" fmla="*/ 154 h 305"/>
              <a:gd name="T16" fmla="*/ 5 w 174"/>
              <a:gd name="T17" fmla="*/ 258 h 305"/>
              <a:gd name="T18" fmla="*/ 5 w 174"/>
              <a:gd name="T19" fmla="*/ 258 h 305"/>
              <a:gd name="T20" fmla="*/ 3 w 174"/>
              <a:gd name="T21" fmla="*/ 262 h 305"/>
              <a:gd name="T22" fmla="*/ 2 w 174"/>
              <a:gd name="T23" fmla="*/ 266 h 305"/>
              <a:gd name="T24" fmla="*/ 3 w 174"/>
              <a:gd name="T25" fmla="*/ 271 h 305"/>
              <a:gd name="T26" fmla="*/ 5 w 174"/>
              <a:gd name="T27" fmla="*/ 275 h 305"/>
              <a:gd name="T28" fmla="*/ 31 w 174"/>
              <a:gd name="T29" fmla="*/ 301 h 305"/>
              <a:gd name="T30" fmla="*/ 31 w 174"/>
              <a:gd name="T31" fmla="*/ 301 h 305"/>
              <a:gd name="T32" fmla="*/ 34 w 174"/>
              <a:gd name="T33" fmla="*/ 304 h 305"/>
              <a:gd name="T34" fmla="*/ 40 w 174"/>
              <a:gd name="T35" fmla="*/ 305 h 305"/>
              <a:gd name="T36" fmla="*/ 44 w 174"/>
              <a:gd name="T37" fmla="*/ 304 h 305"/>
              <a:gd name="T38" fmla="*/ 47 w 174"/>
              <a:gd name="T39" fmla="*/ 301 h 305"/>
              <a:gd name="T40" fmla="*/ 171 w 174"/>
              <a:gd name="T41" fmla="*/ 163 h 305"/>
              <a:gd name="T42" fmla="*/ 171 w 174"/>
              <a:gd name="T43" fmla="*/ 163 h 305"/>
              <a:gd name="T44" fmla="*/ 173 w 174"/>
              <a:gd name="T45" fmla="*/ 158 h 305"/>
              <a:gd name="T46" fmla="*/ 174 w 174"/>
              <a:gd name="T47" fmla="*/ 154 h 305"/>
              <a:gd name="T48" fmla="*/ 173 w 174"/>
              <a:gd name="T49" fmla="*/ 150 h 305"/>
              <a:gd name="T50" fmla="*/ 171 w 174"/>
              <a:gd name="T51" fmla="*/ 145 h 305"/>
              <a:gd name="T52" fmla="*/ 169 w 174"/>
              <a:gd name="T53" fmla="*/ 143 h 305"/>
              <a:gd name="T54" fmla="*/ 46 w 174"/>
              <a:gd name="T55" fmla="*/ 5 h 305"/>
              <a:gd name="T56" fmla="*/ 46 w 174"/>
              <a:gd name="T57" fmla="*/ 5 h 305"/>
              <a:gd name="T58" fmla="*/ 42 w 174"/>
              <a:gd name="T59" fmla="*/ 2 h 305"/>
              <a:gd name="T60" fmla="*/ 37 w 174"/>
              <a:gd name="T61" fmla="*/ 0 h 305"/>
              <a:gd name="T62" fmla="*/ 32 w 174"/>
              <a:gd name="T63" fmla="*/ 2 h 305"/>
              <a:gd name="T64" fmla="*/ 29 w 174"/>
              <a:gd name="T65" fmla="*/ 5 h 305"/>
              <a:gd name="T66" fmla="*/ 29 w 174"/>
              <a:gd name="T67" fmla="*/ 5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4" h="305">
                <a:moveTo>
                  <a:pt x="29" y="5"/>
                </a:moveTo>
                <a:lnTo>
                  <a:pt x="3" y="31"/>
                </a:lnTo>
                <a:lnTo>
                  <a:pt x="3" y="31"/>
                </a:lnTo>
                <a:lnTo>
                  <a:pt x="1" y="35"/>
                </a:lnTo>
                <a:lnTo>
                  <a:pt x="0" y="39"/>
                </a:lnTo>
                <a:lnTo>
                  <a:pt x="1" y="44"/>
                </a:lnTo>
                <a:lnTo>
                  <a:pt x="3" y="48"/>
                </a:lnTo>
                <a:lnTo>
                  <a:pt x="97" y="154"/>
                </a:lnTo>
                <a:lnTo>
                  <a:pt x="5" y="258"/>
                </a:lnTo>
                <a:lnTo>
                  <a:pt x="5" y="258"/>
                </a:lnTo>
                <a:lnTo>
                  <a:pt x="3" y="262"/>
                </a:lnTo>
                <a:lnTo>
                  <a:pt x="2" y="266"/>
                </a:lnTo>
                <a:lnTo>
                  <a:pt x="3" y="271"/>
                </a:lnTo>
                <a:lnTo>
                  <a:pt x="5" y="275"/>
                </a:lnTo>
                <a:lnTo>
                  <a:pt x="31" y="301"/>
                </a:lnTo>
                <a:lnTo>
                  <a:pt x="31" y="301"/>
                </a:lnTo>
                <a:lnTo>
                  <a:pt x="34" y="304"/>
                </a:lnTo>
                <a:lnTo>
                  <a:pt x="40" y="305"/>
                </a:lnTo>
                <a:lnTo>
                  <a:pt x="44" y="304"/>
                </a:lnTo>
                <a:lnTo>
                  <a:pt x="47" y="301"/>
                </a:lnTo>
                <a:lnTo>
                  <a:pt x="171" y="163"/>
                </a:lnTo>
                <a:lnTo>
                  <a:pt x="171" y="163"/>
                </a:lnTo>
                <a:lnTo>
                  <a:pt x="173" y="158"/>
                </a:lnTo>
                <a:lnTo>
                  <a:pt x="174" y="154"/>
                </a:lnTo>
                <a:lnTo>
                  <a:pt x="173" y="150"/>
                </a:lnTo>
                <a:lnTo>
                  <a:pt x="171" y="145"/>
                </a:lnTo>
                <a:lnTo>
                  <a:pt x="169" y="143"/>
                </a:lnTo>
                <a:lnTo>
                  <a:pt x="46" y="5"/>
                </a:lnTo>
                <a:lnTo>
                  <a:pt x="46" y="5"/>
                </a:lnTo>
                <a:lnTo>
                  <a:pt x="42" y="2"/>
                </a:lnTo>
                <a:lnTo>
                  <a:pt x="37" y="0"/>
                </a:lnTo>
                <a:lnTo>
                  <a:pt x="32" y="2"/>
                </a:lnTo>
                <a:lnTo>
                  <a:pt x="29" y="5"/>
                </a:lnTo>
                <a:lnTo>
                  <a:pt x="29" y="5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Round Diagonal Corner Rectangle 8"/>
          <p:cNvSpPr/>
          <p:nvPr/>
        </p:nvSpPr>
        <p:spPr>
          <a:xfrm flipH="1">
            <a:off x="952391" y="2733676"/>
            <a:ext cx="2636982" cy="2340828"/>
          </a:xfrm>
          <a:prstGeom prst="round2DiagRect">
            <a:avLst>
              <a:gd name="adj1" fmla="val 10243"/>
              <a:gd name="adj2" fmla="val 0"/>
            </a:avLst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487265" y="3210891"/>
            <a:ext cx="1567234" cy="1386399"/>
            <a:chOff x="6890921" y="3227678"/>
            <a:chExt cx="165100" cy="146050"/>
          </a:xfrm>
          <a:solidFill>
            <a:schemeClr val="bg1"/>
          </a:solidFill>
        </p:grpSpPr>
        <p:sp>
          <p:nvSpPr>
            <p:cNvPr id="22" name="Freeform 614"/>
            <p:cNvSpPr>
              <a:spLocks noEditPoints="1"/>
            </p:cNvSpPr>
            <p:nvPr/>
          </p:nvSpPr>
          <p:spPr bwMode="auto">
            <a:xfrm>
              <a:off x="6890921" y="3227678"/>
              <a:ext cx="165100" cy="146050"/>
            </a:xfrm>
            <a:custGeom>
              <a:avLst/>
              <a:gdLst>
                <a:gd name="T0" fmla="*/ 209 w 209"/>
                <a:gd name="T1" fmla="*/ 171 h 184"/>
                <a:gd name="T2" fmla="*/ 209 w 209"/>
                <a:gd name="T3" fmla="*/ 171 h 184"/>
                <a:gd name="T4" fmla="*/ 208 w 209"/>
                <a:gd name="T5" fmla="*/ 168 h 184"/>
                <a:gd name="T6" fmla="*/ 208 w 209"/>
                <a:gd name="T7" fmla="*/ 166 h 184"/>
                <a:gd name="T8" fmla="*/ 208 w 209"/>
                <a:gd name="T9" fmla="*/ 166 h 184"/>
                <a:gd name="T10" fmla="*/ 207 w 209"/>
                <a:gd name="T11" fmla="*/ 164 h 184"/>
                <a:gd name="T12" fmla="*/ 116 w 209"/>
                <a:gd name="T13" fmla="*/ 6 h 184"/>
                <a:gd name="T14" fmla="*/ 116 w 209"/>
                <a:gd name="T15" fmla="*/ 6 h 184"/>
                <a:gd name="T16" fmla="*/ 116 w 209"/>
                <a:gd name="T17" fmla="*/ 5 h 184"/>
                <a:gd name="T18" fmla="*/ 116 w 209"/>
                <a:gd name="T19" fmla="*/ 5 h 184"/>
                <a:gd name="T20" fmla="*/ 114 w 209"/>
                <a:gd name="T21" fmla="*/ 3 h 184"/>
                <a:gd name="T22" fmla="*/ 114 w 209"/>
                <a:gd name="T23" fmla="*/ 3 h 184"/>
                <a:gd name="T24" fmla="*/ 109 w 209"/>
                <a:gd name="T25" fmla="*/ 1 h 184"/>
                <a:gd name="T26" fmla="*/ 105 w 209"/>
                <a:gd name="T27" fmla="*/ 0 h 184"/>
                <a:gd name="T28" fmla="*/ 105 w 209"/>
                <a:gd name="T29" fmla="*/ 0 h 184"/>
                <a:gd name="T30" fmla="*/ 102 w 209"/>
                <a:gd name="T31" fmla="*/ 0 h 184"/>
                <a:gd name="T32" fmla="*/ 98 w 209"/>
                <a:gd name="T33" fmla="*/ 1 h 184"/>
                <a:gd name="T34" fmla="*/ 95 w 209"/>
                <a:gd name="T35" fmla="*/ 3 h 184"/>
                <a:gd name="T36" fmla="*/ 93 w 209"/>
                <a:gd name="T37" fmla="*/ 5 h 184"/>
                <a:gd name="T38" fmla="*/ 93 w 209"/>
                <a:gd name="T39" fmla="*/ 5 h 184"/>
                <a:gd name="T40" fmla="*/ 93 w 209"/>
                <a:gd name="T41" fmla="*/ 6 h 184"/>
                <a:gd name="T42" fmla="*/ 2 w 209"/>
                <a:gd name="T43" fmla="*/ 164 h 184"/>
                <a:gd name="T44" fmla="*/ 2 w 209"/>
                <a:gd name="T45" fmla="*/ 164 h 184"/>
                <a:gd name="T46" fmla="*/ 1 w 209"/>
                <a:gd name="T47" fmla="*/ 166 h 184"/>
                <a:gd name="T48" fmla="*/ 1 w 209"/>
                <a:gd name="T49" fmla="*/ 166 h 184"/>
                <a:gd name="T50" fmla="*/ 0 w 209"/>
                <a:gd name="T51" fmla="*/ 168 h 184"/>
                <a:gd name="T52" fmla="*/ 0 w 209"/>
                <a:gd name="T53" fmla="*/ 171 h 184"/>
                <a:gd name="T54" fmla="*/ 0 w 209"/>
                <a:gd name="T55" fmla="*/ 171 h 184"/>
                <a:gd name="T56" fmla="*/ 1 w 209"/>
                <a:gd name="T57" fmla="*/ 176 h 184"/>
                <a:gd name="T58" fmla="*/ 4 w 209"/>
                <a:gd name="T59" fmla="*/ 180 h 184"/>
                <a:gd name="T60" fmla="*/ 7 w 209"/>
                <a:gd name="T61" fmla="*/ 183 h 184"/>
                <a:gd name="T62" fmla="*/ 12 w 209"/>
                <a:gd name="T63" fmla="*/ 184 h 184"/>
                <a:gd name="T64" fmla="*/ 12 w 209"/>
                <a:gd name="T65" fmla="*/ 184 h 184"/>
                <a:gd name="T66" fmla="*/ 13 w 209"/>
                <a:gd name="T67" fmla="*/ 184 h 184"/>
                <a:gd name="T68" fmla="*/ 13 w 209"/>
                <a:gd name="T69" fmla="*/ 184 h 184"/>
                <a:gd name="T70" fmla="*/ 14 w 209"/>
                <a:gd name="T71" fmla="*/ 184 h 184"/>
                <a:gd name="T72" fmla="*/ 24 w 209"/>
                <a:gd name="T73" fmla="*/ 184 h 184"/>
                <a:gd name="T74" fmla="*/ 24 w 209"/>
                <a:gd name="T75" fmla="*/ 184 h 184"/>
                <a:gd name="T76" fmla="*/ 195 w 209"/>
                <a:gd name="T77" fmla="*/ 184 h 184"/>
                <a:gd name="T78" fmla="*/ 195 w 209"/>
                <a:gd name="T79" fmla="*/ 184 h 184"/>
                <a:gd name="T80" fmla="*/ 197 w 209"/>
                <a:gd name="T81" fmla="*/ 184 h 184"/>
                <a:gd name="T82" fmla="*/ 197 w 209"/>
                <a:gd name="T83" fmla="*/ 184 h 184"/>
                <a:gd name="T84" fmla="*/ 198 w 209"/>
                <a:gd name="T85" fmla="*/ 184 h 184"/>
                <a:gd name="T86" fmla="*/ 198 w 209"/>
                <a:gd name="T87" fmla="*/ 184 h 184"/>
                <a:gd name="T88" fmla="*/ 202 w 209"/>
                <a:gd name="T89" fmla="*/ 183 h 184"/>
                <a:gd name="T90" fmla="*/ 206 w 209"/>
                <a:gd name="T91" fmla="*/ 180 h 184"/>
                <a:gd name="T92" fmla="*/ 208 w 209"/>
                <a:gd name="T93" fmla="*/ 176 h 184"/>
                <a:gd name="T94" fmla="*/ 209 w 209"/>
                <a:gd name="T95" fmla="*/ 171 h 184"/>
                <a:gd name="T96" fmla="*/ 209 w 209"/>
                <a:gd name="T97" fmla="*/ 171 h 184"/>
                <a:gd name="T98" fmla="*/ 24 w 209"/>
                <a:gd name="T99" fmla="*/ 165 h 184"/>
                <a:gd name="T100" fmla="*/ 104 w 209"/>
                <a:gd name="T101" fmla="*/ 27 h 184"/>
                <a:gd name="T102" fmla="*/ 105 w 209"/>
                <a:gd name="T103" fmla="*/ 26 h 184"/>
                <a:gd name="T104" fmla="*/ 185 w 209"/>
                <a:gd name="T105" fmla="*/ 165 h 184"/>
                <a:gd name="T106" fmla="*/ 24 w 209"/>
                <a:gd name="T107" fmla="*/ 16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9" h="184">
                  <a:moveTo>
                    <a:pt x="209" y="171"/>
                  </a:moveTo>
                  <a:lnTo>
                    <a:pt x="209" y="171"/>
                  </a:lnTo>
                  <a:lnTo>
                    <a:pt x="208" y="168"/>
                  </a:lnTo>
                  <a:lnTo>
                    <a:pt x="208" y="166"/>
                  </a:lnTo>
                  <a:lnTo>
                    <a:pt x="208" y="166"/>
                  </a:lnTo>
                  <a:lnTo>
                    <a:pt x="207" y="164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09" y="1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2" y="0"/>
                  </a:lnTo>
                  <a:lnTo>
                    <a:pt x="98" y="1"/>
                  </a:lnTo>
                  <a:lnTo>
                    <a:pt x="95" y="3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3" y="6"/>
                  </a:lnTo>
                  <a:lnTo>
                    <a:pt x="2" y="164"/>
                  </a:lnTo>
                  <a:lnTo>
                    <a:pt x="2" y="164"/>
                  </a:lnTo>
                  <a:lnTo>
                    <a:pt x="1" y="166"/>
                  </a:lnTo>
                  <a:lnTo>
                    <a:pt x="1" y="166"/>
                  </a:lnTo>
                  <a:lnTo>
                    <a:pt x="0" y="168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1" y="176"/>
                  </a:lnTo>
                  <a:lnTo>
                    <a:pt x="4" y="180"/>
                  </a:lnTo>
                  <a:lnTo>
                    <a:pt x="7" y="183"/>
                  </a:lnTo>
                  <a:lnTo>
                    <a:pt x="12" y="184"/>
                  </a:lnTo>
                  <a:lnTo>
                    <a:pt x="12" y="184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4" y="184"/>
                  </a:lnTo>
                  <a:lnTo>
                    <a:pt x="24" y="184"/>
                  </a:lnTo>
                  <a:lnTo>
                    <a:pt x="24" y="184"/>
                  </a:lnTo>
                  <a:lnTo>
                    <a:pt x="195" y="184"/>
                  </a:lnTo>
                  <a:lnTo>
                    <a:pt x="195" y="184"/>
                  </a:lnTo>
                  <a:lnTo>
                    <a:pt x="197" y="184"/>
                  </a:lnTo>
                  <a:lnTo>
                    <a:pt x="197" y="184"/>
                  </a:lnTo>
                  <a:lnTo>
                    <a:pt x="198" y="184"/>
                  </a:lnTo>
                  <a:lnTo>
                    <a:pt x="198" y="184"/>
                  </a:lnTo>
                  <a:lnTo>
                    <a:pt x="202" y="183"/>
                  </a:lnTo>
                  <a:lnTo>
                    <a:pt x="206" y="180"/>
                  </a:lnTo>
                  <a:lnTo>
                    <a:pt x="208" y="176"/>
                  </a:lnTo>
                  <a:lnTo>
                    <a:pt x="209" y="171"/>
                  </a:lnTo>
                  <a:lnTo>
                    <a:pt x="209" y="171"/>
                  </a:lnTo>
                  <a:close/>
                  <a:moveTo>
                    <a:pt x="24" y="165"/>
                  </a:moveTo>
                  <a:lnTo>
                    <a:pt x="104" y="27"/>
                  </a:lnTo>
                  <a:lnTo>
                    <a:pt x="105" y="26"/>
                  </a:lnTo>
                  <a:lnTo>
                    <a:pt x="185" y="165"/>
                  </a:lnTo>
                  <a:lnTo>
                    <a:pt x="24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615"/>
            <p:cNvSpPr>
              <a:spLocks noEditPoints="1"/>
            </p:cNvSpPr>
            <p:nvPr/>
          </p:nvSpPr>
          <p:spPr bwMode="auto">
            <a:xfrm>
              <a:off x="6962359" y="3278478"/>
              <a:ext cx="20637" cy="73025"/>
            </a:xfrm>
            <a:custGeom>
              <a:avLst/>
              <a:gdLst>
                <a:gd name="T0" fmla="*/ 25 w 25"/>
                <a:gd name="T1" fmla="*/ 80 h 92"/>
                <a:gd name="T2" fmla="*/ 25 w 25"/>
                <a:gd name="T3" fmla="*/ 80 h 92"/>
                <a:gd name="T4" fmla="*/ 25 w 25"/>
                <a:gd name="T5" fmla="*/ 86 h 92"/>
                <a:gd name="T6" fmla="*/ 23 w 25"/>
                <a:gd name="T7" fmla="*/ 89 h 92"/>
                <a:gd name="T8" fmla="*/ 23 w 25"/>
                <a:gd name="T9" fmla="*/ 89 h 92"/>
                <a:gd name="T10" fmla="*/ 18 w 25"/>
                <a:gd name="T11" fmla="*/ 91 h 92"/>
                <a:gd name="T12" fmla="*/ 13 w 25"/>
                <a:gd name="T13" fmla="*/ 92 h 92"/>
                <a:gd name="T14" fmla="*/ 13 w 25"/>
                <a:gd name="T15" fmla="*/ 92 h 92"/>
                <a:gd name="T16" fmla="*/ 6 w 25"/>
                <a:gd name="T17" fmla="*/ 91 h 92"/>
                <a:gd name="T18" fmla="*/ 3 w 25"/>
                <a:gd name="T19" fmla="*/ 89 h 92"/>
                <a:gd name="T20" fmla="*/ 3 w 25"/>
                <a:gd name="T21" fmla="*/ 89 h 92"/>
                <a:gd name="T22" fmla="*/ 1 w 25"/>
                <a:gd name="T23" fmla="*/ 86 h 92"/>
                <a:gd name="T24" fmla="*/ 0 w 25"/>
                <a:gd name="T25" fmla="*/ 80 h 92"/>
                <a:gd name="T26" fmla="*/ 0 w 25"/>
                <a:gd name="T27" fmla="*/ 80 h 92"/>
                <a:gd name="T28" fmla="*/ 1 w 25"/>
                <a:gd name="T29" fmla="*/ 75 h 92"/>
                <a:gd name="T30" fmla="*/ 3 w 25"/>
                <a:gd name="T31" fmla="*/ 72 h 92"/>
                <a:gd name="T32" fmla="*/ 3 w 25"/>
                <a:gd name="T33" fmla="*/ 72 h 92"/>
                <a:gd name="T34" fmla="*/ 6 w 25"/>
                <a:gd name="T35" fmla="*/ 69 h 92"/>
                <a:gd name="T36" fmla="*/ 13 w 25"/>
                <a:gd name="T37" fmla="*/ 68 h 92"/>
                <a:gd name="T38" fmla="*/ 13 w 25"/>
                <a:gd name="T39" fmla="*/ 68 h 92"/>
                <a:gd name="T40" fmla="*/ 18 w 25"/>
                <a:gd name="T41" fmla="*/ 69 h 92"/>
                <a:gd name="T42" fmla="*/ 23 w 25"/>
                <a:gd name="T43" fmla="*/ 72 h 92"/>
                <a:gd name="T44" fmla="*/ 23 w 25"/>
                <a:gd name="T45" fmla="*/ 72 h 92"/>
                <a:gd name="T46" fmla="*/ 25 w 25"/>
                <a:gd name="T47" fmla="*/ 75 h 92"/>
                <a:gd name="T48" fmla="*/ 25 w 25"/>
                <a:gd name="T49" fmla="*/ 80 h 92"/>
                <a:gd name="T50" fmla="*/ 25 w 25"/>
                <a:gd name="T51" fmla="*/ 80 h 92"/>
                <a:gd name="T52" fmla="*/ 4 w 25"/>
                <a:gd name="T53" fmla="*/ 56 h 92"/>
                <a:gd name="T54" fmla="*/ 4 w 25"/>
                <a:gd name="T55" fmla="*/ 56 h 92"/>
                <a:gd name="T56" fmla="*/ 3 w 25"/>
                <a:gd name="T57" fmla="*/ 47 h 92"/>
                <a:gd name="T58" fmla="*/ 3 w 25"/>
                <a:gd name="T59" fmla="*/ 47 h 92"/>
                <a:gd name="T60" fmla="*/ 2 w 25"/>
                <a:gd name="T61" fmla="*/ 37 h 92"/>
                <a:gd name="T62" fmla="*/ 2 w 25"/>
                <a:gd name="T63" fmla="*/ 37 h 92"/>
                <a:gd name="T64" fmla="*/ 2 w 25"/>
                <a:gd name="T65" fmla="*/ 27 h 92"/>
                <a:gd name="T66" fmla="*/ 2 w 25"/>
                <a:gd name="T67" fmla="*/ 27 h 92"/>
                <a:gd name="T68" fmla="*/ 1 w 25"/>
                <a:gd name="T69" fmla="*/ 20 h 92"/>
                <a:gd name="T70" fmla="*/ 1 w 25"/>
                <a:gd name="T71" fmla="*/ 0 h 92"/>
                <a:gd name="T72" fmla="*/ 19 w 25"/>
                <a:gd name="T73" fmla="*/ 0 h 92"/>
                <a:gd name="T74" fmla="*/ 19 w 25"/>
                <a:gd name="T75" fmla="*/ 0 h 92"/>
                <a:gd name="T76" fmla="*/ 22 w 25"/>
                <a:gd name="T77" fmla="*/ 0 h 92"/>
                <a:gd name="T78" fmla="*/ 23 w 25"/>
                <a:gd name="T79" fmla="*/ 1 h 92"/>
                <a:gd name="T80" fmla="*/ 24 w 25"/>
                <a:gd name="T81" fmla="*/ 4 h 92"/>
                <a:gd name="T82" fmla="*/ 24 w 25"/>
                <a:gd name="T83" fmla="*/ 5 h 92"/>
                <a:gd name="T84" fmla="*/ 24 w 25"/>
                <a:gd name="T85" fmla="*/ 19 h 92"/>
                <a:gd name="T86" fmla="*/ 24 w 25"/>
                <a:gd name="T87" fmla="*/ 19 h 92"/>
                <a:gd name="T88" fmla="*/ 24 w 25"/>
                <a:gd name="T89" fmla="*/ 28 h 92"/>
                <a:gd name="T90" fmla="*/ 24 w 25"/>
                <a:gd name="T91" fmla="*/ 28 h 92"/>
                <a:gd name="T92" fmla="*/ 23 w 25"/>
                <a:gd name="T93" fmla="*/ 39 h 92"/>
                <a:gd name="T94" fmla="*/ 23 w 25"/>
                <a:gd name="T95" fmla="*/ 39 h 92"/>
                <a:gd name="T96" fmla="*/ 22 w 25"/>
                <a:gd name="T97" fmla="*/ 51 h 92"/>
                <a:gd name="T98" fmla="*/ 22 w 25"/>
                <a:gd name="T99" fmla="*/ 51 h 92"/>
                <a:gd name="T100" fmla="*/ 20 w 25"/>
                <a:gd name="T101" fmla="*/ 61 h 92"/>
                <a:gd name="T102" fmla="*/ 9 w 25"/>
                <a:gd name="T103" fmla="*/ 61 h 92"/>
                <a:gd name="T104" fmla="*/ 9 w 25"/>
                <a:gd name="T105" fmla="*/ 61 h 92"/>
                <a:gd name="T106" fmla="*/ 8 w 25"/>
                <a:gd name="T107" fmla="*/ 61 h 92"/>
                <a:gd name="T108" fmla="*/ 5 w 25"/>
                <a:gd name="T109" fmla="*/ 60 h 92"/>
                <a:gd name="T110" fmla="*/ 5 w 25"/>
                <a:gd name="T111" fmla="*/ 60 h 92"/>
                <a:gd name="T112" fmla="*/ 4 w 25"/>
                <a:gd name="T113" fmla="*/ 56 h 92"/>
                <a:gd name="T114" fmla="*/ 4 w 25"/>
                <a:gd name="T115" fmla="*/ 5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" h="92">
                  <a:moveTo>
                    <a:pt x="25" y="80"/>
                  </a:moveTo>
                  <a:lnTo>
                    <a:pt x="25" y="80"/>
                  </a:lnTo>
                  <a:lnTo>
                    <a:pt x="25" y="86"/>
                  </a:lnTo>
                  <a:lnTo>
                    <a:pt x="23" y="89"/>
                  </a:lnTo>
                  <a:lnTo>
                    <a:pt x="23" y="89"/>
                  </a:lnTo>
                  <a:lnTo>
                    <a:pt x="18" y="91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6" y="91"/>
                  </a:lnTo>
                  <a:lnTo>
                    <a:pt x="3" y="89"/>
                  </a:lnTo>
                  <a:lnTo>
                    <a:pt x="3" y="89"/>
                  </a:lnTo>
                  <a:lnTo>
                    <a:pt x="1" y="86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1" y="75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6" y="69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8" y="69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5" y="75"/>
                  </a:lnTo>
                  <a:lnTo>
                    <a:pt x="25" y="80"/>
                  </a:lnTo>
                  <a:lnTo>
                    <a:pt x="25" y="80"/>
                  </a:lnTo>
                  <a:close/>
                  <a:moveTo>
                    <a:pt x="4" y="56"/>
                  </a:moveTo>
                  <a:lnTo>
                    <a:pt x="4" y="56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1" y="20"/>
                  </a:lnTo>
                  <a:lnTo>
                    <a:pt x="1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2" y="0"/>
                  </a:lnTo>
                  <a:lnTo>
                    <a:pt x="23" y="1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0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8" y="61"/>
                  </a:lnTo>
                  <a:lnTo>
                    <a:pt x="5" y="60"/>
                  </a:lnTo>
                  <a:lnTo>
                    <a:pt x="5" y="60"/>
                  </a:lnTo>
                  <a:lnTo>
                    <a:pt x="4" y="56"/>
                  </a:lnTo>
                  <a:lnTo>
                    <a:pt x="4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3926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hi-IN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76300" y="2126215"/>
            <a:ext cx="10439400" cy="65906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black"/>
                </a:solidFill>
              </a:rPr>
              <a:t>An opportunity to design and implement security from the ground up</a:t>
            </a:r>
          </a:p>
          <a:p>
            <a:r>
              <a:rPr lang="en-US" dirty="0" smtClean="0">
                <a:solidFill>
                  <a:prstClr val="black"/>
                </a:solidFill>
              </a:rPr>
              <a:t>Security is not an afterthought, but a conscious design decision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 flipH="1">
            <a:off x="876300" y="2981326"/>
            <a:ext cx="2526084" cy="2181224"/>
          </a:xfrm>
          <a:prstGeom prst="round2DiagRect">
            <a:avLst>
              <a:gd name="adj1" fmla="val 6284"/>
              <a:gd name="adj2" fmla="val 0"/>
            </a:avLst>
          </a:prstGeom>
          <a:solidFill>
            <a:schemeClr val="accent1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2000" b="1" dirty="0" smtClean="0">
                <a:solidFill>
                  <a:prstClr val="white"/>
                </a:solidFill>
              </a:rPr>
              <a:t>Efficient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 flipH="1">
            <a:off x="3514072" y="2981326"/>
            <a:ext cx="2526084" cy="2181224"/>
          </a:xfrm>
          <a:prstGeom prst="round2DiagRect">
            <a:avLst>
              <a:gd name="adj1" fmla="val 5738"/>
              <a:gd name="adj2" fmla="val 0"/>
            </a:avLst>
          </a:prstGeom>
          <a:solidFill>
            <a:schemeClr val="accent1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2000" b="1" dirty="0" smtClean="0">
                <a:solidFill>
                  <a:prstClr val="white"/>
                </a:solidFill>
              </a:rPr>
              <a:t>Resilient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 flipH="1">
            <a:off x="6151844" y="2981326"/>
            <a:ext cx="2526084" cy="2181224"/>
          </a:xfrm>
          <a:prstGeom prst="round2DiagRect">
            <a:avLst>
              <a:gd name="adj1" fmla="val 5738"/>
              <a:gd name="adj2" fmla="val 0"/>
            </a:avLst>
          </a:prstGeom>
          <a:solidFill>
            <a:schemeClr val="accent1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2000" b="1" dirty="0" smtClean="0">
                <a:solidFill>
                  <a:prstClr val="white"/>
                </a:solidFill>
              </a:rPr>
              <a:t>Scalable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 flipH="1">
            <a:off x="8789616" y="2981326"/>
            <a:ext cx="2526084" cy="2181224"/>
          </a:xfrm>
          <a:prstGeom prst="round2DiagRect">
            <a:avLst>
              <a:gd name="adj1" fmla="val 6284"/>
              <a:gd name="adj2" fmla="val 0"/>
            </a:avLst>
          </a:prstGeom>
          <a:solidFill>
            <a:schemeClr val="accent1"/>
          </a:solidFill>
        </p:spPr>
        <p:txBody>
          <a:bodyPr vert="horz" lIns="137160" tIns="91440" rIns="137160" bIns="137160" rtlCol="0" anchor="b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2000" b="1" dirty="0" smtClean="0">
                <a:solidFill>
                  <a:prstClr val="white"/>
                </a:solidFill>
              </a:rPr>
              <a:t>Manageable</a:t>
            </a:r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622103" y="3254843"/>
            <a:ext cx="1034478" cy="1218385"/>
            <a:chOff x="811" y="1729"/>
            <a:chExt cx="180" cy="212"/>
          </a:xfrm>
          <a:solidFill>
            <a:schemeClr val="bg1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894" y="1791"/>
              <a:ext cx="10" cy="4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Rectangle 6"/>
            <p:cNvSpPr>
              <a:spLocks noChangeArrowheads="1"/>
            </p:cNvSpPr>
            <p:nvPr/>
          </p:nvSpPr>
          <p:spPr bwMode="auto">
            <a:xfrm>
              <a:off x="923" y="1848"/>
              <a:ext cx="29" cy="1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888" y="1841"/>
              <a:ext cx="22" cy="22"/>
            </a:xfrm>
            <a:custGeom>
              <a:avLst/>
              <a:gdLst>
                <a:gd name="T0" fmla="*/ 43 w 43"/>
                <a:gd name="T1" fmla="*/ 21 h 43"/>
                <a:gd name="T2" fmla="*/ 43 w 43"/>
                <a:gd name="T3" fmla="*/ 21 h 43"/>
                <a:gd name="T4" fmla="*/ 43 w 43"/>
                <a:gd name="T5" fmla="*/ 26 h 43"/>
                <a:gd name="T6" fmla="*/ 42 w 43"/>
                <a:gd name="T7" fmla="*/ 30 h 43"/>
                <a:gd name="T8" fmla="*/ 40 w 43"/>
                <a:gd name="T9" fmla="*/ 33 h 43"/>
                <a:gd name="T10" fmla="*/ 37 w 43"/>
                <a:gd name="T11" fmla="*/ 37 h 43"/>
                <a:gd name="T12" fmla="*/ 34 w 43"/>
                <a:gd name="T13" fmla="*/ 40 h 43"/>
                <a:gd name="T14" fmla="*/ 30 w 43"/>
                <a:gd name="T15" fmla="*/ 42 h 43"/>
                <a:gd name="T16" fmla="*/ 26 w 43"/>
                <a:gd name="T17" fmla="*/ 43 h 43"/>
                <a:gd name="T18" fmla="*/ 22 w 43"/>
                <a:gd name="T19" fmla="*/ 43 h 43"/>
                <a:gd name="T20" fmla="*/ 22 w 43"/>
                <a:gd name="T21" fmla="*/ 43 h 43"/>
                <a:gd name="T22" fmla="*/ 17 w 43"/>
                <a:gd name="T23" fmla="*/ 43 h 43"/>
                <a:gd name="T24" fmla="*/ 13 w 43"/>
                <a:gd name="T25" fmla="*/ 42 h 43"/>
                <a:gd name="T26" fmla="*/ 10 w 43"/>
                <a:gd name="T27" fmla="*/ 40 h 43"/>
                <a:gd name="T28" fmla="*/ 7 w 43"/>
                <a:gd name="T29" fmla="*/ 37 h 43"/>
                <a:gd name="T30" fmla="*/ 3 w 43"/>
                <a:gd name="T31" fmla="*/ 33 h 43"/>
                <a:gd name="T32" fmla="*/ 1 w 43"/>
                <a:gd name="T33" fmla="*/ 30 h 43"/>
                <a:gd name="T34" fmla="*/ 0 w 43"/>
                <a:gd name="T35" fmla="*/ 26 h 43"/>
                <a:gd name="T36" fmla="*/ 0 w 43"/>
                <a:gd name="T37" fmla="*/ 21 h 43"/>
                <a:gd name="T38" fmla="*/ 0 w 43"/>
                <a:gd name="T39" fmla="*/ 21 h 43"/>
                <a:gd name="T40" fmla="*/ 0 w 43"/>
                <a:gd name="T41" fmla="*/ 17 h 43"/>
                <a:gd name="T42" fmla="*/ 1 w 43"/>
                <a:gd name="T43" fmla="*/ 13 h 43"/>
                <a:gd name="T44" fmla="*/ 3 w 43"/>
                <a:gd name="T45" fmla="*/ 10 h 43"/>
                <a:gd name="T46" fmla="*/ 7 w 43"/>
                <a:gd name="T47" fmla="*/ 6 h 43"/>
                <a:gd name="T48" fmla="*/ 10 w 43"/>
                <a:gd name="T49" fmla="*/ 3 h 43"/>
                <a:gd name="T50" fmla="*/ 13 w 43"/>
                <a:gd name="T51" fmla="*/ 1 h 43"/>
                <a:gd name="T52" fmla="*/ 17 w 43"/>
                <a:gd name="T53" fmla="*/ 0 h 43"/>
                <a:gd name="T54" fmla="*/ 22 w 43"/>
                <a:gd name="T55" fmla="*/ 0 h 43"/>
                <a:gd name="T56" fmla="*/ 22 w 43"/>
                <a:gd name="T57" fmla="*/ 0 h 43"/>
                <a:gd name="T58" fmla="*/ 26 w 43"/>
                <a:gd name="T59" fmla="*/ 0 h 43"/>
                <a:gd name="T60" fmla="*/ 30 w 43"/>
                <a:gd name="T61" fmla="*/ 1 h 43"/>
                <a:gd name="T62" fmla="*/ 34 w 43"/>
                <a:gd name="T63" fmla="*/ 3 h 43"/>
                <a:gd name="T64" fmla="*/ 37 w 43"/>
                <a:gd name="T65" fmla="*/ 6 h 43"/>
                <a:gd name="T66" fmla="*/ 40 w 43"/>
                <a:gd name="T67" fmla="*/ 10 h 43"/>
                <a:gd name="T68" fmla="*/ 42 w 43"/>
                <a:gd name="T69" fmla="*/ 13 h 43"/>
                <a:gd name="T70" fmla="*/ 43 w 43"/>
                <a:gd name="T71" fmla="*/ 17 h 43"/>
                <a:gd name="T72" fmla="*/ 43 w 43"/>
                <a:gd name="T73" fmla="*/ 21 h 43"/>
                <a:gd name="T74" fmla="*/ 43 w 43"/>
                <a:gd name="T75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3" h="43">
                  <a:moveTo>
                    <a:pt x="43" y="21"/>
                  </a:moveTo>
                  <a:lnTo>
                    <a:pt x="43" y="21"/>
                  </a:lnTo>
                  <a:lnTo>
                    <a:pt x="43" y="26"/>
                  </a:lnTo>
                  <a:lnTo>
                    <a:pt x="42" y="30"/>
                  </a:lnTo>
                  <a:lnTo>
                    <a:pt x="40" y="33"/>
                  </a:lnTo>
                  <a:lnTo>
                    <a:pt x="37" y="37"/>
                  </a:lnTo>
                  <a:lnTo>
                    <a:pt x="34" y="40"/>
                  </a:lnTo>
                  <a:lnTo>
                    <a:pt x="30" y="42"/>
                  </a:lnTo>
                  <a:lnTo>
                    <a:pt x="26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17" y="43"/>
                  </a:lnTo>
                  <a:lnTo>
                    <a:pt x="13" y="42"/>
                  </a:lnTo>
                  <a:lnTo>
                    <a:pt x="10" y="40"/>
                  </a:lnTo>
                  <a:lnTo>
                    <a:pt x="7" y="37"/>
                  </a:lnTo>
                  <a:lnTo>
                    <a:pt x="3" y="33"/>
                  </a:lnTo>
                  <a:lnTo>
                    <a:pt x="1" y="30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7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7" y="6"/>
                  </a:lnTo>
                  <a:lnTo>
                    <a:pt x="10" y="3"/>
                  </a:lnTo>
                  <a:lnTo>
                    <a:pt x="13" y="1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0" y="1"/>
                  </a:lnTo>
                  <a:lnTo>
                    <a:pt x="34" y="3"/>
                  </a:lnTo>
                  <a:lnTo>
                    <a:pt x="37" y="6"/>
                  </a:lnTo>
                  <a:lnTo>
                    <a:pt x="40" y="10"/>
                  </a:lnTo>
                  <a:lnTo>
                    <a:pt x="42" y="13"/>
                  </a:lnTo>
                  <a:lnTo>
                    <a:pt x="43" y="17"/>
                  </a:lnTo>
                  <a:lnTo>
                    <a:pt x="43" y="21"/>
                  </a:lnTo>
                  <a:lnTo>
                    <a:pt x="4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811" y="1729"/>
              <a:ext cx="180" cy="212"/>
            </a:xfrm>
            <a:custGeom>
              <a:avLst/>
              <a:gdLst>
                <a:gd name="T0" fmla="*/ 360 w 360"/>
                <a:gd name="T1" fmla="*/ 94 h 422"/>
                <a:gd name="T2" fmla="*/ 317 w 360"/>
                <a:gd name="T3" fmla="*/ 90 h 422"/>
                <a:gd name="T4" fmla="*/ 281 w 360"/>
                <a:gd name="T5" fmla="*/ 106 h 422"/>
                <a:gd name="T6" fmla="*/ 247 w 360"/>
                <a:gd name="T7" fmla="*/ 86 h 422"/>
                <a:gd name="T8" fmla="*/ 208 w 360"/>
                <a:gd name="T9" fmla="*/ 74 h 422"/>
                <a:gd name="T10" fmla="*/ 223 w 360"/>
                <a:gd name="T11" fmla="*/ 47 h 422"/>
                <a:gd name="T12" fmla="*/ 222 w 360"/>
                <a:gd name="T13" fmla="*/ 19 h 422"/>
                <a:gd name="T14" fmla="*/ 214 w 360"/>
                <a:gd name="T15" fmla="*/ 6 h 422"/>
                <a:gd name="T16" fmla="*/ 200 w 360"/>
                <a:gd name="T17" fmla="*/ 0 h 422"/>
                <a:gd name="T18" fmla="*/ 128 w 360"/>
                <a:gd name="T19" fmla="*/ 23 h 422"/>
                <a:gd name="T20" fmla="*/ 131 w 360"/>
                <a:gd name="T21" fmla="*/ 33 h 422"/>
                <a:gd name="T22" fmla="*/ 141 w 360"/>
                <a:gd name="T23" fmla="*/ 43 h 422"/>
                <a:gd name="T24" fmla="*/ 156 w 360"/>
                <a:gd name="T25" fmla="*/ 47 h 422"/>
                <a:gd name="T26" fmla="*/ 140 w 360"/>
                <a:gd name="T27" fmla="*/ 75 h 422"/>
                <a:gd name="T28" fmla="*/ 95 w 360"/>
                <a:gd name="T29" fmla="*/ 90 h 422"/>
                <a:gd name="T30" fmla="*/ 56 w 360"/>
                <a:gd name="T31" fmla="*/ 118 h 422"/>
                <a:gd name="T32" fmla="*/ 27 w 360"/>
                <a:gd name="T33" fmla="*/ 154 h 422"/>
                <a:gd name="T34" fmla="*/ 7 w 360"/>
                <a:gd name="T35" fmla="*/ 198 h 422"/>
                <a:gd name="T36" fmla="*/ 0 w 360"/>
                <a:gd name="T37" fmla="*/ 247 h 422"/>
                <a:gd name="T38" fmla="*/ 4 w 360"/>
                <a:gd name="T39" fmla="*/ 282 h 422"/>
                <a:gd name="T40" fmla="*/ 22 w 360"/>
                <a:gd name="T41" fmla="*/ 331 h 422"/>
                <a:gd name="T42" fmla="*/ 52 w 360"/>
                <a:gd name="T43" fmla="*/ 371 h 422"/>
                <a:gd name="T44" fmla="*/ 92 w 360"/>
                <a:gd name="T45" fmla="*/ 401 h 422"/>
                <a:gd name="T46" fmla="*/ 140 w 360"/>
                <a:gd name="T47" fmla="*/ 419 h 422"/>
                <a:gd name="T48" fmla="*/ 176 w 360"/>
                <a:gd name="T49" fmla="*/ 422 h 422"/>
                <a:gd name="T50" fmla="*/ 227 w 360"/>
                <a:gd name="T51" fmla="*/ 415 h 422"/>
                <a:gd name="T52" fmla="*/ 274 w 360"/>
                <a:gd name="T53" fmla="*/ 392 h 422"/>
                <a:gd name="T54" fmla="*/ 311 w 360"/>
                <a:gd name="T55" fmla="*/ 359 h 422"/>
                <a:gd name="T56" fmla="*/ 337 w 360"/>
                <a:gd name="T57" fmla="*/ 314 h 422"/>
                <a:gd name="T58" fmla="*/ 350 w 360"/>
                <a:gd name="T59" fmla="*/ 265 h 422"/>
                <a:gd name="T60" fmla="*/ 350 w 360"/>
                <a:gd name="T61" fmla="*/ 229 h 422"/>
                <a:gd name="T62" fmla="*/ 338 w 360"/>
                <a:gd name="T63" fmla="*/ 182 h 422"/>
                <a:gd name="T64" fmla="*/ 315 w 360"/>
                <a:gd name="T65" fmla="*/ 141 h 422"/>
                <a:gd name="T66" fmla="*/ 176 w 360"/>
                <a:gd name="T67" fmla="*/ 393 h 422"/>
                <a:gd name="T68" fmla="*/ 147 w 360"/>
                <a:gd name="T69" fmla="*/ 390 h 422"/>
                <a:gd name="T70" fmla="*/ 106 w 360"/>
                <a:gd name="T71" fmla="*/ 375 h 422"/>
                <a:gd name="T72" fmla="*/ 73 w 360"/>
                <a:gd name="T73" fmla="*/ 350 h 422"/>
                <a:gd name="T74" fmla="*/ 48 w 360"/>
                <a:gd name="T75" fmla="*/ 317 h 422"/>
                <a:gd name="T76" fmla="*/ 33 w 360"/>
                <a:gd name="T77" fmla="*/ 276 h 422"/>
                <a:gd name="T78" fmla="*/ 30 w 360"/>
                <a:gd name="T79" fmla="*/ 247 h 422"/>
                <a:gd name="T80" fmla="*/ 36 w 360"/>
                <a:gd name="T81" fmla="*/ 203 h 422"/>
                <a:gd name="T82" fmla="*/ 54 w 360"/>
                <a:gd name="T83" fmla="*/ 165 h 422"/>
                <a:gd name="T84" fmla="*/ 83 w 360"/>
                <a:gd name="T85" fmla="*/ 133 h 422"/>
                <a:gd name="T86" fmla="*/ 119 w 360"/>
                <a:gd name="T87" fmla="*/ 112 h 422"/>
                <a:gd name="T88" fmla="*/ 161 w 360"/>
                <a:gd name="T89" fmla="*/ 101 h 422"/>
                <a:gd name="T90" fmla="*/ 191 w 360"/>
                <a:gd name="T91" fmla="*/ 101 h 422"/>
                <a:gd name="T92" fmla="*/ 233 w 360"/>
                <a:gd name="T93" fmla="*/ 112 h 422"/>
                <a:gd name="T94" fmla="*/ 268 w 360"/>
                <a:gd name="T95" fmla="*/ 133 h 422"/>
                <a:gd name="T96" fmla="*/ 296 w 360"/>
                <a:gd name="T97" fmla="*/ 165 h 422"/>
                <a:gd name="T98" fmla="*/ 315 w 360"/>
                <a:gd name="T99" fmla="*/ 203 h 422"/>
                <a:gd name="T100" fmla="*/ 322 w 360"/>
                <a:gd name="T101" fmla="*/ 247 h 422"/>
                <a:gd name="T102" fmla="*/ 319 w 360"/>
                <a:gd name="T103" fmla="*/ 276 h 422"/>
                <a:gd name="T104" fmla="*/ 304 w 360"/>
                <a:gd name="T105" fmla="*/ 317 h 422"/>
                <a:gd name="T106" fmla="*/ 279 w 360"/>
                <a:gd name="T107" fmla="*/ 350 h 422"/>
                <a:gd name="T108" fmla="*/ 246 w 360"/>
                <a:gd name="T109" fmla="*/ 375 h 422"/>
                <a:gd name="T110" fmla="*/ 205 w 360"/>
                <a:gd name="T111" fmla="*/ 390 h 422"/>
                <a:gd name="T112" fmla="*/ 176 w 360"/>
                <a:gd name="T113" fmla="*/ 393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60" h="422">
                  <a:moveTo>
                    <a:pt x="329" y="103"/>
                  </a:moveTo>
                  <a:lnTo>
                    <a:pt x="339" y="113"/>
                  </a:lnTo>
                  <a:lnTo>
                    <a:pt x="360" y="94"/>
                  </a:lnTo>
                  <a:lnTo>
                    <a:pt x="326" y="60"/>
                  </a:lnTo>
                  <a:lnTo>
                    <a:pt x="306" y="79"/>
                  </a:lnTo>
                  <a:lnTo>
                    <a:pt x="317" y="90"/>
                  </a:lnTo>
                  <a:lnTo>
                    <a:pt x="292" y="115"/>
                  </a:lnTo>
                  <a:lnTo>
                    <a:pt x="292" y="115"/>
                  </a:lnTo>
                  <a:lnTo>
                    <a:pt x="281" y="106"/>
                  </a:lnTo>
                  <a:lnTo>
                    <a:pt x="270" y="99"/>
                  </a:lnTo>
                  <a:lnTo>
                    <a:pt x="258" y="92"/>
                  </a:lnTo>
                  <a:lnTo>
                    <a:pt x="247" y="86"/>
                  </a:lnTo>
                  <a:lnTo>
                    <a:pt x="235" y="82"/>
                  </a:lnTo>
                  <a:lnTo>
                    <a:pt x="222" y="77"/>
                  </a:lnTo>
                  <a:lnTo>
                    <a:pt x="208" y="74"/>
                  </a:lnTo>
                  <a:lnTo>
                    <a:pt x="195" y="72"/>
                  </a:lnTo>
                  <a:lnTo>
                    <a:pt x="195" y="47"/>
                  </a:lnTo>
                  <a:lnTo>
                    <a:pt x="223" y="47"/>
                  </a:lnTo>
                  <a:lnTo>
                    <a:pt x="223" y="23"/>
                  </a:lnTo>
                  <a:lnTo>
                    <a:pt x="223" y="23"/>
                  </a:lnTo>
                  <a:lnTo>
                    <a:pt x="222" y="19"/>
                  </a:lnTo>
                  <a:lnTo>
                    <a:pt x="221" y="14"/>
                  </a:lnTo>
                  <a:lnTo>
                    <a:pt x="218" y="11"/>
                  </a:lnTo>
                  <a:lnTo>
                    <a:pt x="214" y="6"/>
                  </a:lnTo>
                  <a:lnTo>
                    <a:pt x="210" y="4"/>
                  </a:lnTo>
                  <a:lnTo>
                    <a:pt x="206" y="2"/>
                  </a:lnTo>
                  <a:lnTo>
                    <a:pt x="200" y="0"/>
                  </a:lnTo>
                  <a:lnTo>
                    <a:pt x="195" y="0"/>
                  </a:lnTo>
                  <a:lnTo>
                    <a:pt x="128" y="0"/>
                  </a:lnTo>
                  <a:lnTo>
                    <a:pt x="128" y="23"/>
                  </a:lnTo>
                  <a:lnTo>
                    <a:pt x="128" y="23"/>
                  </a:lnTo>
                  <a:lnTo>
                    <a:pt x="128" y="28"/>
                  </a:lnTo>
                  <a:lnTo>
                    <a:pt x="131" y="33"/>
                  </a:lnTo>
                  <a:lnTo>
                    <a:pt x="133" y="36"/>
                  </a:lnTo>
                  <a:lnTo>
                    <a:pt x="137" y="41"/>
                  </a:lnTo>
                  <a:lnTo>
                    <a:pt x="141" y="43"/>
                  </a:lnTo>
                  <a:lnTo>
                    <a:pt x="146" y="45"/>
                  </a:lnTo>
                  <a:lnTo>
                    <a:pt x="151" y="47"/>
                  </a:lnTo>
                  <a:lnTo>
                    <a:pt x="156" y="47"/>
                  </a:lnTo>
                  <a:lnTo>
                    <a:pt x="156" y="72"/>
                  </a:lnTo>
                  <a:lnTo>
                    <a:pt x="156" y="72"/>
                  </a:lnTo>
                  <a:lnTo>
                    <a:pt x="140" y="75"/>
                  </a:lnTo>
                  <a:lnTo>
                    <a:pt x="125" y="78"/>
                  </a:lnTo>
                  <a:lnTo>
                    <a:pt x="110" y="84"/>
                  </a:lnTo>
                  <a:lnTo>
                    <a:pt x="95" y="90"/>
                  </a:lnTo>
                  <a:lnTo>
                    <a:pt x="81" y="99"/>
                  </a:lnTo>
                  <a:lnTo>
                    <a:pt x="69" y="108"/>
                  </a:lnTo>
                  <a:lnTo>
                    <a:pt x="56" y="118"/>
                  </a:lnTo>
                  <a:lnTo>
                    <a:pt x="46" y="129"/>
                  </a:lnTo>
                  <a:lnTo>
                    <a:pt x="36" y="141"/>
                  </a:lnTo>
                  <a:lnTo>
                    <a:pt x="27" y="154"/>
                  </a:lnTo>
                  <a:lnTo>
                    <a:pt x="19" y="168"/>
                  </a:lnTo>
                  <a:lnTo>
                    <a:pt x="12" y="183"/>
                  </a:lnTo>
                  <a:lnTo>
                    <a:pt x="7" y="198"/>
                  </a:lnTo>
                  <a:lnTo>
                    <a:pt x="4" y="213"/>
                  </a:lnTo>
                  <a:lnTo>
                    <a:pt x="2" y="230"/>
                  </a:lnTo>
                  <a:lnTo>
                    <a:pt x="0" y="247"/>
                  </a:lnTo>
                  <a:lnTo>
                    <a:pt x="0" y="247"/>
                  </a:lnTo>
                  <a:lnTo>
                    <a:pt x="2" y="265"/>
                  </a:lnTo>
                  <a:lnTo>
                    <a:pt x="4" y="282"/>
                  </a:lnTo>
                  <a:lnTo>
                    <a:pt x="8" y="298"/>
                  </a:lnTo>
                  <a:lnTo>
                    <a:pt x="14" y="314"/>
                  </a:lnTo>
                  <a:lnTo>
                    <a:pt x="22" y="331"/>
                  </a:lnTo>
                  <a:lnTo>
                    <a:pt x="31" y="345"/>
                  </a:lnTo>
                  <a:lnTo>
                    <a:pt x="40" y="359"/>
                  </a:lnTo>
                  <a:lnTo>
                    <a:pt x="52" y="371"/>
                  </a:lnTo>
                  <a:lnTo>
                    <a:pt x="64" y="382"/>
                  </a:lnTo>
                  <a:lnTo>
                    <a:pt x="78" y="392"/>
                  </a:lnTo>
                  <a:lnTo>
                    <a:pt x="92" y="401"/>
                  </a:lnTo>
                  <a:lnTo>
                    <a:pt x="108" y="408"/>
                  </a:lnTo>
                  <a:lnTo>
                    <a:pt x="124" y="415"/>
                  </a:lnTo>
                  <a:lnTo>
                    <a:pt x="140" y="419"/>
                  </a:lnTo>
                  <a:lnTo>
                    <a:pt x="157" y="421"/>
                  </a:lnTo>
                  <a:lnTo>
                    <a:pt x="176" y="422"/>
                  </a:lnTo>
                  <a:lnTo>
                    <a:pt x="176" y="422"/>
                  </a:lnTo>
                  <a:lnTo>
                    <a:pt x="194" y="421"/>
                  </a:lnTo>
                  <a:lnTo>
                    <a:pt x="211" y="419"/>
                  </a:lnTo>
                  <a:lnTo>
                    <a:pt x="227" y="415"/>
                  </a:lnTo>
                  <a:lnTo>
                    <a:pt x="243" y="408"/>
                  </a:lnTo>
                  <a:lnTo>
                    <a:pt x="258" y="401"/>
                  </a:lnTo>
                  <a:lnTo>
                    <a:pt x="274" y="392"/>
                  </a:lnTo>
                  <a:lnTo>
                    <a:pt x="286" y="382"/>
                  </a:lnTo>
                  <a:lnTo>
                    <a:pt x="299" y="371"/>
                  </a:lnTo>
                  <a:lnTo>
                    <a:pt x="311" y="359"/>
                  </a:lnTo>
                  <a:lnTo>
                    <a:pt x="321" y="345"/>
                  </a:lnTo>
                  <a:lnTo>
                    <a:pt x="329" y="331"/>
                  </a:lnTo>
                  <a:lnTo>
                    <a:pt x="337" y="314"/>
                  </a:lnTo>
                  <a:lnTo>
                    <a:pt x="342" y="298"/>
                  </a:lnTo>
                  <a:lnTo>
                    <a:pt x="347" y="282"/>
                  </a:lnTo>
                  <a:lnTo>
                    <a:pt x="350" y="265"/>
                  </a:lnTo>
                  <a:lnTo>
                    <a:pt x="351" y="247"/>
                  </a:lnTo>
                  <a:lnTo>
                    <a:pt x="351" y="247"/>
                  </a:lnTo>
                  <a:lnTo>
                    <a:pt x="350" y="229"/>
                  </a:lnTo>
                  <a:lnTo>
                    <a:pt x="348" y="213"/>
                  </a:lnTo>
                  <a:lnTo>
                    <a:pt x="343" y="198"/>
                  </a:lnTo>
                  <a:lnTo>
                    <a:pt x="338" y="182"/>
                  </a:lnTo>
                  <a:lnTo>
                    <a:pt x="332" y="168"/>
                  </a:lnTo>
                  <a:lnTo>
                    <a:pt x="324" y="154"/>
                  </a:lnTo>
                  <a:lnTo>
                    <a:pt x="315" y="141"/>
                  </a:lnTo>
                  <a:lnTo>
                    <a:pt x="305" y="128"/>
                  </a:lnTo>
                  <a:lnTo>
                    <a:pt x="329" y="103"/>
                  </a:lnTo>
                  <a:close/>
                  <a:moveTo>
                    <a:pt x="176" y="393"/>
                  </a:moveTo>
                  <a:lnTo>
                    <a:pt x="176" y="393"/>
                  </a:lnTo>
                  <a:lnTo>
                    <a:pt x="161" y="392"/>
                  </a:lnTo>
                  <a:lnTo>
                    <a:pt x="147" y="390"/>
                  </a:lnTo>
                  <a:lnTo>
                    <a:pt x="133" y="387"/>
                  </a:lnTo>
                  <a:lnTo>
                    <a:pt x="119" y="381"/>
                  </a:lnTo>
                  <a:lnTo>
                    <a:pt x="106" y="375"/>
                  </a:lnTo>
                  <a:lnTo>
                    <a:pt x="94" y="368"/>
                  </a:lnTo>
                  <a:lnTo>
                    <a:pt x="83" y="360"/>
                  </a:lnTo>
                  <a:lnTo>
                    <a:pt x="73" y="350"/>
                  </a:lnTo>
                  <a:lnTo>
                    <a:pt x="63" y="339"/>
                  </a:lnTo>
                  <a:lnTo>
                    <a:pt x="54" y="328"/>
                  </a:lnTo>
                  <a:lnTo>
                    <a:pt x="48" y="317"/>
                  </a:lnTo>
                  <a:lnTo>
                    <a:pt x="41" y="304"/>
                  </a:lnTo>
                  <a:lnTo>
                    <a:pt x="36" y="290"/>
                  </a:lnTo>
                  <a:lnTo>
                    <a:pt x="33" y="276"/>
                  </a:lnTo>
                  <a:lnTo>
                    <a:pt x="31" y="262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1" y="231"/>
                  </a:lnTo>
                  <a:lnTo>
                    <a:pt x="33" y="217"/>
                  </a:lnTo>
                  <a:lnTo>
                    <a:pt x="36" y="203"/>
                  </a:lnTo>
                  <a:lnTo>
                    <a:pt x="41" y="189"/>
                  </a:lnTo>
                  <a:lnTo>
                    <a:pt x="48" y="177"/>
                  </a:lnTo>
                  <a:lnTo>
                    <a:pt x="54" y="165"/>
                  </a:lnTo>
                  <a:lnTo>
                    <a:pt x="63" y="154"/>
                  </a:lnTo>
                  <a:lnTo>
                    <a:pt x="73" y="143"/>
                  </a:lnTo>
                  <a:lnTo>
                    <a:pt x="83" y="133"/>
                  </a:lnTo>
                  <a:lnTo>
                    <a:pt x="94" y="126"/>
                  </a:lnTo>
                  <a:lnTo>
                    <a:pt x="106" y="118"/>
                  </a:lnTo>
                  <a:lnTo>
                    <a:pt x="119" y="112"/>
                  </a:lnTo>
                  <a:lnTo>
                    <a:pt x="133" y="108"/>
                  </a:lnTo>
                  <a:lnTo>
                    <a:pt x="147" y="103"/>
                  </a:lnTo>
                  <a:lnTo>
                    <a:pt x="161" y="101"/>
                  </a:lnTo>
                  <a:lnTo>
                    <a:pt x="176" y="100"/>
                  </a:lnTo>
                  <a:lnTo>
                    <a:pt x="176" y="100"/>
                  </a:lnTo>
                  <a:lnTo>
                    <a:pt x="191" y="101"/>
                  </a:lnTo>
                  <a:lnTo>
                    <a:pt x="205" y="103"/>
                  </a:lnTo>
                  <a:lnTo>
                    <a:pt x="219" y="108"/>
                  </a:lnTo>
                  <a:lnTo>
                    <a:pt x="233" y="112"/>
                  </a:lnTo>
                  <a:lnTo>
                    <a:pt x="246" y="118"/>
                  </a:lnTo>
                  <a:lnTo>
                    <a:pt x="257" y="126"/>
                  </a:lnTo>
                  <a:lnTo>
                    <a:pt x="268" y="133"/>
                  </a:lnTo>
                  <a:lnTo>
                    <a:pt x="279" y="143"/>
                  </a:lnTo>
                  <a:lnTo>
                    <a:pt x="289" y="154"/>
                  </a:lnTo>
                  <a:lnTo>
                    <a:pt x="296" y="165"/>
                  </a:lnTo>
                  <a:lnTo>
                    <a:pt x="304" y="177"/>
                  </a:lnTo>
                  <a:lnTo>
                    <a:pt x="310" y="189"/>
                  </a:lnTo>
                  <a:lnTo>
                    <a:pt x="315" y="203"/>
                  </a:lnTo>
                  <a:lnTo>
                    <a:pt x="319" y="217"/>
                  </a:lnTo>
                  <a:lnTo>
                    <a:pt x="321" y="231"/>
                  </a:lnTo>
                  <a:lnTo>
                    <a:pt x="322" y="247"/>
                  </a:lnTo>
                  <a:lnTo>
                    <a:pt x="322" y="247"/>
                  </a:lnTo>
                  <a:lnTo>
                    <a:pt x="321" y="262"/>
                  </a:lnTo>
                  <a:lnTo>
                    <a:pt x="319" y="276"/>
                  </a:lnTo>
                  <a:lnTo>
                    <a:pt x="315" y="290"/>
                  </a:lnTo>
                  <a:lnTo>
                    <a:pt x="310" y="304"/>
                  </a:lnTo>
                  <a:lnTo>
                    <a:pt x="304" y="317"/>
                  </a:lnTo>
                  <a:lnTo>
                    <a:pt x="296" y="328"/>
                  </a:lnTo>
                  <a:lnTo>
                    <a:pt x="289" y="339"/>
                  </a:lnTo>
                  <a:lnTo>
                    <a:pt x="279" y="350"/>
                  </a:lnTo>
                  <a:lnTo>
                    <a:pt x="268" y="360"/>
                  </a:lnTo>
                  <a:lnTo>
                    <a:pt x="257" y="368"/>
                  </a:lnTo>
                  <a:lnTo>
                    <a:pt x="246" y="375"/>
                  </a:lnTo>
                  <a:lnTo>
                    <a:pt x="233" y="381"/>
                  </a:lnTo>
                  <a:lnTo>
                    <a:pt x="219" y="387"/>
                  </a:lnTo>
                  <a:lnTo>
                    <a:pt x="205" y="390"/>
                  </a:lnTo>
                  <a:lnTo>
                    <a:pt x="191" y="392"/>
                  </a:lnTo>
                  <a:lnTo>
                    <a:pt x="176" y="393"/>
                  </a:lnTo>
                  <a:lnTo>
                    <a:pt x="176" y="3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4" name="Group 4"/>
          <p:cNvGrpSpPr>
            <a:grpSpLocks noChangeAspect="1"/>
          </p:cNvGrpSpPr>
          <p:nvPr/>
        </p:nvGrpSpPr>
        <p:grpSpPr bwMode="auto">
          <a:xfrm>
            <a:off x="6838296" y="3284702"/>
            <a:ext cx="1153180" cy="1158666"/>
            <a:chOff x="4740" y="602"/>
            <a:chExt cx="210" cy="211"/>
          </a:xfrm>
          <a:solidFill>
            <a:schemeClr val="bg1"/>
          </a:solidFill>
        </p:grpSpPr>
        <p:sp>
          <p:nvSpPr>
            <p:cNvPr id="15" name="Freeform 5"/>
            <p:cNvSpPr>
              <a:spLocks/>
            </p:cNvSpPr>
            <p:nvPr/>
          </p:nvSpPr>
          <p:spPr bwMode="auto">
            <a:xfrm>
              <a:off x="4771" y="632"/>
              <a:ext cx="148" cy="151"/>
            </a:xfrm>
            <a:custGeom>
              <a:avLst/>
              <a:gdLst>
                <a:gd name="T0" fmla="*/ 200 w 298"/>
                <a:gd name="T1" fmla="*/ 26 h 303"/>
                <a:gd name="T2" fmla="*/ 196 w 298"/>
                <a:gd name="T3" fmla="*/ 27 h 303"/>
                <a:gd name="T4" fmla="*/ 192 w 298"/>
                <a:gd name="T5" fmla="*/ 32 h 303"/>
                <a:gd name="T6" fmla="*/ 191 w 298"/>
                <a:gd name="T7" fmla="*/ 36 h 303"/>
                <a:gd name="T8" fmla="*/ 193 w 298"/>
                <a:gd name="T9" fmla="*/ 43 h 303"/>
                <a:gd name="T10" fmla="*/ 207 w 298"/>
                <a:gd name="T11" fmla="*/ 57 h 303"/>
                <a:gd name="T12" fmla="*/ 44 w 298"/>
                <a:gd name="T13" fmla="*/ 200 h 303"/>
                <a:gd name="T14" fmla="*/ 41 w 298"/>
                <a:gd name="T15" fmla="*/ 198 h 303"/>
                <a:gd name="T16" fmla="*/ 36 w 298"/>
                <a:gd name="T17" fmla="*/ 196 h 303"/>
                <a:gd name="T18" fmla="*/ 30 w 298"/>
                <a:gd name="T19" fmla="*/ 196 h 303"/>
                <a:gd name="T20" fmla="*/ 26 w 298"/>
                <a:gd name="T21" fmla="*/ 200 h 303"/>
                <a:gd name="T22" fmla="*/ 1 w 298"/>
                <a:gd name="T23" fmla="*/ 289 h 303"/>
                <a:gd name="T24" fmla="*/ 0 w 298"/>
                <a:gd name="T25" fmla="*/ 292 h 303"/>
                <a:gd name="T26" fmla="*/ 1 w 298"/>
                <a:gd name="T27" fmla="*/ 298 h 303"/>
                <a:gd name="T28" fmla="*/ 4 w 298"/>
                <a:gd name="T29" fmla="*/ 302 h 303"/>
                <a:gd name="T30" fmla="*/ 10 w 298"/>
                <a:gd name="T31" fmla="*/ 303 h 303"/>
                <a:gd name="T32" fmla="*/ 98 w 298"/>
                <a:gd name="T33" fmla="*/ 278 h 303"/>
                <a:gd name="T34" fmla="*/ 101 w 298"/>
                <a:gd name="T35" fmla="*/ 277 h 303"/>
                <a:gd name="T36" fmla="*/ 106 w 298"/>
                <a:gd name="T37" fmla="*/ 272 h 303"/>
                <a:gd name="T38" fmla="*/ 107 w 298"/>
                <a:gd name="T39" fmla="*/ 267 h 303"/>
                <a:gd name="T40" fmla="*/ 105 w 298"/>
                <a:gd name="T41" fmla="*/ 262 h 303"/>
                <a:gd name="T42" fmla="*/ 91 w 298"/>
                <a:gd name="T43" fmla="*/ 247 h 303"/>
                <a:gd name="T44" fmla="*/ 243 w 298"/>
                <a:gd name="T45" fmla="*/ 91 h 303"/>
                <a:gd name="T46" fmla="*/ 255 w 298"/>
                <a:gd name="T47" fmla="*/ 103 h 303"/>
                <a:gd name="T48" fmla="*/ 257 w 298"/>
                <a:gd name="T49" fmla="*/ 105 h 303"/>
                <a:gd name="T50" fmla="*/ 263 w 298"/>
                <a:gd name="T51" fmla="*/ 108 h 303"/>
                <a:gd name="T52" fmla="*/ 269 w 298"/>
                <a:gd name="T53" fmla="*/ 107 h 303"/>
                <a:gd name="T54" fmla="*/ 272 w 298"/>
                <a:gd name="T55" fmla="*/ 103 h 303"/>
                <a:gd name="T56" fmla="*/ 297 w 298"/>
                <a:gd name="T57" fmla="*/ 14 h 303"/>
                <a:gd name="T58" fmla="*/ 298 w 298"/>
                <a:gd name="T59" fmla="*/ 10 h 303"/>
                <a:gd name="T60" fmla="*/ 297 w 298"/>
                <a:gd name="T61" fmla="*/ 5 h 303"/>
                <a:gd name="T62" fmla="*/ 293 w 298"/>
                <a:gd name="T63" fmla="*/ 1 h 303"/>
                <a:gd name="T64" fmla="*/ 288 w 298"/>
                <a:gd name="T65" fmla="*/ 0 h 303"/>
                <a:gd name="T66" fmla="*/ 284 w 298"/>
                <a:gd name="T67" fmla="*/ 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8" h="303">
                  <a:moveTo>
                    <a:pt x="284" y="1"/>
                  </a:moveTo>
                  <a:lnTo>
                    <a:pt x="200" y="26"/>
                  </a:lnTo>
                  <a:lnTo>
                    <a:pt x="200" y="26"/>
                  </a:lnTo>
                  <a:lnTo>
                    <a:pt x="196" y="27"/>
                  </a:lnTo>
                  <a:lnTo>
                    <a:pt x="193" y="28"/>
                  </a:lnTo>
                  <a:lnTo>
                    <a:pt x="192" y="32"/>
                  </a:lnTo>
                  <a:lnTo>
                    <a:pt x="191" y="34"/>
                  </a:lnTo>
                  <a:lnTo>
                    <a:pt x="191" y="36"/>
                  </a:lnTo>
                  <a:lnTo>
                    <a:pt x="192" y="39"/>
                  </a:lnTo>
                  <a:lnTo>
                    <a:pt x="193" y="43"/>
                  </a:lnTo>
                  <a:lnTo>
                    <a:pt x="195" y="46"/>
                  </a:lnTo>
                  <a:lnTo>
                    <a:pt x="207" y="57"/>
                  </a:lnTo>
                  <a:lnTo>
                    <a:pt x="56" y="212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1" y="198"/>
                  </a:lnTo>
                  <a:lnTo>
                    <a:pt x="38" y="196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30" y="196"/>
                  </a:lnTo>
                  <a:lnTo>
                    <a:pt x="28" y="198"/>
                  </a:lnTo>
                  <a:lnTo>
                    <a:pt x="26" y="200"/>
                  </a:lnTo>
                  <a:lnTo>
                    <a:pt x="25" y="203"/>
                  </a:lnTo>
                  <a:lnTo>
                    <a:pt x="1" y="289"/>
                  </a:lnTo>
                  <a:lnTo>
                    <a:pt x="1" y="289"/>
                  </a:lnTo>
                  <a:lnTo>
                    <a:pt x="0" y="292"/>
                  </a:lnTo>
                  <a:lnTo>
                    <a:pt x="0" y="295"/>
                  </a:lnTo>
                  <a:lnTo>
                    <a:pt x="1" y="298"/>
                  </a:lnTo>
                  <a:lnTo>
                    <a:pt x="2" y="301"/>
                  </a:lnTo>
                  <a:lnTo>
                    <a:pt x="4" y="302"/>
                  </a:lnTo>
                  <a:lnTo>
                    <a:pt x="8" y="303"/>
                  </a:lnTo>
                  <a:lnTo>
                    <a:pt x="10" y="303"/>
                  </a:lnTo>
                  <a:lnTo>
                    <a:pt x="14" y="302"/>
                  </a:lnTo>
                  <a:lnTo>
                    <a:pt x="98" y="278"/>
                  </a:lnTo>
                  <a:lnTo>
                    <a:pt x="98" y="278"/>
                  </a:lnTo>
                  <a:lnTo>
                    <a:pt x="101" y="277"/>
                  </a:lnTo>
                  <a:lnTo>
                    <a:pt x="105" y="275"/>
                  </a:lnTo>
                  <a:lnTo>
                    <a:pt x="106" y="272"/>
                  </a:lnTo>
                  <a:lnTo>
                    <a:pt x="107" y="270"/>
                  </a:lnTo>
                  <a:lnTo>
                    <a:pt x="107" y="267"/>
                  </a:lnTo>
                  <a:lnTo>
                    <a:pt x="107" y="264"/>
                  </a:lnTo>
                  <a:lnTo>
                    <a:pt x="105" y="262"/>
                  </a:lnTo>
                  <a:lnTo>
                    <a:pt x="103" y="258"/>
                  </a:lnTo>
                  <a:lnTo>
                    <a:pt x="91" y="247"/>
                  </a:lnTo>
                  <a:lnTo>
                    <a:pt x="243" y="91"/>
                  </a:lnTo>
                  <a:lnTo>
                    <a:pt x="243" y="91"/>
                  </a:lnTo>
                  <a:lnTo>
                    <a:pt x="243" y="91"/>
                  </a:lnTo>
                  <a:lnTo>
                    <a:pt x="255" y="103"/>
                  </a:lnTo>
                  <a:lnTo>
                    <a:pt x="255" y="103"/>
                  </a:lnTo>
                  <a:lnTo>
                    <a:pt x="257" y="105"/>
                  </a:lnTo>
                  <a:lnTo>
                    <a:pt x="260" y="107"/>
                  </a:lnTo>
                  <a:lnTo>
                    <a:pt x="263" y="108"/>
                  </a:lnTo>
                  <a:lnTo>
                    <a:pt x="265" y="107"/>
                  </a:lnTo>
                  <a:lnTo>
                    <a:pt x="269" y="107"/>
                  </a:lnTo>
                  <a:lnTo>
                    <a:pt x="271" y="105"/>
                  </a:lnTo>
                  <a:lnTo>
                    <a:pt x="272" y="103"/>
                  </a:lnTo>
                  <a:lnTo>
                    <a:pt x="274" y="100"/>
                  </a:lnTo>
                  <a:lnTo>
                    <a:pt x="297" y="14"/>
                  </a:lnTo>
                  <a:lnTo>
                    <a:pt x="297" y="14"/>
                  </a:lnTo>
                  <a:lnTo>
                    <a:pt x="298" y="10"/>
                  </a:lnTo>
                  <a:lnTo>
                    <a:pt x="298" y="7"/>
                  </a:lnTo>
                  <a:lnTo>
                    <a:pt x="297" y="5"/>
                  </a:lnTo>
                  <a:lnTo>
                    <a:pt x="296" y="3"/>
                  </a:lnTo>
                  <a:lnTo>
                    <a:pt x="293" y="1"/>
                  </a:lnTo>
                  <a:lnTo>
                    <a:pt x="290" y="0"/>
                  </a:lnTo>
                  <a:lnTo>
                    <a:pt x="288" y="0"/>
                  </a:lnTo>
                  <a:lnTo>
                    <a:pt x="284" y="1"/>
                  </a:lnTo>
                  <a:lnTo>
                    <a:pt x="2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4817" y="602"/>
              <a:ext cx="133" cy="131"/>
            </a:xfrm>
            <a:custGeom>
              <a:avLst/>
              <a:gdLst>
                <a:gd name="T0" fmla="*/ 0 w 264"/>
                <a:gd name="T1" fmla="*/ 36 h 262"/>
                <a:gd name="T2" fmla="*/ 224 w 264"/>
                <a:gd name="T3" fmla="*/ 36 h 262"/>
                <a:gd name="T4" fmla="*/ 224 w 264"/>
                <a:gd name="T5" fmla="*/ 36 h 262"/>
                <a:gd name="T6" fmla="*/ 226 w 264"/>
                <a:gd name="T7" fmla="*/ 37 h 262"/>
                <a:gd name="T8" fmla="*/ 227 w 264"/>
                <a:gd name="T9" fmla="*/ 39 h 262"/>
                <a:gd name="T10" fmla="*/ 227 w 264"/>
                <a:gd name="T11" fmla="*/ 262 h 262"/>
                <a:gd name="T12" fmla="*/ 264 w 264"/>
                <a:gd name="T13" fmla="*/ 262 h 262"/>
                <a:gd name="T14" fmla="*/ 264 w 264"/>
                <a:gd name="T15" fmla="*/ 39 h 262"/>
                <a:gd name="T16" fmla="*/ 264 w 264"/>
                <a:gd name="T17" fmla="*/ 39 h 262"/>
                <a:gd name="T18" fmla="*/ 263 w 264"/>
                <a:gd name="T19" fmla="*/ 31 h 262"/>
                <a:gd name="T20" fmla="*/ 261 w 264"/>
                <a:gd name="T21" fmla="*/ 24 h 262"/>
                <a:gd name="T22" fmla="*/ 257 w 264"/>
                <a:gd name="T23" fmla="*/ 17 h 262"/>
                <a:gd name="T24" fmla="*/ 252 w 264"/>
                <a:gd name="T25" fmla="*/ 11 h 262"/>
                <a:gd name="T26" fmla="*/ 246 w 264"/>
                <a:gd name="T27" fmla="*/ 7 h 262"/>
                <a:gd name="T28" fmla="*/ 239 w 264"/>
                <a:gd name="T29" fmla="*/ 3 h 262"/>
                <a:gd name="T30" fmla="*/ 232 w 264"/>
                <a:gd name="T31" fmla="*/ 1 h 262"/>
                <a:gd name="T32" fmla="*/ 224 w 264"/>
                <a:gd name="T33" fmla="*/ 0 h 262"/>
                <a:gd name="T34" fmla="*/ 0 w 264"/>
                <a:gd name="T35" fmla="*/ 0 h 262"/>
                <a:gd name="T36" fmla="*/ 0 w 264"/>
                <a:gd name="T37" fmla="*/ 36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4" h="262">
                  <a:moveTo>
                    <a:pt x="0" y="36"/>
                  </a:moveTo>
                  <a:lnTo>
                    <a:pt x="224" y="36"/>
                  </a:lnTo>
                  <a:lnTo>
                    <a:pt x="224" y="36"/>
                  </a:lnTo>
                  <a:lnTo>
                    <a:pt x="226" y="37"/>
                  </a:lnTo>
                  <a:lnTo>
                    <a:pt x="227" y="39"/>
                  </a:lnTo>
                  <a:lnTo>
                    <a:pt x="227" y="262"/>
                  </a:lnTo>
                  <a:lnTo>
                    <a:pt x="264" y="262"/>
                  </a:lnTo>
                  <a:lnTo>
                    <a:pt x="264" y="39"/>
                  </a:lnTo>
                  <a:lnTo>
                    <a:pt x="264" y="39"/>
                  </a:lnTo>
                  <a:lnTo>
                    <a:pt x="263" y="31"/>
                  </a:lnTo>
                  <a:lnTo>
                    <a:pt x="261" y="24"/>
                  </a:lnTo>
                  <a:lnTo>
                    <a:pt x="257" y="17"/>
                  </a:lnTo>
                  <a:lnTo>
                    <a:pt x="252" y="11"/>
                  </a:lnTo>
                  <a:lnTo>
                    <a:pt x="246" y="7"/>
                  </a:lnTo>
                  <a:lnTo>
                    <a:pt x="239" y="3"/>
                  </a:lnTo>
                  <a:lnTo>
                    <a:pt x="232" y="1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4740" y="681"/>
              <a:ext cx="130" cy="132"/>
            </a:xfrm>
            <a:custGeom>
              <a:avLst/>
              <a:gdLst>
                <a:gd name="T0" fmla="*/ 260 w 260"/>
                <a:gd name="T1" fmla="*/ 227 h 263"/>
                <a:gd name="T2" fmla="*/ 40 w 260"/>
                <a:gd name="T3" fmla="*/ 227 h 263"/>
                <a:gd name="T4" fmla="*/ 40 w 260"/>
                <a:gd name="T5" fmla="*/ 227 h 263"/>
                <a:gd name="T6" fmla="*/ 38 w 260"/>
                <a:gd name="T7" fmla="*/ 226 h 263"/>
                <a:gd name="T8" fmla="*/ 36 w 260"/>
                <a:gd name="T9" fmla="*/ 224 h 263"/>
                <a:gd name="T10" fmla="*/ 36 w 260"/>
                <a:gd name="T11" fmla="*/ 0 h 263"/>
                <a:gd name="T12" fmla="*/ 0 w 260"/>
                <a:gd name="T13" fmla="*/ 0 h 263"/>
                <a:gd name="T14" fmla="*/ 0 w 260"/>
                <a:gd name="T15" fmla="*/ 224 h 263"/>
                <a:gd name="T16" fmla="*/ 0 w 260"/>
                <a:gd name="T17" fmla="*/ 224 h 263"/>
                <a:gd name="T18" fmla="*/ 1 w 260"/>
                <a:gd name="T19" fmla="*/ 232 h 263"/>
                <a:gd name="T20" fmla="*/ 3 w 260"/>
                <a:gd name="T21" fmla="*/ 239 h 263"/>
                <a:gd name="T22" fmla="*/ 7 w 260"/>
                <a:gd name="T23" fmla="*/ 246 h 263"/>
                <a:gd name="T24" fmla="*/ 12 w 260"/>
                <a:gd name="T25" fmla="*/ 252 h 263"/>
                <a:gd name="T26" fmla="*/ 18 w 260"/>
                <a:gd name="T27" fmla="*/ 257 h 263"/>
                <a:gd name="T28" fmla="*/ 25 w 260"/>
                <a:gd name="T29" fmla="*/ 260 h 263"/>
                <a:gd name="T30" fmla="*/ 32 w 260"/>
                <a:gd name="T31" fmla="*/ 262 h 263"/>
                <a:gd name="T32" fmla="*/ 40 w 260"/>
                <a:gd name="T33" fmla="*/ 263 h 263"/>
                <a:gd name="T34" fmla="*/ 260 w 260"/>
                <a:gd name="T35" fmla="*/ 263 h 263"/>
                <a:gd name="T36" fmla="*/ 260 w 260"/>
                <a:gd name="T37" fmla="*/ 227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0" h="263">
                  <a:moveTo>
                    <a:pt x="260" y="227"/>
                  </a:moveTo>
                  <a:lnTo>
                    <a:pt x="40" y="227"/>
                  </a:lnTo>
                  <a:lnTo>
                    <a:pt x="40" y="227"/>
                  </a:lnTo>
                  <a:lnTo>
                    <a:pt x="38" y="226"/>
                  </a:lnTo>
                  <a:lnTo>
                    <a:pt x="36" y="224"/>
                  </a:lnTo>
                  <a:lnTo>
                    <a:pt x="36" y="0"/>
                  </a:lnTo>
                  <a:lnTo>
                    <a:pt x="0" y="0"/>
                  </a:lnTo>
                  <a:lnTo>
                    <a:pt x="0" y="224"/>
                  </a:lnTo>
                  <a:lnTo>
                    <a:pt x="0" y="224"/>
                  </a:lnTo>
                  <a:lnTo>
                    <a:pt x="1" y="232"/>
                  </a:lnTo>
                  <a:lnTo>
                    <a:pt x="3" y="239"/>
                  </a:lnTo>
                  <a:lnTo>
                    <a:pt x="7" y="246"/>
                  </a:lnTo>
                  <a:lnTo>
                    <a:pt x="12" y="252"/>
                  </a:lnTo>
                  <a:lnTo>
                    <a:pt x="18" y="257"/>
                  </a:lnTo>
                  <a:lnTo>
                    <a:pt x="25" y="260"/>
                  </a:lnTo>
                  <a:lnTo>
                    <a:pt x="32" y="262"/>
                  </a:lnTo>
                  <a:lnTo>
                    <a:pt x="40" y="263"/>
                  </a:lnTo>
                  <a:lnTo>
                    <a:pt x="260" y="263"/>
                  </a:lnTo>
                  <a:lnTo>
                    <a:pt x="260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8" name="Group 4"/>
          <p:cNvGrpSpPr>
            <a:grpSpLocks noChangeAspect="1"/>
          </p:cNvGrpSpPr>
          <p:nvPr/>
        </p:nvGrpSpPr>
        <p:grpSpPr bwMode="auto">
          <a:xfrm>
            <a:off x="9456366" y="3300870"/>
            <a:ext cx="1192584" cy="1126330"/>
            <a:chOff x="2475" y="2315"/>
            <a:chExt cx="216" cy="204"/>
          </a:xfrm>
          <a:solidFill>
            <a:schemeClr val="bg1"/>
          </a:solidFill>
        </p:grpSpPr>
        <p:sp>
          <p:nvSpPr>
            <p:cNvPr id="19" name="Freeform 5"/>
            <p:cNvSpPr>
              <a:spLocks/>
            </p:cNvSpPr>
            <p:nvPr/>
          </p:nvSpPr>
          <p:spPr bwMode="auto">
            <a:xfrm>
              <a:off x="2475" y="2384"/>
              <a:ext cx="216" cy="135"/>
            </a:xfrm>
            <a:custGeom>
              <a:avLst/>
              <a:gdLst>
                <a:gd name="T0" fmla="*/ 385 w 432"/>
                <a:gd name="T1" fmla="*/ 191 h 269"/>
                <a:gd name="T2" fmla="*/ 229 w 432"/>
                <a:gd name="T3" fmla="*/ 131 h 269"/>
                <a:gd name="T4" fmla="*/ 320 w 432"/>
                <a:gd name="T5" fmla="*/ 93 h 269"/>
                <a:gd name="T6" fmla="*/ 320 w 432"/>
                <a:gd name="T7" fmla="*/ 34 h 269"/>
                <a:gd name="T8" fmla="*/ 317 w 432"/>
                <a:gd name="T9" fmla="*/ 21 h 269"/>
                <a:gd name="T10" fmla="*/ 310 w 432"/>
                <a:gd name="T11" fmla="*/ 10 h 269"/>
                <a:gd name="T12" fmla="*/ 299 w 432"/>
                <a:gd name="T13" fmla="*/ 3 h 269"/>
                <a:gd name="T14" fmla="*/ 286 w 432"/>
                <a:gd name="T15" fmla="*/ 0 h 269"/>
                <a:gd name="T16" fmla="*/ 112 w 432"/>
                <a:gd name="T17" fmla="*/ 61 h 269"/>
                <a:gd name="T18" fmla="*/ 113 w 432"/>
                <a:gd name="T19" fmla="*/ 67 h 269"/>
                <a:gd name="T20" fmla="*/ 118 w 432"/>
                <a:gd name="T21" fmla="*/ 79 h 269"/>
                <a:gd name="T22" fmla="*/ 127 w 432"/>
                <a:gd name="T23" fmla="*/ 88 h 269"/>
                <a:gd name="T24" fmla="*/ 139 w 432"/>
                <a:gd name="T25" fmla="*/ 93 h 269"/>
                <a:gd name="T26" fmla="*/ 203 w 432"/>
                <a:gd name="T27" fmla="*/ 93 h 269"/>
                <a:gd name="T28" fmla="*/ 47 w 432"/>
                <a:gd name="T29" fmla="*/ 131 h 269"/>
                <a:gd name="T30" fmla="*/ 0 w 432"/>
                <a:gd name="T31" fmla="*/ 191 h 269"/>
                <a:gd name="T32" fmla="*/ 0 w 432"/>
                <a:gd name="T33" fmla="*/ 243 h 269"/>
                <a:gd name="T34" fmla="*/ 2 w 432"/>
                <a:gd name="T35" fmla="*/ 253 h 269"/>
                <a:gd name="T36" fmla="*/ 7 w 432"/>
                <a:gd name="T37" fmla="*/ 262 h 269"/>
                <a:gd name="T38" fmla="*/ 16 w 432"/>
                <a:gd name="T39" fmla="*/ 267 h 269"/>
                <a:gd name="T40" fmla="*/ 26 w 432"/>
                <a:gd name="T41" fmla="*/ 269 h 269"/>
                <a:gd name="T42" fmla="*/ 121 w 432"/>
                <a:gd name="T43" fmla="*/ 217 h 269"/>
                <a:gd name="T44" fmla="*/ 121 w 432"/>
                <a:gd name="T45" fmla="*/ 212 h 269"/>
                <a:gd name="T46" fmla="*/ 117 w 432"/>
                <a:gd name="T47" fmla="*/ 202 h 269"/>
                <a:gd name="T48" fmla="*/ 110 w 432"/>
                <a:gd name="T49" fmla="*/ 196 h 269"/>
                <a:gd name="T50" fmla="*/ 100 w 432"/>
                <a:gd name="T51" fmla="*/ 191 h 269"/>
                <a:gd name="T52" fmla="*/ 73 w 432"/>
                <a:gd name="T53" fmla="*/ 191 h 269"/>
                <a:gd name="T54" fmla="*/ 203 w 432"/>
                <a:gd name="T55" fmla="*/ 157 h 269"/>
                <a:gd name="T56" fmla="*/ 155 w 432"/>
                <a:gd name="T57" fmla="*/ 191 h 269"/>
                <a:gd name="T58" fmla="*/ 155 w 432"/>
                <a:gd name="T59" fmla="*/ 243 h 269"/>
                <a:gd name="T60" fmla="*/ 158 w 432"/>
                <a:gd name="T61" fmla="*/ 253 h 269"/>
                <a:gd name="T62" fmla="*/ 163 w 432"/>
                <a:gd name="T63" fmla="*/ 262 h 269"/>
                <a:gd name="T64" fmla="*/ 172 w 432"/>
                <a:gd name="T65" fmla="*/ 267 h 269"/>
                <a:gd name="T66" fmla="*/ 181 w 432"/>
                <a:gd name="T67" fmla="*/ 269 h 269"/>
                <a:gd name="T68" fmla="*/ 277 w 432"/>
                <a:gd name="T69" fmla="*/ 217 h 269"/>
                <a:gd name="T70" fmla="*/ 275 w 432"/>
                <a:gd name="T71" fmla="*/ 212 h 269"/>
                <a:gd name="T72" fmla="*/ 272 w 432"/>
                <a:gd name="T73" fmla="*/ 202 h 269"/>
                <a:gd name="T74" fmla="*/ 265 w 432"/>
                <a:gd name="T75" fmla="*/ 196 h 269"/>
                <a:gd name="T76" fmla="*/ 256 w 432"/>
                <a:gd name="T77" fmla="*/ 191 h 269"/>
                <a:gd name="T78" fmla="*/ 229 w 432"/>
                <a:gd name="T79" fmla="*/ 191 h 269"/>
                <a:gd name="T80" fmla="*/ 359 w 432"/>
                <a:gd name="T81" fmla="*/ 157 h 269"/>
                <a:gd name="T82" fmla="*/ 311 w 432"/>
                <a:gd name="T83" fmla="*/ 191 h 269"/>
                <a:gd name="T84" fmla="*/ 311 w 432"/>
                <a:gd name="T85" fmla="*/ 243 h 269"/>
                <a:gd name="T86" fmla="*/ 313 w 432"/>
                <a:gd name="T87" fmla="*/ 253 h 269"/>
                <a:gd name="T88" fmla="*/ 319 w 432"/>
                <a:gd name="T89" fmla="*/ 262 h 269"/>
                <a:gd name="T90" fmla="*/ 326 w 432"/>
                <a:gd name="T91" fmla="*/ 267 h 269"/>
                <a:gd name="T92" fmla="*/ 337 w 432"/>
                <a:gd name="T93" fmla="*/ 269 h 269"/>
                <a:gd name="T94" fmla="*/ 432 w 432"/>
                <a:gd name="T95" fmla="*/ 217 h 269"/>
                <a:gd name="T96" fmla="*/ 431 w 432"/>
                <a:gd name="T97" fmla="*/ 212 h 269"/>
                <a:gd name="T98" fmla="*/ 427 w 432"/>
                <a:gd name="T99" fmla="*/ 202 h 269"/>
                <a:gd name="T100" fmla="*/ 420 w 432"/>
                <a:gd name="T101" fmla="*/ 196 h 269"/>
                <a:gd name="T102" fmla="*/ 411 w 432"/>
                <a:gd name="T103" fmla="*/ 191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2" h="269">
                  <a:moveTo>
                    <a:pt x="406" y="191"/>
                  </a:moveTo>
                  <a:lnTo>
                    <a:pt x="385" y="191"/>
                  </a:lnTo>
                  <a:lnTo>
                    <a:pt x="385" y="131"/>
                  </a:lnTo>
                  <a:lnTo>
                    <a:pt x="229" y="131"/>
                  </a:lnTo>
                  <a:lnTo>
                    <a:pt x="229" y="93"/>
                  </a:lnTo>
                  <a:lnTo>
                    <a:pt x="320" y="93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19" y="27"/>
                  </a:lnTo>
                  <a:lnTo>
                    <a:pt x="317" y="21"/>
                  </a:lnTo>
                  <a:lnTo>
                    <a:pt x="314" y="15"/>
                  </a:lnTo>
                  <a:lnTo>
                    <a:pt x="310" y="10"/>
                  </a:lnTo>
                  <a:lnTo>
                    <a:pt x="305" y="7"/>
                  </a:lnTo>
                  <a:lnTo>
                    <a:pt x="299" y="3"/>
                  </a:lnTo>
                  <a:lnTo>
                    <a:pt x="293" y="1"/>
                  </a:lnTo>
                  <a:lnTo>
                    <a:pt x="286" y="0"/>
                  </a:lnTo>
                  <a:lnTo>
                    <a:pt x="112" y="0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3" y="67"/>
                  </a:lnTo>
                  <a:lnTo>
                    <a:pt x="115" y="74"/>
                  </a:lnTo>
                  <a:lnTo>
                    <a:pt x="118" y="79"/>
                  </a:lnTo>
                  <a:lnTo>
                    <a:pt x="122" y="84"/>
                  </a:lnTo>
                  <a:lnTo>
                    <a:pt x="127" y="88"/>
                  </a:lnTo>
                  <a:lnTo>
                    <a:pt x="133" y="91"/>
                  </a:lnTo>
                  <a:lnTo>
                    <a:pt x="139" y="93"/>
                  </a:lnTo>
                  <a:lnTo>
                    <a:pt x="146" y="93"/>
                  </a:lnTo>
                  <a:lnTo>
                    <a:pt x="203" y="93"/>
                  </a:lnTo>
                  <a:lnTo>
                    <a:pt x="203" y="131"/>
                  </a:lnTo>
                  <a:lnTo>
                    <a:pt x="47" y="131"/>
                  </a:lnTo>
                  <a:lnTo>
                    <a:pt x="47" y="191"/>
                  </a:lnTo>
                  <a:lnTo>
                    <a:pt x="0" y="191"/>
                  </a:lnTo>
                  <a:lnTo>
                    <a:pt x="0" y="243"/>
                  </a:lnTo>
                  <a:lnTo>
                    <a:pt x="0" y="243"/>
                  </a:lnTo>
                  <a:lnTo>
                    <a:pt x="1" y="248"/>
                  </a:lnTo>
                  <a:lnTo>
                    <a:pt x="2" y="253"/>
                  </a:lnTo>
                  <a:lnTo>
                    <a:pt x="5" y="257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6" y="267"/>
                  </a:lnTo>
                  <a:lnTo>
                    <a:pt x="21" y="268"/>
                  </a:lnTo>
                  <a:lnTo>
                    <a:pt x="26" y="269"/>
                  </a:lnTo>
                  <a:lnTo>
                    <a:pt x="121" y="269"/>
                  </a:lnTo>
                  <a:lnTo>
                    <a:pt x="121" y="217"/>
                  </a:lnTo>
                  <a:lnTo>
                    <a:pt x="121" y="217"/>
                  </a:lnTo>
                  <a:lnTo>
                    <a:pt x="121" y="212"/>
                  </a:lnTo>
                  <a:lnTo>
                    <a:pt x="119" y="207"/>
                  </a:lnTo>
                  <a:lnTo>
                    <a:pt x="117" y="202"/>
                  </a:lnTo>
                  <a:lnTo>
                    <a:pt x="113" y="199"/>
                  </a:lnTo>
                  <a:lnTo>
                    <a:pt x="110" y="196"/>
                  </a:lnTo>
                  <a:lnTo>
                    <a:pt x="106" y="194"/>
                  </a:lnTo>
                  <a:lnTo>
                    <a:pt x="100" y="191"/>
                  </a:lnTo>
                  <a:lnTo>
                    <a:pt x="95" y="191"/>
                  </a:lnTo>
                  <a:lnTo>
                    <a:pt x="73" y="191"/>
                  </a:lnTo>
                  <a:lnTo>
                    <a:pt x="73" y="157"/>
                  </a:lnTo>
                  <a:lnTo>
                    <a:pt x="203" y="157"/>
                  </a:lnTo>
                  <a:lnTo>
                    <a:pt x="203" y="191"/>
                  </a:lnTo>
                  <a:lnTo>
                    <a:pt x="155" y="191"/>
                  </a:lnTo>
                  <a:lnTo>
                    <a:pt x="155" y="243"/>
                  </a:lnTo>
                  <a:lnTo>
                    <a:pt x="155" y="243"/>
                  </a:lnTo>
                  <a:lnTo>
                    <a:pt x="157" y="248"/>
                  </a:lnTo>
                  <a:lnTo>
                    <a:pt x="158" y="253"/>
                  </a:lnTo>
                  <a:lnTo>
                    <a:pt x="160" y="257"/>
                  </a:lnTo>
                  <a:lnTo>
                    <a:pt x="163" y="262"/>
                  </a:lnTo>
                  <a:lnTo>
                    <a:pt x="167" y="264"/>
                  </a:lnTo>
                  <a:lnTo>
                    <a:pt x="172" y="267"/>
                  </a:lnTo>
                  <a:lnTo>
                    <a:pt x="176" y="268"/>
                  </a:lnTo>
                  <a:lnTo>
                    <a:pt x="181" y="269"/>
                  </a:lnTo>
                  <a:lnTo>
                    <a:pt x="277" y="269"/>
                  </a:lnTo>
                  <a:lnTo>
                    <a:pt x="277" y="217"/>
                  </a:lnTo>
                  <a:lnTo>
                    <a:pt x="277" y="217"/>
                  </a:lnTo>
                  <a:lnTo>
                    <a:pt x="275" y="212"/>
                  </a:lnTo>
                  <a:lnTo>
                    <a:pt x="274" y="207"/>
                  </a:lnTo>
                  <a:lnTo>
                    <a:pt x="272" y="202"/>
                  </a:lnTo>
                  <a:lnTo>
                    <a:pt x="269" y="199"/>
                  </a:lnTo>
                  <a:lnTo>
                    <a:pt x="265" y="196"/>
                  </a:lnTo>
                  <a:lnTo>
                    <a:pt x="260" y="194"/>
                  </a:lnTo>
                  <a:lnTo>
                    <a:pt x="256" y="191"/>
                  </a:lnTo>
                  <a:lnTo>
                    <a:pt x="251" y="191"/>
                  </a:lnTo>
                  <a:lnTo>
                    <a:pt x="229" y="191"/>
                  </a:lnTo>
                  <a:lnTo>
                    <a:pt x="229" y="157"/>
                  </a:lnTo>
                  <a:lnTo>
                    <a:pt x="359" y="157"/>
                  </a:lnTo>
                  <a:lnTo>
                    <a:pt x="359" y="191"/>
                  </a:lnTo>
                  <a:lnTo>
                    <a:pt x="311" y="191"/>
                  </a:lnTo>
                  <a:lnTo>
                    <a:pt x="311" y="243"/>
                  </a:lnTo>
                  <a:lnTo>
                    <a:pt x="311" y="243"/>
                  </a:lnTo>
                  <a:lnTo>
                    <a:pt x="311" y="248"/>
                  </a:lnTo>
                  <a:lnTo>
                    <a:pt x="313" y="253"/>
                  </a:lnTo>
                  <a:lnTo>
                    <a:pt x="315" y="257"/>
                  </a:lnTo>
                  <a:lnTo>
                    <a:pt x="319" y="262"/>
                  </a:lnTo>
                  <a:lnTo>
                    <a:pt x="322" y="264"/>
                  </a:lnTo>
                  <a:lnTo>
                    <a:pt x="326" y="267"/>
                  </a:lnTo>
                  <a:lnTo>
                    <a:pt x="332" y="268"/>
                  </a:lnTo>
                  <a:lnTo>
                    <a:pt x="337" y="269"/>
                  </a:lnTo>
                  <a:lnTo>
                    <a:pt x="432" y="269"/>
                  </a:lnTo>
                  <a:lnTo>
                    <a:pt x="432" y="217"/>
                  </a:lnTo>
                  <a:lnTo>
                    <a:pt x="432" y="217"/>
                  </a:lnTo>
                  <a:lnTo>
                    <a:pt x="431" y="212"/>
                  </a:lnTo>
                  <a:lnTo>
                    <a:pt x="430" y="207"/>
                  </a:lnTo>
                  <a:lnTo>
                    <a:pt x="427" y="202"/>
                  </a:lnTo>
                  <a:lnTo>
                    <a:pt x="425" y="199"/>
                  </a:lnTo>
                  <a:lnTo>
                    <a:pt x="420" y="196"/>
                  </a:lnTo>
                  <a:lnTo>
                    <a:pt x="416" y="194"/>
                  </a:lnTo>
                  <a:lnTo>
                    <a:pt x="411" y="191"/>
                  </a:lnTo>
                  <a:lnTo>
                    <a:pt x="406" y="1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2475" y="2384"/>
              <a:ext cx="216" cy="135"/>
            </a:xfrm>
            <a:custGeom>
              <a:avLst/>
              <a:gdLst>
                <a:gd name="T0" fmla="*/ 385 w 432"/>
                <a:gd name="T1" fmla="*/ 191 h 269"/>
                <a:gd name="T2" fmla="*/ 229 w 432"/>
                <a:gd name="T3" fmla="*/ 131 h 269"/>
                <a:gd name="T4" fmla="*/ 320 w 432"/>
                <a:gd name="T5" fmla="*/ 93 h 269"/>
                <a:gd name="T6" fmla="*/ 320 w 432"/>
                <a:gd name="T7" fmla="*/ 34 h 269"/>
                <a:gd name="T8" fmla="*/ 317 w 432"/>
                <a:gd name="T9" fmla="*/ 21 h 269"/>
                <a:gd name="T10" fmla="*/ 310 w 432"/>
                <a:gd name="T11" fmla="*/ 10 h 269"/>
                <a:gd name="T12" fmla="*/ 299 w 432"/>
                <a:gd name="T13" fmla="*/ 3 h 269"/>
                <a:gd name="T14" fmla="*/ 286 w 432"/>
                <a:gd name="T15" fmla="*/ 0 h 269"/>
                <a:gd name="T16" fmla="*/ 112 w 432"/>
                <a:gd name="T17" fmla="*/ 61 h 269"/>
                <a:gd name="T18" fmla="*/ 113 w 432"/>
                <a:gd name="T19" fmla="*/ 67 h 269"/>
                <a:gd name="T20" fmla="*/ 118 w 432"/>
                <a:gd name="T21" fmla="*/ 79 h 269"/>
                <a:gd name="T22" fmla="*/ 127 w 432"/>
                <a:gd name="T23" fmla="*/ 88 h 269"/>
                <a:gd name="T24" fmla="*/ 139 w 432"/>
                <a:gd name="T25" fmla="*/ 93 h 269"/>
                <a:gd name="T26" fmla="*/ 203 w 432"/>
                <a:gd name="T27" fmla="*/ 93 h 269"/>
                <a:gd name="T28" fmla="*/ 47 w 432"/>
                <a:gd name="T29" fmla="*/ 131 h 269"/>
                <a:gd name="T30" fmla="*/ 0 w 432"/>
                <a:gd name="T31" fmla="*/ 191 h 269"/>
                <a:gd name="T32" fmla="*/ 0 w 432"/>
                <a:gd name="T33" fmla="*/ 243 h 269"/>
                <a:gd name="T34" fmla="*/ 2 w 432"/>
                <a:gd name="T35" fmla="*/ 253 h 269"/>
                <a:gd name="T36" fmla="*/ 7 w 432"/>
                <a:gd name="T37" fmla="*/ 262 h 269"/>
                <a:gd name="T38" fmla="*/ 16 w 432"/>
                <a:gd name="T39" fmla="*/ 267 h 269"/>
                <a:gd name="T40" fmla="*/ 26 w 432"/>
                <a:gd name="T41" fmla="*/ 269 h 269"/>
                <a:gd name="T42" fmla="*/ 121 w 432"/>
                <a:gd name="T43" fmla="*/ 217 h 269"/>
                <a:gd name="T44" fmla="*/ 121 w 432"/>
                <a:gd name="T45" fmla="*/ 212 h 269"/>
                <a:gd name="T46" fmla="*/ 117 w 432"/>
                <a:gd name="T47" fmla="*/ 202 h 269"/>
                <a:gd name="T48" fmla="*/ 110 w 432"/>
                <a:gd name="T49" fmla="*/ 196 h 269"/>
                <a:gd name="T50" fmla="*/ 100 w 432"/>
                <a:gd name="T51" fmla="*/ 191 h 269"/>
                <a:gd name="T52" fmla="*/ 73 w 432"/>
                <a:gd name="T53" fmla="*/ 191 h 269"/>
                <a:gd name="T54" fmla="*/ 203 w 432"/>
                <a:gd name="T55" fmla="*/ 157 h 269"/>
                <a:gd name="T56" fmla="*/ 155 w 432"/>
                <a:gd name="T57" fmla="*/ 191 h 269"/>
                <a:gd name="T58" fmla="*/ 155 w 432"/>
                <a:gd name="T59" fmla="*/ 243 h 269"/>
                <a:gd name="T60" fmla="*/ 158 w 432"/>
                <a:gd name="T61" fmla="*/ 253 h 269"/>
                <a:gd name="T62" fmla="*/ 163 w 432"/>
                <a:gd name="T63" fmla="*/ 262 h 269"/>
                <a:gd name="T64" fmla="*/ 172 w 432"/>
                <a:gd name="T65" fmla="*/ 267 h 269"/>
                <a:gd name="T66" fmla="*/ 181 w 432"/>
                <a:gd name="T67" fmla="*/ 269 h 269"/>
                <a:gd name="T68" fmla="*/ 277 w 432"/>
                <a:gd name="T69" fmla="*/ 217 h 269"/>
                <a:gd name="T70" fmla="*/ 275 w 432"/>
                <a:gd name="T71" fmla="*/ 212 h 269"/>
                <a:gd name="T72" fmla="*/ 272 w 432"/>
                <a:gd name="T73" fmla="*/ 202 h 269"/>
                <a:gd name="T74" fmla="*/ 265 w 432"/>
                <a:gd name="T75" fmla="*/ 196 h 269"/>
                <a:gd name="T76" fmla="*/ 256 w 432"/>
                <a:gd name="T77" fmla="*/ 191 h 269"/>
                <a:gd name="T78" fmla="*/ 229 w 432"/>
                <a:gd name="T79" fmla="*/ 191 h 269"/>
                <a:gd name="T80" fmla="*/ 359 w 432"/>
                <a:gd name="T81" fmla="*/ 157 h 269"/>
                <a:gd name="T82" fmla="*/ 311 w 432"/>
                <a:gd name="T83" fmla="*/ 191 h 269"/>
                <a:gd name="T84" fmla="*/ 311 w 432"/>
                <a:gd name="T85" fmla="*/ 243 h 269"/>
                <a:gd name="T86" fmla="*/ 313 w 432"/>
                <a:gd name="T87" fmla="*/ 253 h 269"/>
                <a:gd name="T88" fmla="*/ 319 w 432"/>
                <a:gd name="T89" fmla="*/ 262 h 269"/>
                <a:gd name="T90" fmla="*/ 326 w 432"/>
                <a:gd name="T91" fmla="*/ 267 h 269"/>
                <a:gd name="T92" fmla="*/ 337 w 432"/>
                <a:gd name="T93" fmla="*/ 269 h 269"/>
                <a:gd name="T94" fmla="*/ 432 w 432"/>
                <a:gd name="T95" fmla="*/ 217 h 269"/>
                <a:gd name="T96" fmla="*/ 431 w 432"/>
                <a:gd name="T97" fmla="*/ 212 h 269"/>
                <a:gd name="T98" fmla="*/ 427 w 432"/>
                <a:gd name="T99" fmla="*/ 202 h 269"/>
                <a:gd name="T100" fmla="*/ 420 w 432"/>
                <a:gd name="T101" fmla="*/ 196 h 269"/>
                <a:gd name="T102" fmla="*/ 411 w 432"/>
                <a:gd name="T103" fmla="*/ 191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2" h="269">
                  <a:moveTo>
                    <a:pt x="406" y="191"/>
                  </a:moveTo>
                  <a:lnTo>
                    <a:pt x="385" y="191"/>
                  </a:lnTo>
                  <a:lnTo>
                    <a:pt x="385" y="131"/>
                  </a:lnTo>
                  <a:lnTo>
                    <a:pt x="229" y="131"/>
                  </a:lnTo>
                  <a:lnTo>
                    <a:pt x="229" y="93"/>
                  </a:lnTo>
                  <a:lnTo>
                    <a:pt x="320" y="93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19" y="27"/>
                  </a:lnTo>
                  <a:lnTo>
                    <a:pt x="317" y="21"/>
                  </a:lnTo>
                  <a:lnTo>
                    <a:pt x="314" y="15"/>
                  </a:lnTo>
                  <a:lnTo>
                    <a:pt x="310" y="10"/>
                  </a:lnTo>
                  <a:lnTo>
                    <a:pt x="305" y="7"/>
                  </a:lnTo>
                  <a:lnTo>
                    <a:pt x="299" y="3"/>
                  </a:lnTo>
                  <a:lnTo>
                    <a:pt x="293" y="1"/>
                  </a:lnTo>
                  <a:lnTo>
                    <a:pt x="286" y="0"/>
                  </a:lnTo>
                  <a:lnTo>
                    <a:pt x="112" y="0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3" y="67"/>
                  </a:lnTo>
                  <a:lnTo>
                    <a:pt x="115" y="74"/>
                  </a:lnTo>
                  <a:lnTo>
                    <a:pt x="118" y="79"/>
                  </a:lnTo>
                  <a:lnTo>
                    <a:pt x="122" y="84"/>
                  </a:lnTo>
                  <a:lnTo>
                    <a:pt x="127" y="88"/>
                  </a:lnTo>
                  <a:lnTo>
                    <a:pt x="133" y="91"/>
                  </a:lnTo>
                  <a:lnTo>
                    <a:pt x="139" y="93"/>
                  </a:lnTo>
                  <a:lnTo>
                    <a:pt x="146" y="93"/>
                  </a:lnTo>
                  <a:lnTo>
                    <a:pt x="203" y="93"/>
                  </a:lnTo>
                  <a:lnTo>
                    <a:pt x="203" y="131"/>
                  </a:lnTo>
                  <a:lnTo>
                    <a:pt x="47" y="131"/>
                  </a:lnTo>
                  <a:lnTo>
                    <a:pt x="47" y="191"/>
                  </a:lnTo>
                  <a:lnTo>
                    <a:pt x="0" y="191"/>
                  </a:lnTo>
                  <a:lnTo>
                    <a:pt x="0" y="243"/>
                  </a:lnTo>
                  <a:lnTo>
                    <a:pt x="0" y="243"/>
                  </a:lnTo>
                  <a:lnTo>
                    <a:pt x="1" y="248"/>
                  </a:lnTo>
                  <a:lnTo>
                    <a:pt x="2" y="253"/>
                  </a:lnTo>
                  <a:lnTo>
                    <a:pt x="5" y="257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6" y="267"/>
                  </a:lnTo>
                  <a:lnTo>
                    <a:pt x="21" y="268"/>
                  </a:lnTo>
                  <a:lnTo>
                    <a:pt x="26" y="269"/>
                  </a:lnTo>
                  <a:lnTo>
                    <a:pt x="121" y="269"/>
                  </a:lnTo>
                  <a:lnTo>
                    <a:pt x="121" y="217"/>
                  </a:lnTo>
                  <a:lnTo>
                    <a:pt x="121" y="217"/>
                  </a:lnTo>
                  <a:lnTo>
                    <a:pt x="121" y="212"/>
                  </a:lnTo>
                  <a:lnTo>
                    <a:pt x="119" y="207"/>
                  </a:lnTo>
                  <a:lnTo>
                    <a:pt x="117" y="202"/>
                  </a:lnTo>
                  <a:lnTo>
                    <a:pt x="113" y="199"/>
                  </a:lnTo>
                  <a:lnTo>
                    <a:pt x="110" y="196"/>
                  </a:lnTo>
                  <a:lnTo>
                    <a:pt x="106" y="194"/>
                  </a:lnTo>
                  <a:lnTo>
                    <a:pt x="100" y="191"/>
                  </a:lnTo>
                  <a:lnTo>
                    <a:pt x="95" y="191"/>
                  </a:lnTo>
                  <a:lnTo>
                    <a:pt x="73" y="191"/>
                  </a:lnTo>
                  <a:lnTo>
                    <a:pt x="73" y="157"/>
                  </a:lnTo>
                  <a:lnTo>
                    <a:pt x="203" y="157"/>
                  </a:lnTo>
                  <a:lnTo>
                    <a:pt x="203" y="191"/>
                  </a:lnTo>
                  <a:lnTo>
                    <a:pt x="155" y="191"/>
                  </a:lnTo>
                  <a:lnTo>
                    <a:pt x="155" y="243"/>
                  </a:lnTo>
                  <a:lnTo>
                    <a:pt x="155" y="243"/>
                  </a:lnTo>
                  <a:lnTo>
                    <a:pt x="157" y="248"/>
                  </a:lnTo>
                  <a:lnTo>
                    <a:pt x="158" y="253"/>
                  </a:lnTo>
                  <a:lnTo>
                    <a:pt x="160" y="257"/>
                  </a:lnTo>
                  <a:lnTo>
                    <a:pt x="163" y="262"/>
                  </a:lnTo>
                  <a:lnTo>
                    <a:pt x="167" y="264"/>
                  </a:lnTo>
                  <a:lnTo>
                    <a:pt x="172" y="267"/>
                  </a:lnTo>
                  <a:lnTo>
                    <a:pt x="176" y="268"/>
                  </a:lnTo>
                  <a:lnTo>
                    <a:pt x="181" y="269"/>
                  </a:lnTo>
                  <a:lnTo>
                    <a:pt x="277" y="269"/>
                  </a:lnTo>
                  <a:lnTo>
                    <a:pt x="277" y="217"/>
                  </a:lnTo>
                  <a:lnTo>
                    <a:pt x="277" y="217"/>
                  </a:lnTo>
                  <a:lnTo>
                    <a:pt x="275" y="212"/>
                  </a:lnTo>
                  <a:lnTo>
                    <a:pt x="274" y="207"/>
                  </a:lnTo>
                  <a:lnTo>
                    <a:pt x="272" y="202"/>
                  </a:lnTo>
                  <a:lnTo>
                    <a:pt x="269" y="199"/>
                  </a:lnTo>
                  <a:lnTo>
                    <a:pt x="265" y="196"/>
                  </a:lnTo>
                  <a:lnTo>
                    <a:pt x="260" y="194"/>
                  </a:lnTo>
                  <a:lnTo>
                    <a:pt x="256" y="191"/>
                  </a:lnTo>
                  <a:lnTo>
                    <a:pt x="251" y="191"/>
                  </a:lnTo>
                  <a:lnTo>
                    <a:pt x="229" y="191"/>
                  </a:lnTo>
                  <a:lnTo>
                    <a:pt x="229" y="157"/>
                  </a:lnTo>
                  <a:lnTo>
                    <a:pt x="359" y="157"/>
                  </a:lnTo>
                  <a:lnTo>
                    <a:pt x="359" y="191"/>
                  </a:lnTo>
                  <a:lnTo>
                    <a:pt x="311" y="191"/>
                  </a:lnTo>
                  <a:lnTo>
                    <a:pt x="311" y="243"/>
                  </a:lnTo>
                  <a:lnTo>
                    <a:pt x="311" y="243"/>
                  </a:lnTo>
                  <a:lnTo>
                    <a:pt x="311" y="248"/>
                  </a:lnTo>
                  <a:lnTo>
                    <a:pt x="313" y="253"/>
                  </a:lnTo>
                  <a:lnTo>
                    <a:pt x="315" y="257"/>
                  </a:lnTo>
                  <a:lnTo>
                    <a:pt x="319" y="262"/>
                  </a:lnTo>
                  <a:lnTo>
                    <a:pt x="322" y="264"/>
                  </a:lnTo>
                  <a:lnTo>
                    <a:pt x="326" y="267"/>
                  </a:lnTo>
                  <a:lnTo>
                    <a:pt x="332" y="268"/>
                  </a:lnTo>
                  <a:lnTo>
                    <a:pt x="337" y="269"/>
                  </a:lnTo>
                  <a:lnTo>
                    <a:pt x="432" y="269"/>
                  </a:lnTo>
                  <a:lnTo>
                    <a:pt x="432" y="217"/>
                  </a:lnTo>
                  <a:lnTo>
                    <a:pt x="432" y="217"/>
                  </a:lnTo>
                  <a:lnTo>
                    <a:pt x="431" y="212"/>
                  </a:lnTo>
                  <a:lnTo>
                    <a:pt x="430" y="207"/>
                  </a:lnTo>
                  <a:lnTo>
                    <a:pt x="427" y="202"/>
                  </a:lnTo>
                  <a:lnTo>
                    <a:pt x="425" y="199"/>
                  </a:lnTo>
                  <a:lnTo>
                    <a:pt x="420" y="196"/>
                  </a:lnTo>
                  <a:lnTo>
                    <a:pt x="416" y="194"/>
                  </a:lnTo>
                  <a:lnTo>
                    <a:pt x="411" y="191"/>
                  </a:lnTo>
                  <a:lnTo>
                    <a:pt x="406" y="19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7"/>
            <p:cNvSpPr>
              <a:spLocks/>
            </p:cNvSpPr>
            <p:nvPr/>
          </p:nvSpPr>
          <p:spPr bwMode="auto">
            <a:xfrm>
              <a:off x="2555" y="2315"/>
              <a:ext cx="56" cy="61"/>
            </a:xfrm>
            <a:custGeom>
              <a:avLst/>
              <a:gdLst>
                <a:gd name="T0" fmla="*/ 56 w 112"/>
                <a:gd name="T1" fmla="*/ 121 h 121"/>
                <a:gd name="T2" fmla="*/ 56 w 112"/>
                <a:gd name="T3" fmla="*/ 121 h 121"/>
                <a:gd name="T4" fmla="*/ 70 w 112"/>
                <a:gd name="T5" fmla="*/ 120 h 121"/>
                <a:gd name="T6" fmla="*/ 82 w 112"/>
                <a:gd name="T7" fmla="*/ 117 h 121"/>
                <a:gd name="T8" fmla="*/ 92 w 112"/>
                <a:gd name="T9" fmla="*/ 112 h 121"/>
                <a:gd name="T10" fmla="*/ 96 w 112"/>
                <a:gd name="T11" fmla="*/ 110 h 121"/>
                <a:gd name="T12" fmla="*/ 99 w 112"/>
                <a:gd name="T13" fmla="*/ 107 h 121"/>
                <a:gd name="T14" fmla="*/ 102 w 112"/>
                <a:gd name="T15" fmla="*/ 102 h 121"/>
                <a:gd name="T16" fmla="*/ 106 w 112"/>
                <a:gd name="T17" fmla="*/ 98 h 121"/>
                <a:gd name="T18" fmla="*/ 110 w 112"/>
                <a:gd name="T19" fmla="*/ 87 h 121"/>
                <a:gd name="T20" fmla="*/ 112 w 112"/>
                <a:gd name="T21" fmla="*/ 75 h 121"/>
                <a:gd name="T22" fmla="*/ 112 w 112"/>
                <a:gd name="T23" fmla="*/ 60 h 121"/>
                <a:gd name="T24" fmla="*/ 112 w 112"/>
                <a:gd name="T25" fmla="*/ 60 h 121"/>
                <a:gd name="T26" fmla="*/ 112 w 112"/>
                <a:gd name="T27" fmla="*/ 45 h 121"/>
                <a:gd name="T28" fmla="*/ 110 w 112"/>
                <a:gd name="T29" fmla="*/ 33 h 121"/>
                <a:gd name="T30" fmla="*/ 106 w 112"/>
                <a:gd name="T31" fmla="*/ 22 h 121"/>
                <a:gd name="T32" fmla="*/ 102 w 112"/>
                <a:gd name="T33" fmla="*/ 18 h 121"/>
                <a:gd name="T34" fmla="*/ 99 w 112"/>
                <a:gd name="T35" fmla="*/ 14 h 121"/>
                <a:gd name="T36" fmla="*/ 96 w 112"/>
                <a:gd name="T37" fmla="*/ 11 h 121"/>
                <a:gd name="T38" fmla="*/ 92 w 112"/>
                <a:gd name="T39" fmla="*/ 8 h 121"/>
                <a:gd name="T40" fmla="*/ 82 w 112"/>
                <a:gd name="T41" fmla="*/ 4 h 121"/>
                <a:gd name="T42" fmla="*/ 70 w 112"/>
                <a:gd name="T43" fmla="*/ 1 h 121"/>
                <a:gd name="T44" fmla="*/ 56 w 112"/>
                <a:gd name="T45" fmla="*/ 0 h 121"/>
                <a:gd name="T46" fmla="*/ 56 w 112"/>
                <a:gd name="T47" fmla="*/ 0 h 121"/>
                <a:gd name="T48" fmla="*/ 42 w 112"/>
                <a:gd name="T49" fmla="*/ 1 h 121"/>
                <a:gd name="T50" fmla="*/ 30 w 112"/>
                <a:gd name="T51" fmla="*/ 4 h 121"/>
                <a:gd name="T52" fmla="*/ 20 w 112"/>
                <a:gd name="T53" fmla="*/ 8 h 121"/>
                <a:gd name="T54" fmla="*/ 16 w 112"/>
                <a:gd name="T55" fmla="*/ 11 h 121"/>
                <a:gd name="T56" fmla="*/ 13 w 112"/>
                <a:gd name="T57" fmla="*/ 14 h 121"/>
                <a:gd name="T58" fmla="*/ 10 w 112"/>
                <a:gd name="T59" fmla="*/ 18 h 121"/>
                <a:gd name="T60" fmla="*/ 6 w 112"/>
                <a:gd name="T61" fmla="*/ 22 h 121"/>
                <a:gd name="T62" fmla="*/ 3 w 112"/>
                <a:gd name="T63" fmla="*/ 33 h 121"/>
                <a:gd name="T64" fmla="*/ 0 w 112"/>
                <a:gd name="T65" fmla="*/ 45 h 121"/>
                <a:gd name="T66" fmla="*/ 0 w 112"/>
                <a:gd name="T67" fmla="*/ 60 h 121"/>
                <a:gd name="T68" fmla="*/ 0 w 112"/>
                <a:gd name="T69" fmla="*/ 60 h 121"/>
                <a:gd name="T70" fmla="*/ 0 w 112"/>
                <a:gd name="T71" fmla="*/ 75 h 121"/>
                <a:gd name="T72" fmla="*/ 3 w 112"/>
                <a:gd name="T73" fmla="*/ 87 h 121"/>
                <a:gd name="T74" fmla="*/ 6 w 112"/>
                <a:gd name="T75" fmla="*/ 98 h 121"/>
                <a:gd name="T76" fmla="*/ 10 w 112"/>
                <a:gd name="T77" fmla="*/ 102 h 121"/>
                <a:gd name="T78" fmla="*/ 13 w 112"/>
                <a:gd name="T79" fmla="*/ 107 h 121"/>
                <a:gd name="T80" fmla="*/ 16 w 112"/>
                <a:gd name="T81" fmla="*/ 110 h 121"/>
                <a:gd name="T82" fmla="*/ 20 w 112"/>
                <a:gd name="T83" fmla="*/ 112 h 121"/>
                <a:gd name="T84" fmla="*/ 30 w 112"/>
                <a:gd name="T85" fmla="*/ 117 h 121"/>
                <a:gd name="T86" fmla="*/ 42 w 112"/>
                <a:gd name="T87" fmla="*/ 120 h 121"/>
                <a:gd name="T88" fmla="*/ 56 w 112"/>
                <a:gd name="T8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2" h="121">
                  <a:moveTo>
                    <a:pt x="56" y="121"/>
                  </a:moveTo>
                  <a:lnTo>
                    <a:pt x="56" y="121"/>
                  </a:lnTo>
                  <a:lnTo>
                    <a:pt x="70" y="120"/>
                  </a:lnTo>
                  <a:lnTo>
                    <a:pt x="82" y="117"/>
                  </a:lnTo>
                  <a:lnTo>
                    <a:pt x="92" y="112"/>
                  </a:lnTo>
                  <a:lnTo>
                    <a:pt x="96" y="110"/>
                  </a:lnTo>
                  <a:lnTo>
                    <a:pt x="99" y="107"/>
                  </a:lnTo>
                  <a:lnTo>
                    <a:pt x="102" y="102"/>
                  </a:lnTo>
                  <a:lnTo>
                    <a:pt x="106" y="98"/>
                  </a:lnTo>
                  <a:lnTo>
                    <a:pt x="110" y="87"/>
                  </a:lnTo>
                  <a:lnTo>
                    <a:pt x="112" y="75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45"/>
                  </a:lnTo>
                  <a:lnTo>
                    <a:pt x="110" y="33"/>
                  </a:lnTo>
                  <a:lnTo>
                    <a:pt x="106" y="22"/>
                  </a:lnTo>
                  <a:lnTo>
                    <a:pt x="102" y="18"/>
                  </a:lnTo>
                  <a:lnTo>
                    <a:pt x="99" y="14"/>
                  </a:lnTo>
                  <a:lnTo>
                    <a:pt x="96" y="11"/>
                  </a:lnTo>
                  <a:lnTo>
                    <a:pt x="92" y="8"/>
                  </a:lnTo>
                  <a:lnTo>
                    <a:pt x="82" y="4"/>
                  </a:lnTo>
                  <a:lnTo>
                    <a:pt x="70" y="1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42" y="1"/>
                  </a:lnTo>
                  <a:lnTo>
                    <a:pt x="30" y="4"/>
                  </a:lnTo>
                  <a:lnTo>
                    <a:pt x="20" y="8"/>
                  </a:lnTo>
                  <a:lnTo>
                    <a:pt x="16" y="11"/>
                  </a:lnTo>
                  <a:lnTo>
                    <a:pt x="13" y="14"/>
                  </a:lnTo>
                  <a:lnTo>
                    <a:pt x="10" y="18"/>
                  </a:lnTo>
                  <a:lnTo>
                    <a:pt x="6" y="22"/>
                  </a:lnTo>
                  <a:lnTo>
                    <a:pt x="3" y="33"/>
                  </a:lnTo>
                  <a:lnTo>
                    <a:pt x="0" y="45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75"/>
                  </a:lnTo>
                  <a:lnTo>
                    <a:pt x="3" y="87"/>
                  </a:lnTo>
                  <a:lnTo>
                    <a:pt x="6" y="98"/>
                  </a:lnTo>
                  <a:lnTo>
                    <a:pt x="10" y="102"/>
                  </a:lnTo>
                  <a:lnTo>
                    <a:pt x="13" y="107"/>
                  </a:lnTo>
                  <a:lnTo>
                    <a:pt x="16" y="110"/>
                  </a:lnTo>
                  <a:lnTo>
                    <a:pt x="20" y="112"/>
                  </a:lnTo>
                  <a:lnTo>
                    <a:pt x="30" y="117"/>
                  </a:lnTo>
                  <a:lnTo>
                    <a:pt x="42" y="120"/>
                  </a:lnTo>
                  <a:lnTo>
                    <a:pt x="56" y="1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8"/>
            <p:cNvSpPr>
              <a:spLocks/>
            </p:cNvSpPr>
            <p:nvPr/>
          </p:nvSpPr>
          <p:spPr bwMode="auto">
            <a:xfrm>
              <a:off x="2555" y="2315"/>
              <a:ext cx="56" cy="61"/>
            </a:xfrm>
            <a:custGeom>
              <a:avLst/>
              <a:gdLst>
                <a:gd name="T0" fmla="*/ 56 w 112"/>
                <a:gd name="T1" fmla="*/ 121 h 121"/>
                <a:gd name="T2" fmla="*/ 56 w 112"/>
                <a:gd name="T3" fmla="*/ 121 h 121"/>
                <a:gd name="T4" fmla="*/ 70 w 112"/>
                <a:gd name="T5" fmla="*/ 120 h 121"/>
                <a:gd name="T6" fmla="*/ 82 w 112"/>
                <a:gd name="T7" fmla="*/ 117 h 121"/>
                <a:gd name="T8" fmla="*/ 92 w 112"/>
                <a:gd name="T9" fmla="*/ 112 h 121"/>
                <a:gd name="T10" fmla="*/ 96 w 112"/>
                <a:gd name="T11" fmla="*/ 110 h 121"/>
                <a:gd name="T12" fmla="*/ 99 w 112"/>
                <a:gd name="T13" fmla="*/ 107 h 121"/>
                <a:gd name="T14" fmla="*/ 102 w 112"/>
                <a:gd name="T15" fmla="*/ 102 h 121"/>
                <a:gd name="T16" fmla="*/ 106 w 112"/>
                <a:gd name="T17" fmla="*/ 98 h 121"/>
                <a:gd name="T18" fmla="*/ 110 w 112"/>
                <a:gd name="T19" fmla="*/ 87 h 121"/>
                <a:gd name="T20" fmla="*/ 112 w 112"/>
                <a:gd name="T21" fmla="*/ 75 h 121"/>
                <a:gd name="T22" fmla="*/ 112 w 112"/>
                <a:gd name="T23" fmla="*/ 60 h 121"/>
                <a:gd name="T24" fmla="*/ 112 w 112"/>
                <a:gd name="T25" fmla="*/ 60 h 121"/>
                <a:gd name="T26" fmla="*/ 112 w 112"/>
                <a:gd name="T27" fmla="*/ 45 h 121"/>
                <a:gd name="T28" fmla="*/ 110 w 112"/>
                <a:gd name="T29" fmla="*/ 33 h 121"/>
                <a:gd name="T30" fmla="*/ 106 w 112"/>
                <a:gd name="T31" fmla="*/ 22 h 121"/>
                <a:gd name="T32" fmla="*/ 102 w 112"/>
                <a:gd name="T33" fmla="*/ 18 h 121"/>
                <a:gd name="T34" fmla="*/ 99 w 112"/>
                <a:gd name="T35" fmla="*/ 14 h 121"/>
                <a:gd name="T36" fmla="*/ 96 w 112"/>
                <a:gd name="T37" fmla="*/ 11 h 121"/>
                <a:gd name="T38" fmla="*/ 92 w 112"/>
                <a:gd name="T39" fmla="*/ 8 h 121"/>
                <a:gd name="T40" fmla="*/ 82 w 112"/>
                <a:gd name="T41" fmla="*/ 4 h 121"/>
                <a:gd name="T42" fmla="*/ 70 w 112"/>
                <a:gd name="T43" fmla="*/ 1 h 121"/>
                <a:gd name="T44" fmla="*/ 56 w 112"/>
                <a:gd name="T45" fmla="*/ 0 h 121"/>
                <a:gd name="T46" fmla="*/ 56 w 112"/>
                <a:gd name="T47" fmla="*/ 0 h 121"/>
                <a:gd name="T48" fmla="*/ 42 w 112"/>
                <a:gd name="T49" fmla="*/ 1 h 121"/>
                <a:gd name="T50" fmla="*/ 30 w 112"/>
                <a:gd name="T51" fmla="*/ 4 h 121"/>
                <a:gd name="T52" fmla="*/ 20 w 112"/>
                <a:gd name="T53" fmla="*/ 8 h 121"/>
                <a:gd name="T54" fmla="*/ 16 w 112"/>
                <a:gd name="T55" fmla="*/ 11 h 121"/>
                <a:gd name="T56" fmla="*/ 13 w 112"/>
                <a:gd name="T57" fmla="*/ 14 h 121"/>
                <a:gd name="T58" fmla="*/ 10 w 112"/>
                <a:gd name="T59" fmla="*/ 18 h 121"/>
                <a:gd name="T60" fmla="*/ 6 w 112"/>
                <a:gd name="T61" fmla="*/ 22 h 121"/>
                <a:gd name="T62" fmla="*/ 3 w 112"/>
                <a:gd name="T63" fmla="*/ 33 h 121"/>
                <a:gd name="T64" fmla="*/ 0 w 112"/>
                <a:gd name="T65" fmla="*/ 45 h 121"/>
                <a:gd name="T66" fmla="*/ 0 w 112"/>
                <a:gd name="T67" fmla="*/ 60 h 121"/>
                <a:gd name="T68" fmla="*/ 0 w 112"/>
                <a:gd name="T69" fmla="*/ 60 h 121"/>
                <a:gd name="T70" fmla="*/ 0 w 112"/>
                <a:gd name="T71" fmla="*/ 75 h 121"/>
                <a:gd name="T72" fmla="*/ 3 w 112"/>
                <a:gd name="T73" fmla="*/ 87 h 121"/>
                <a:gd name="T74" fmla="*/ 6 w 112"/>
                <a:gd name="T75" fmla="*/ 98 h 121"/>
                <a:gd name="T76" fmla="*/ 10 w 112"/>
                <a:gd name="T77" fmla="*/ 102 h 121"/>
                <a:gd name="T78" fmla="*/ 13 w 112"/>
                <a:gd name="T79" fmla="*/ 107 h 121"/>
                <a:gd name="T80" fmla="*/ 16 w 112"/>
                <a:gd name="T81" fmla="*/ 110 h 121"/>
                <a:gd name="T82" fmla="*/ 20 w 112"/>
                <a:gd name="T83" fmla="*/ 112 h 121"/>
                <a:gd name="T84" fmla="*/ 30 w 112"/>
                <a:gd name="T85" fmla="*/ 117 h 121"/>
                <a:gd name="T86" fmla="*/ 42 w 112"/>
                <a:gd name="T87" fmla="*/ 120 h 121"/>
                <a:gd name="T88" fmla="*/ 56 w 112"/>
                <a:gd name="T8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2" h="121">
                  <a:moveTo>
                    <a:pt x="56" y="121"/>
                  </a:moveTo>
                  <a:lnTo>
                    <a:pt x="56" y="121"/>
                  </a:lnTo>
                  <a:lnTo>
                    <a:pt x="70" y="120"/>
                  </a:lnTo>
                  <a:lnTo>
                    <a:pt x="82" y="117"/>
                  </a:lnTo>
                  <a:lnTo>
                    <a:pt x="92" y="112"/>
                  </a:lnTo>
                  <a:lnTo>
                    <a:pt x="96" y="110"/>
                  </a:lnTo>
                  <a:lnTo>
                    <a:pt x="99" y="107"/>
                  </a:lnTo>
                  <a:lnTo>
                    <a:pt x="102" y="102"/>
                  </a:lnTo>
                  <a:lnTo>
                    <a:pt x="106" y="98"/>
                  </a:lnTo>
                  <a:lnTo>
                    <a:pt x="110" y="87"/>
                  </a:lnTo>
                  <a:lnTo>
                    <a:pt x="112" y="75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45"/>
                  </a:lnTo>
                  <a:lnTo>
                    <a:pt x="110" y="33"/>
                  </a:lnTo>
                  <a:lnTo>
                    <a:pt x="106" y="22"/>
                  </a:lnTo>
                  <a:lnTo>
                    <a:pt x="102" y="18"/>
                  </a:lnTo>
                  <a:lnTo>
                    <a:pt x="99" y="14"/>
                  </a:lnTo>
                  <a:lnTo>
                    <a:pt x="96" y="11"/>
                  </a:lnTo>
                  <a:lnTo>
                    <a:pt x="92" y="8"/>
                  </a:lnTo>
                  <a:lnTo>
                    <a:pt x="82" y="4"/>
                  </a:lnTo>
                  <a:lnTo>
                    <a:pt x="70" y="1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42" y="1"/>
                  </a:lnTo>
                  <a:lnTo>
                    <a:pt x="30" y="4"/>
                  </a:lnTo>
                  <a:lnTo>
                    <a:pt x="20" y="8"/>
                  </a:lnTo>
                  <a:lnTo>
                    <a:pt x="16" y="11"/>
                  </a:lnTo>
                  <a:lnTo>
                    <a:pt x="13" y="14"/>
                  </a:lnTo>
                  <a:lnTo>
                    <a:pt x="10" y="18"/>
                  </a:lnTo>
                  <a:lnTo>
                    <a:pt x="6" y="22"/>
                  </a:lnTo>
                  <a:lnTo>
                    <a:pt x="3" y="33"/>
                  </a:lnTo>
                  <a:lnTo>
                    <a:pt x="0" y="45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75"/>
                  </a:lnTo>
                  <a:lnTo>
                    <a:pt x="3" y="87"/>
                  </a:lnTo>
                  <a:lnTo>
                    <a:pt x="6" y="98"/>
                  </a:lnTo>
                  <a:lnTo>
                    <a:pt x="10" y="102"/>
                  </a:lnTo>
                  <a:lnTo>
                    <a:pt x="13" y="107"/>
                  </a:lnTo>
                  <a:lnTo>
                    <a:pt x="16" y="110"/>
                  </a:lnTo>
                  <a:lnTo>
                    <a:pt x="20" y="112"/>
                  </a:lnTo>
                  <a:lnTo>
                    <a:pt x="30" y="117"/>
                  </a:lnTo>
                  <a:lnTo>
                    <a:pt x="42" y="120"/>
                  </a:lnTo>
                  <a:lnTo>
                    <a:pt x="56" y="12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23" name="Group 4"/>
          <p:cNvGrpSpPr>
            <a:grpSpLocks noChangeAspect="1"/>
          </p:cNvGrpSpPr>
          <p:nvPr/>
        </p:nvGrpSpPr>
        <p:grpSpPr bwMode="auto">
          <a:xfrm>
            <a:off x="4259068" y="3223218"/>
            <a:ext cx="1036092" cy="1281634"/>
            <a:chOff x="4276" y="1183"/>
            <a:chExt cx="173" cy="214"/>
          </a:xfrm>
          <a:solidFill>
            <a:schemeClr val="bg1"/>
          </a:solidFill>
        </p:grpSpPr>
        <p:sp>
          <p:nvSpPr>
            <p:cNvPr id="24" name="Freeform 5"/>
            <p:cNvSpPr>
              <a:spLocks/>
            </p:cNvSpPr>
            <p:nvPr/>
          </p:nvSpPr>
          <p:spPr bwMode="auto">
            <a:xfrm>
              <a:off x="4276" y="1204"/>
              <a:ext cx="114" cy="193"/>
            </a:xfrm>
            <a:custGeom>
              <a:avLst/>
              <a:gdLst>
                <a:gd name="T0" fmla="*/ 154 w 227"/>
                <a:gd name="T1" fmla="*/ 263 h 385"/>
                <a:gd name="T2" fmla="*/ 149 w 227"/>
                <a:gd name="T3" fmla="*/ 260 h 385"/>
                <a:gd name="T4" fmla="*/ 143 w 227"/>
                <a:gd name="T5" fmla="*/ 260 h 385"/>
                <a:gd name="T6" fmla="*/ 138 w 227"/>
                <a:gd name="T7" fmla="*/ 264 h 385"/>
                <a:gd name="T8" fmla="*/ 134 w 227"/>
                <a:gd name="T9" fmla="*/ 271 h 385"/>
                <a:gd name="T10" fmla="*/ 134 w 227"/>
                <a:gd name="T11" fmla="*/ 299 h 385"/>
                <a:gd name="T12" fmla="*/ 76 w 227"/>
                <a:gd name="T13" fmla="*/ 299 h 385"/>
                <a:gd name="T14" fmla="*/ 64 w 227"/>
                <a:gd name="T15" fmla="*/ 296 h 385"/>
                <a:gd name="T16" fmla="*/ 54 w 227"/>
                <a:gd name="T17" fmla="*/ 289 h 385"/>
                <a:gd name="T18" fmla="*/ 48 w 227"/>
                <a:gd name="T19" fmla="*/ 280 h 385"/>
                <a:gd name="T20" fmla="*/ 45 w 227"/>
                <a:gd name="T21" fmla="*/ 268 h 385"/>
                <a:gd name="T22" fmla="*/ 45 w 227"/>
                <a:gd name="T23" fmla="*/ 76 h 385"/>
                <a:gd name="T24" fmla="*/ 48 w 227"/>
                <a:gd name="T25" fmla="*/ 64 h 385"/>
                <a:gd name="T26" fmla="*/ 54 w 227"/>
                <a:gd name="T27" fmla="*/ 55 h 385"/>
                <a:gd name="T28" fmla="*/ 64 w 227"/>
                <a:gd name="T29" fmla="*/ 48 h 385"/>
                <a:gd name="T30" fmla="*/ 76 w 227"/>
                <a:gd name="T31" fmla="*/ 45 h 385"/>
                <a:gd name="T32" fmla="*/ 95 w 227"/>
                <a:gd name="T33" fmla="*/ 0 h 385"/>
                <a:gd name="T34" fmla="*/ 76 w 227"/>
                <a:gd name="T35" fmla="*/ 0 h 385"/>
                <a:gd name="T36" fmla="*/ 61 w 227"/>
                <a:gd name="T37" fmla="*/ 1 h 385"/>
                <a:gd name="T38" fmla="*/ 46 w 227"/>
                <a:gd name="T39" fmla="*/ 6 h 385"/>
                <a:gd name="T40" fmla="*/ 33 w 227"/>
                <a:gd name="T41" fmla="*/ 12 h 385"/>
                <a:gd name="T42" fmla="*/ 22 w 227"/>
                <a:gd name="T43" fmla="*/ 22 h 385"/>
                <a:gd name="T44" fmla="*/ 12 w 227"/>
                <a:gd name="T45" fmla="*/ 33 h 385"/>
                <a:gd name="T46" fmla="*/ 6 w 227"/>
                <a:gd name="T47" fmla="*/ 46 h 385"/>
                <a:gd name="T48" fmla="*/ 1 w 227"/>
                <a:gd name="T49" fmla="*/ 61 h 385"/>
                <a:gd name="T50" fmla="*/ 0 w 227"/>
                <a:gd name="T51" fmla="*/ 76 h 385"/>
                <a:gd name="T52" fmla="*/ 0 w 227"/>
                <a:gd name="T53" fmla="*/ 268 h 385"/>
                <a:gd name="T54" fmla="*/ 1 w 227"/>
                <a:gd name="T55" fmla="*/ 283 h 385"/>
                <a:gd name="T56" fmla="*/ 5 w 227"/>
                <a:gd name="T57" fmla="*/ 297 h 385"/>
                <a:gd name="T58" fmla="*/ 12 w 227"/>
                <a:gd name="T59" fmla="*/ 310 h 385"/>
                <a:gd name="T60" fmla="*/ 21 w 227"/>
                <a:gd name="T61" fmla="*/ 321 h 385"/>
                <a:gd name="T62" fmla="*/ 32 w 227"/>
                <a:gd name="T63" fmla="*/ 330 h 385"/>
                <a:gd name="T64" fmla="*/ 45 w 227"/>
                <a:gd name="T65" fmla="*/ 338 h 385"/>
                <a:gd name="T66" fmla="*/ 59 w 227"/>
                <a:gd name="T67" fmla="*/ 342 h 385"/>
                <a:gd name="T68" fmla="*/ 74 w 227"/>
                <a:gd name="T69" fmla="*/ 344 h 385"/>
                <a:gd name="T70" fmla="*/ 134 w 227"/>
                <a:gd name="T71" fmla="*/ 344 h 385"/>
                <a:gd name="T72" fmla="*/ 134 w 227"/>
                <a:gd name="T73" fmla="*/ 370 h 385"/>
                <a:gd name="T74" fmla="*/ 136 w 227"/>
                <a:gd name="T75" fmla="*/ 378 h 385"/>
                <a:gd name="T76" fmla="*/ 140 w 227"/>
                <a:gd name="T77" fmla="*/ 383 h 385"/>
                <a:gd name="T78" fmla="*/ 146 w 227"/>
                <a:gd name="T79" fmla="*/ 385 h 385"/>
                <a:gd name="T80" fmla="*/ 154 w 227"/>
                <a:gd name="T81" fmla="*/ 383 h 385"/>
                <a:gd name="T82" fmla="*/ 219 w 227"/>
                <a:gd name="T83" fmla="*/ 333 h 385"/>
                <a:gd name="T84" fmla="*/ 225 w 227"/>
                <a:gd name="T85" fmla="*/ 328 h 385"/>
                <a:gd name="T86" fmla="*/ 227 w 227"/>
                <a:gd name="T87" fmla="*/ 322 h 385"/>
                <a:gd name="T88" fmla="*/ 225 w 227"/>
                <a:gd name="T89" fmla="*/ 316 h 385"/>
                <a:gd name="T90" fmla="*/ 219 w 227"/>
                <a:gd name="T91" fmla="*/ 31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7" h="385">
                  <a:moveTo>
                    <a:pt x="219" y="312"/>
                  </a:moveTo>
                  <a:lnTo>
                    <a:pt x="154" y="263"/>
                  </a:lnTo>
                  <a:lnTo>
                    <a:pt x="154" y="263"/>
                  </a:lnTo>
                  <a:lnTo>
                    <a:pt x="149" y="260"/>
                  </a:lnTo>
                  <a:lnTo>
                    <a:pt x="146" y="260"/>
                  </a:lnTo>
                  <a:lnTo>
                    <a:pt x="143" y="260"/>
                  </a:lnTo>
                  <a:lnTo>
                    <a:pt x="140" y="261"/>
                  </a:lnTo>
                  <a:lnTo>
                    <a:pt x="138" y="264"/>
                  </a:lnTo>
                  <a:lnTo>
                    <a:pt x="135" y="267"/>
                  </a:lnTo>
                  <a:lnTo>
                    <a:pt x="134" y="271"/>
                  </a:lnTo>
                  <a:lnTo>
                    <a:pt x="134" y="275"/>
                  </a:lnTo>
                  <a:lnTo>
                    <a:pt x="134" y="299"/>
                  </a:lnTo>
                  <a:lnTo>
                    <a:pt x="76" y="299"/>
                  </a:lnTo>
                  <a:lnTo>
                    <a:pt x="76" y="299"/>
                  </a:lnTo>
                  <a:lnTo>
                    <a:pt x="70" y="298"/>
                  </a:lnTo>
                  <a:lnTo>
                    <a:pt x="64" y="296"/>
                  </a:lnTo>
                  <a:lnTo>
                    <a:pt x="59" y="294"/>
                  </a:lnTo>
                  <a:lnTo>
                    <a:pt x="54" y="289"/>
                  </a:lnTo>
                  <a:lnTo>
                    <a:pt x="50" y="285"/>
                  </a:lnTo>
                  <a:lnTo>
                    <a:pt x="48" y="280"/>
                  </a:lnTo>
                  <a:lnTo>
                    <a:pt x="46" y="274"/>
                  </a:lnTo>
                  <a:lnTo>
                    <a:pt x="45" y="268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6" y="70"/>
                  </a:lnTo>
                  <a:lnTo>
                    <a:pt x="48" y="64"/>
                  </a:lnTo>
                  <a:lnTo>
                    <a:pt x="50" y="59"/>
                  </a:lnTo>
                  <a:lnTo>
                    <a:pt x="54" y="55"/>
                  </a:lnTo>
                  <a:lnTo>
                    <a:pt x="59" y="50"/>
                  </a:lnTo>
                  <a:lnTo>
                    <a:pt x="64" y="48"/>
                  </a:lnTo>
                  <a:lnTo>
                    <a:pt x="70" y="46"/>
                  </a:lnTo>
                  <a:lnTo>
                    <a:pt x="76" y="45"/>
                  </a:lnTo>
                  <a:lnTo>
                    <a:pt x="95" y="45"/>
                  </a:lnTo>
                  <a:lnTo>
                    <a:pt x="95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69" y="0"/>
                  </a:lnTo>
                  <a:lnTo>
                    <a:pt x="61" y="1"/>
                  </a:lnTo>
                  <a:lnTo>
                    <a:pt x="53" y="3"/>
                  </a:lnTo>
                  <a:lnTo>
                    <a:pt x="46" y="6"/>
                  </a:lnTo>
                  <a:lnTo>
                    <a:pt x="39" y="8"/>
                  </a:lnTo>
                  <a:lnTo>
                    <a:pt x="33" y="12"/>
                  </a:lnTo>
                  <a:lnTo>
                    <a:pt x="28" y="17"/>
                  </a:lnTo>
                  <a:lnTo>
                    <a:pt x="22" y="22"/>
                  </a:lnTo>
                  <a:lnTo>
                    <a:pt x="17" y="28"/>
                  </a:lnTo>
                  <a:lnTo>
                    <a:pt x="12" y="33"/>
                  </a:lnTo>
                  <a:lnTo>
                    <a:pt x="8" y="39"/>
                  </a:lnTo>
                  <a:lnTo>
                    <a:pt x="6" y="46"/>
                  </a:lnTo>
                  <a:lnTo>
                    <a:pt x="3" y="53"/>
                  </a:lnTo>
                  <a:lnTo>
                    <a:pt x="1" y="61"/>
                  </a:lnTo>
                  <a:lnTo>
                    <a:pt x="0" y="69"/>
                  </a:lnTo>
                  <a:lnTo>
                    <a:pt x="0" y="7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75"/>
                  </a:lnTo>
                  <a:lnTo>
                    <a:pt x="1" y="283"/>
                  </a:lnTo>
                  <a:lnTo>
                    <a:pt x="3" y="291"/>
                  </a:lnTo>
                  <a:lnTo>
                    <a:pt x="5" y="297"/>
                  </a:lnTo>
                  <a:lnTo>
                    <a:pt x="8" y="304"/>
                  </a:lnTo>
                  <a:lnTo>
                    <a:pt x="12" y="310"/>
                  </a:lnTo>
                  <a:lnTo>
                    <a:pt x="17" y="316"/>
                  </a:lnTo>
                  <a:lnTo>
                    <a:pt x="21" y="321"/>
                  </a:lnTo>
                  <a:lnTo>
                    <a:pt x="26" y="326"/>
                  </a:lnTo>
                  <a:lnTo>
                    <a:pt x="32" y="330"/>
                  </a:lnTo>
                  <a:lnTo>
                    <a:pt x="38" y="335"/>
                  </a:lnTo>
                  <a:lnTo>
                    <a:pt x="45" y="338"/>
                  </a:lnTo>
                  <a:lnTo>
                    <a:pt x="51" y="340"/>
                  </a:lnTo>
                  <a:lnTo>
                    <a:pt x="59" y="342"/>
                  </a:lnTo>
                  <a:lnTo>
                    <a:pt x="66" y="343"/>
                  </a:lnTo>
                  <a:lnTo>
                    <a:pt x="74" y="344"/>
                  </a:lnTo>
                  <a:lnTo>
                    <a:pt x="74" y="344"/>
                  </a:lnTo>
                  <a:lnTo>
                    <a:pt x="134" y="344"/>
                  </a:lnTo>
                  <a:lnTo>
                    <a:pt x="134" y="370"/>
                  </a:lnTo>
                  <a:lnTo>
                    <a:pt x="134" y="370"/>
                  </a:lnTo>
                  <a:lnTo>
                    <a:pt x="135" y="375"/>
                  </a:lnTo>
                  <a:lnTo>
                    <a:pt x="136" y="378"/>
                  </a:lnTo>
                  <a:lnTo>
                    <a:pt x="138" y="381"/>
                  </a:lnTo>
                  <a:lnTo>
                    <a:pt x="140" y="383"/>
                  </a:lnTo>
                  <a:lnTo>
                    <a:pt x="143" y="384"/>
                  </a:lnTo>
                  <a:lnTo>
                    <a:pt x="146" y="385"/>
                  </a:lnTo>
                  <a:lnTo>
                    <a:pt x="149" y="384"/>
                  </a:lnTo>
                  <a:lnTo>
                    <a:pt x="154" y="383"/>
                  </a:lnTo>
                  <a:lnTo>
                    <a:pt x="219" y="333"/>
                  </a:lnTo>
                  <a:lnTo>
                    <a:pt x="219" y="333"/>
                  </a:lnTo>
                  <a:lnTo>
                    <a:pt x="223" y="330"/>
                  </a:lnTo>
                  <a:lnTo>
                    <a:pt x="225" y="328"/>
                  </a:lnTo>
                  <a:lnTo>
                    <a:pt x="227" y="325"/>
                  </a:lnTo>
                  <a:lnTo>
                    <a:pt x="227" y="322"/>
                  </a:lnTo>
                  <a:lnTo>
                    <a:pt x="227" y="320"/>
                  </a:lnTo>
                  <a:lnTo>
                    <a:pt x="225" y="316"/>
                  </a:lnTo>
                  <a:lnTo>
                    <a:pt x="223" y="314"/>
                  </a:lnTo>
                  <a:lnTo>
                    <a:pt x="219" y="312"/>
                  </a:lnTo>
                  <a:lnTo>
                    <a:pt x="219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4333" y="1183"/>
              <a:ext cx="116" cy="193"/>
            </a:xfrm>
            <a:custGeom>
              <a:avLst/>
              <a:gdLst>
                <a:gd name="T0" fmla="*/ 154 w 232"/>
                <a:gd name="T1" fmla="*/ 41 h 385"/>
                <a:gd name="T2" fmla="*/ 92 w 232"/>
                <a:gd name="T3" fmla="*/ 41 h 385"/>
                <a:gd name="T4" fmla="*/ 92 w 232"/>
                <a:gd name="T5" fmla="*/ 15 h 385"/>
                <a:gd name="T6" fmla="*/ 91 w 232"/>
                <a:gd name="T7" fmla="*/ 7 h 385"/>
                <a:gd name="T8" fmla="*/ 87 w 232"/>
                <a:gd name="T9" fmla="*/ 2 h 385"/>
                <a:gd name="T10" fmla="*/ 81 w 232"/>
                <a:gd name="T11" fmla="*/ 0 h 385"/>
                <a:gd name="T12" fmla="*/ 73 w 232"/>
                <a:gd name="T13" fmla="*/ 2 h 385"/>
                <a:gd name="T14" fmla="*/ 7 w 232"/>
                <a:gd name="T15" fmla="*/ 52 h 385"/>
                <a:gd name="T16" fmla="*/ 2 w 232"/>
                <a:gd name="T17" fmla="*/ 57 h 385"/>
                <a:gd name="T18" fmla="*/ 0 w 232"/>
                <a:gd name="T19" fmla="*/ 63 h 385"/>
                <a:gd name="T20" fmla="*/ 2 w 232"/>
                <a:gd name="T21" fmla="*/ 69 h 385"/>
                <a:gd name="T22" fmla="*/ 7 w 232"/>
                <a:gd name="T23" fmla="*/ 73 h 385"/>
                <a:gd name="T24" fmla="*/ 74 w 232"/>
                <a:gd name="T25" fmla="*/ 122 h 385"/>
                <a:gd name="T26" fmla="*/ 81 w 232"/>
                <a:gd name="T27" fmla="*/ 125 h 385"/>
                <a:gd name="T28" fmla="*/ 87 w 232"/>
                <a:gd name="T29" fmla="*/ 124 h 385"/>
                <a:gd name="T30" fmla="*/ 91 w 232"/>
                <a:gd name="T31" fmla="*/ 118 h 385"/>
                <a:gd name="T32" fmla="*/ 92 w 232"/>
                <a:gd name="T33" fmla="*/ 110 h 385"/>
                <a:gd name="T34" fmla="*/ 155 w 232"/>
                <a:gd name="T35" fmla="*/ 86 h 385"/>
                <a:gd name="T36" fmla="*/ 161 w 232"/>
                <a:gd name="T37" fmla="*/ 87 h 385"/>
                <a:gd name="T38" fmla="*/ 172 w 232"/>
                <a:gd name="T39" fmla="*/ 91 h 385"/>
                <a:gd name="T40" fmla="*/ 181 w 232"/>
                <a:gd name="T41" fmla="*/ 100 h 385"/>
                <a:gd name="T42" fmla="*/ 185 w 232"/>
                <a:gd name="T43" fmla="*/ 111 h 385"/>
                <a:gd name="T44" fmla="*/ 186 w 232"/>
                <a:gd name="T45" fmla="*/ 309 h 385"/>
                <a:gd name="T46" fmla="*/ 185 w 232"/>
                <a:gd name="T47" fmla="*/ 315 h 385"/>
                <a:gd name="T48" fmla="*/ 181 w 232"/>
                <a:gd name="T49" fmla="*/ 326 h 385"/>
                <a:gd name="T50" fmla="*/ 172 w 232"/>
                <a:gd name="T51" fmla="*/ 335 h 385"/>
                <a:gd name="T52" fmla="*/ 161 w 232"/>
                <a:gd name="T53" fmla="*/ 339 h 385"/>
                <a:gd name="T54" fmla="*/ 132 w 232"/>
                <a:gd name="T55" fmla="*/ 340 h 385"/>
                <a:gd name="T56" fmla="*/ 155 w 232"/>
                <a:gd name="T57" fmla="*/ 385 h 385"/>
                <a:gd name="T58" fmla="*/ 163 w 232"/>
                <a:gd name="T59" fmla="*/ 385 h 385"/>
                <a:gd name="T60" fmla="*/ 178 w 232"/>
                <a:gd name="T61" fmla="*/ 382 h 385"/>
                <a:gd name="T62" fmla="*/ 192 w 232"/>
                <a:gd name="T63" fmla="*/ 377 h 385"/>
                <a:gd name="T64" fmla="*/ 203 w 232"/>
                <a:gd name="T65" fmla="*/ 368 h 385"/>
                <a:gd name="T66" fmla="*/ 214 w 232"/>
                <a:gd name="T67" fmla="*/ 357 h 385"/>
                <a:gd name="T68" fmla="*/ 223 w 232"/>
                <a:gd name="T69" fmla="*/ 346 h 385"/>
                <a:gd name="T70" fmla="*/ 228 w 232"/>
                <a:gd name="T71" fmla="*/ 332 h 385"/>
                <a:gd name="T72" fmla="*/ 232 w 232"/>
                <a:gd name="T73" fmla="*/ 316 h 385"/>
                <a:gd name="T74" fmla="*/ 232 w 232"/>
                <a:gd name="T75" fmla="*/ 117 h 385"/>
                <a:gd name="T76" fmla="*/ 232 w 232"/>
                <a:gd name="T77" fmla="*/ 110 h 385"/>
                <a:gd name="T78" fmla="*/ 228 w 232"/>
                <a:gd name="T79" fmla="*/ 94 h 385"/>
                <a:gd name="T80" fmla="*/ 223 w 232"/>
                <a:gd name="T81" fmla="*/ 80 h 385"/>
                <a:gd name="T82" fmla="*/ 214 w 232"/>
                <a:gd name="T83" fmla="*/ 69 h 385"/>
                <a:gd name="T84" fmla="*/ 203 w 232"/>
                <a:gd name="T85" fmla="*/ 58 h 385"/>
                <a:gd name="T86" fmla="*/ 192 w 232"/>
                <a:gd name="T87" fmla="*/ 49 h 385"/>
                <a:gd name="T88" fmla="*/ 178 w 232"/>
                <a:gd name="T89" fmla="*/ 44 h 385"/>
                <a:gd name="T90" fmla="*/ 163 w 232"/>
                <a:gd name="T91" fmla="*/ 41 h 385"/>
                <a:gd name="T92" fmla="*/ 155 w 232"/>
                <a:gd name="T93" fmla="*/ 41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2" h="385">
                  <a:moveTo>
                    <a:pt x="155" y="41"/>
                  </a:moveTo>
                  <a:lnTo>
                    <a:pt x="154" y="41"/>
                  </a:lnTo>
                  <a:lnTo>
                    <a:pt x="154" y="41"/>
                  </a:lnTo>
                  <a:lnTo>
                    <a:pt x="92" y="41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0"/>
                  </a:lnTo>
                  <a:lnTo>
                    <a:pt x="91" y="7"/>
                  </a:lnTo>
                  <a:lnTo>
                    <a:pt x="89" y="4"/>
                  </a:lnTo>
                  <a:lnTo>
                    <a:pt x="87" y="2"/>
                  </a:lnTo>
                  <a:lnTo>
                    <a:pt x="84" y="1"/>
                  </a:lnTo>
                  <a:lnTo>
                    <a:pt x="81" y="0"/>
                  </a:lnTo>
                  <a:lnTo>
                    <a:pt x="77" y="1"/>
                  </a:lnTo>
                  <a:lnTo>
                    <a:pt x="73" y="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4" y="55"/>
                  </a:lnTo>
                  <a:lnTo>
                    <a:pt x="2" y="57"/>
                  </a:lnTo>
                  <a:lnTo>
                    <a:pt x="0" y="60"/>
                  </a:lnTo>
                  <a:lnTo>
                    <a:pt x="0" y="63"/>
                  </a:lnTo>
                  <a:lnTo>
                    <a:pt x="0" y="65"/>
                  </a:lnTo>
                  <a:lnTo>
                    <a:pt x="2" y="69"/>
                  </a:lnTo>
                  <a:lnTo>
                    <a:pt x="4" y="71"/>
                  </a:lnTo>
                  <a:lnTo>
                    <a:pt x="7" y="73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7" y="125"/>
                  </a:lnTo>
                  <a:lnTo>
                    <a:pt x="81" y="125"/>
                  </a:lnTo>
                  <a:lnTo>
                    <a:pt x="84" y="125"/>
                  </a:lnTo>
                  <a:lnTo>
                    <a:pt x="87" y="124"/>
                  </a:lnTo>
                  <a:lnTo>
                    <a:pt x="89" y="121"/>
                  </a:lnTo>
                  <a:lnTo>
                    <a:pt x="91" y="118"/>
                  </a:lnTo>
                  <a:lnTo>
                    <a:pt x="92" y="114"/>
                  </a:lnTo>
                  <a:lnTo>
                    <a:pt x="92" y="110"/>
                  </a:lnTo>
                  <a:lnTo>
                    <a:pt x="92" y="86"/>
                  </a:lnTo>
                  <a:lnTo>
                    <a:pt x="155" y="86"/>
                  </a:lnTo>
                  <a:lnTo>
                    <a:pt x="155" y="86"/>
                  </a:lnTo>
                  <a:lnTo>
                    <a:pt x="161" y="87"/>
                  </a:lnTo>
                  <a:lnTo>
                    <a:pt x="167" y="89"/>
                  </a:lnTo>
                  <a:lnTo>
                    <a:pt x="172" y="91"/>
                  </a:lnTo>
                  <a:lnTo>
                    <a:pt x="177" y="96"/>
                  </a:lnTo>
                  <a:lnTo>
                    <a:pt x="181" y="100"/>
                  </a:lnTo>
                  <a:lnTo>
                    <a:pt x="183" y="105"/>
                  </a:lnTo>
                  <a:lnTo>
                    <a:pt x="185" y="111"/>
                  </a:lnTo>
                  <a:lnTo>
                    <a:pt x="186" y="117"/>
                  </a:lnTo>
                  <a:lnTo>
                    <a:pt x="186" y="309"/>
                  </a:lnTo>
                  <a:lnTo>
                    <a:pt x="186" y="309"/>
                  </a:lnTo>
                  <a:lnTo>
                    <a:pt x="185" y="315"/>
                  </a:lnTo>
                  <a:lnTo>
                    <a:pt x="183" y="321"/>
                  </a:lnTo>
                  <a:lnTo>
                    <a:pt x="181" y="326"/>
                  </a:lnTo>
                  <a:lnTo>
                    <a:pt x="177" y="330"/>
                  </a:lnTo>
                  <a:lnTo>
                    <a:pt x="172" y="335"/>
                  </a:lnTo>
                  <a:lnTo>
                    <a:pt x="167" y="337"/>
                  </a:lnTo>
                  <a:lnTo>
                    <a:pt x="161" y="339"/>
                  </a:lnTo>
                  <a:lnTo>
                    <a:pt x="155" y="340"/>
                  </a:lnTo>
                  <a:lnTo>
                    <a:pt x="132" y="340"/>
                  </a:lnTo>
                  <a:lnTo>
                    <a:pt x="132" y="385"/>
                  </a:lnTo>
                  <a:lnTo>
                    <a:pt x="155" y="385"/>
                  </a:lnTo>
                  <a:lnTo>
                    <a:pt x="155" y="385"/>
                  </a:lnTo>
                  <a:lnTo>
                    <a:pt x="163" y="385"/>
                  </a:lnTo>
                  <a:lnTo>
                    <a:pt x="170" y="384"/>
                  </a:lnTo>
                  <a:lnTo>
                    <a:pt x="178" y="382"/>
                  </a:lnTo>
                  <a:lnTo>
                    <a:pt x="185" y="379"/>
                  </a:lnTo>
                  <a:lnTo>
                    <a:pt x="192" y="377"/>
                  </a:lnTo>
                  <a:lnTo>
                    <a:pt x="198" y="373"/>
                  </a:lnTo>
                  <a:lnTo>
                    <a:pt x="203" y="368"/>
                  </a:lnTo>
                  <a:lnTo>
                    <a:pt x="209" y="363"/>
                  </a:lnTo>
                  <a:lnTo>
                    <a:pt x="214" y="357"/>
                  </a:lnTo>
                  <a:lnTo>
                    <a:pt x="219" y="352"/>
                  </a:lnTo>
                  <a:lnTo>
                    <a:pt x="223" y="346"/>
                  </a:lnTo>
                  <a:lnTo>
                    <a:pt x="225" y="339"/>
                  </a:lnTo>
                  <a:lnTo>
                    <a:pt x="228" y="332"/>
                  </a:lnTo>
                  <a:lnTo>
                    <a:pt x="230" y="324"/>
                  </a:lnTo>
                  <a:lnTo>
                    <a:pt x="232" y="316"/>
                  </a:lnTo>
                  <a:lnTo>
                    <a:pt x="232" y="309"/>
                  </a:lnTo>
                  <a:lnTo>
                    <a:pt x="232" y="117"/>
                  </a:lnTo>
                  <a:lnTo>
                    <a:pt x="232" y="117"/>
                  </a:lnTo>
                  <a:lnTo>
                    <a:pt x="232" y="110"/>
                  </a:lnTo>
                  <a:lnTo>
                    <a:pt x="230" y="102"/>
                  </a:lnTo>
                  <a:lnTo>
                    <a:pt x="228" y="94"/>
                  </a:lnTo>
                  <a:lnTo>
                    <a:pt x="225" y="87"/>
                  </a:lnTo>
                  <a:lnTo>
                    <a:pt x="223" y="80"/>
                  </a:lnTo>
                  <a:lnTo>
                    <a:pt x="219" y="74"/>
                  </a:lnTo>
                  <a:lnTo>
                    <a:pt x="214" y="69"/>
                  </a:lnTo>
                  <a:lnTo>
                    <a:pt x="209" y="63"/>
                  </a:lnTo>
                  <a:lnTo>
                    <a:pt x="203" y="58"/>
                  </a:lnTo>
                  <a:lnTo>
                    <a:pt x="198" y="53"/>
                  </a:lnTo>
                  <a:lnTo>
                    <a:pt x="192" y="49"/>
                  </a:lnTo>
                  <a:lnTo>
                    <a:pt x="185" y="47"/>
                  </a:lnTo>
                  <a:lnTo>
                    <a:pt x="178" y="44"/>
                  </a:lnTo>
                  <a:lnTo>
                    <a:pt x="170" y="42"/>
                  </a:lnTo>
                  <a:lnTo>
                    <a:pt x="163" y="41"/>
                  </a:lnTo>
                  <a:lnTo>
                    <a:pt x="155" y="41"/>
                  </a:lnTo>
                  <a:lnTo>
                    <a:pt x="15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1291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0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earn more about HP Labs and The Machine</a:t>
            </a:r>
            <a:endParaRPr lang="en-US" dirty="0" smtClean="0"/>
          </a:p>
        </p:txBody>
      </p:sp>
      <p:sp>
        <p:nvSpPr>
          <p:cNvPr id="26" name="Pentagon 25"/>
          <p:cNvSpPr/>
          <p:nvPr/>
        </p:nvSpPr>
        <p:spPr>
          <a:xfrm>
            <a:off x="609441" y="1446543"/>
            <a:ext cx="10968516" cy="387920"/>
          </a:xfrm>
          <a:prstGeom prst="homePlate">
            <a:avLst>
              <a:gd name="adj" fmla="val 3304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609296">
              <a:spcAft>
                <a:spcPts val="533"/>
              </a:spcAft>
              <a:defRPr/>
            </a:pPr>
            <a:r>
              <a:rPr lang="en-GB" sz="1866" b="1" dirty="0">
                <a:solidFill>
                  <a:prstClr val="white"/>
                </a:solidFill>
                <a:cs typeface="Arial"/>
              </a:rPr>
              <a:t>Attend these sessions</a:t>
            </a:r>
          </a:p>
        </p:txBody>
      </p:sp>
      <p:sp>
        <p:nvSpPr>
          <p:cNvPr id="27" name="TextBox 4"/>
          <p:cNvSpPr txBox="1">
            <a:spLocks noChangeArrowheads="1"/>
          </p:cNvSpPr>
          <p:nvPr/>
        </p:nvSpPr>
        <p:spPr bwMode="auto">
          <a:xfrm>
            <a:off x="710746" y="1910644"/>
            <a:ext cx="3275984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defTabSz="609296" fontAlgn="b">
              <a:spcBef>
                <a:spcPts val="600"/>
              </a:spcBef>
              <a:spcAft>
                <a:spcPts val="100"/>
              </a:spcAft>
              <a:tabLst>
                <a:tab pos="172995" algn="l"/>
              </a:tabLst>
            </a:pPr>
            <a:r>
              <a:rPr lang="en-US" sz="1600" b="1" dirty="0" smtClean="0">
                <a:solidFill>
                  <a:prstClr val="black"/>
                </a:solidFill>
                <a:latin typeface="HP Simplified"/>
                <a:cs typeface="Arial"/>
              </a:rPr>
              <a:t>Wednesday</a:t>
            </a:r>
            <a:r>
              <a:rPr lang="en-US" sz="1600" b="1" dirty="0">
                <a:solidFill>
                  <a:prstClr val="black"/>
                </a:solidFill>
                <a:latin typeface="HP Simplified"/>
                <a:cs typeface="Arial"/>
              </a:rPr>
              <a:t>, 12:30 – 1:00</a:t>
            </a:r>
          </a:p>
          <a:p>
            <a:pPr defTabSz="609296" fontAlgn="b">
              <a:spcAft>
                <a:spcPts val="200"/>
              </a:spcAft>
              <a:buFont typeface="Arial" pitchFamily="34" charset="0"/>
              <a:buChar char="•"/>
            </a:pPr>
            <a:r>
              <a:rPr lang="en-US" sz="1600" b="1" dirty="0">
                <a:solidFill>
                  <a:srgbClr val="0096D6"/>
                </a:solidFill>
                <a:latin typeface="HP Simplified"/>
                <a:cs typeface="Arial"/>
              </a:rPr>
              <a:t>DF1332 </a:t>
            </a:r>
            <a:r>
              <a:rPr lang="en-US" sz="1600" dirty="0">
                <a:solidFill>
                  <a:prstClr val="black"/>
                </a:solidFill>
                <a:latin typeface="HP Simplified"/>
                <a:cs typeface="Arial"/>
              </a:rPr>
              <a:t>– </a:t>
            </a:r>
            <a:r>
              <a:rPr lang="en-US" sz="1600" dirty="0">
                <a:solidFill>
                  <a:prstClr val="black"/>
                </a:solidFill>
                <a:latin typeface="HP Simplified"/>
              </a:rPr>
              <a:t>Bringing Consistency and agility to data center management – A conversation with HP Labs</a:t>
            </a:r>
          </a:p>
          <a:p>
            <a:pPr marL="0" indent="0" defTabSz="609296" fontAlgn="b">
              <a:spcBef>
                <a:spcPts val="600"/>
              </a:spcBef>
              <a:spcAft>
                <a:spcPts val="100"/>
              </a:spcAft>
            </a:pPr>
            <a:r>
              <a:rPr lang="en-US" sz="1600" b="1" dirty="0">
                <a:solidFill>
                  <a:prstClr val="black"/>
                </a:solidFill>
                <a:latin typeface="HP Simplified"/>
                <a:cs typeface="Arial"/>
              </a:rPr>
              <a:t>Wednesday, 4:30 – 5:00</a:t>
            </a:r>
          </a:p>
          <a:p>
            <a:pPr defTabSz="609296" fontAlgn="b">
              <a:spcAft>
                <a:spcPts val="200"/>
              </a:spcAft>
              <a:buFont typeface="Arial" pitchFamily="34" charset="0"/>
              <a:buChar char="•"/>
            </a:pPr>
            <a:r>
              <a:rPr lang="en-US" sz="1400" b="1" dirty="0">
                <a:solidFill>
                  <a:srgbClr val="0096D6"/>
                </a:solidFill>
                <a:latin typeface="HP Simplified"/>
                <a:cs typeface="Arial"/>
              </a:rPr>
              <a:t>DT1328 </a:t>
            </a:r>
            <a:r>
              <a:rPr lang="en-US" sz="1400" dirty="0">
                <a:solidFill>
                  <a:prstClr val="black"/>
                </a:solidFill>
                <a:latin typeface="HP Simplified"/>
                <a:cs typeface="Arial"/>
              </a:rPr>
              <a:t>– </a:t>
            </a:r>
            <a:r>
              <a:rPr lang="en-US" sz="1400" dirty="0">
                <a:solidFill>
                  <a:prstClr val="black"/>
                </a:solidFill>
                <a:latin typeface="HP Simplified"/>
              </a:rPr>
              <a:t>Management at Scale for the New Style of IT – Introducing Loom from HP Labs</a:t>
            </a:r>
            <a:endParaRPr lang="en-US" sz="1400" dirty="0">
              <a:solidFill>
                <a:prstClr val="black"/>
              </a:solidFill>
              <a:latin typeface="HP Simplified"/>
              <a:cs typeface="Arial"/>
            </a:endParaRPr>
          </a:p>
          <a:p>
            <a:pPr defTabSz="609296" fontAlgn="b">
              <a:spcAft>
                <a:spcPts val="200"/>
              </a:spcAft>
              <a:buFont typeface="Arial" pitchFamily="34" charset="0"/>
              <a:buChar char="•"/>
            </a:pPr>
            <a:endParaRPr lang="en-US" sz="1400" dirty="0">
              <a:solidFill>
                <a:prstClr val="black"/>
              </a:solidFill>
              <a:latin typeface="HP Simplified"/>
            </a:endParaRPr>
          </a:p>
        </p:txBody>
      </p:sp>
      <p:grpSp>
        <p:nvGrpSpPr>
          <p:cNvPr id="15" name="Group 30"/>
          <p:cNvGrpSpPr/>
          <p:nvPr/>
        </p:nvGrpSpPr>
        <p:grpSpPr>
          <a:xfrm>
            <a:off x="7997703" y="2835435"/>
            <a:ext cx="3505318" cy="928295"/>
            <a:chOff x="5761956" y="1694273"/>
            <a:chExt cx="2560320" cy="696583"/>
          </a:xfrm>
        </p:grpSpPr>
        <p:sp>
          <p:nvSpPr>
            <p:cNvPr id="16" name="Pentagon 15"/>
            <p:cNvSpPr/>
            <p:nvPr/>
          </p:nvSpPr>
          <p:spPr>
            <a:xfrm>
              <a:off x="5761956" y="1694273"/>
              <a:ext cx="2560320" cy="290103"/>
            </a:xfrm>
            <a:prstGeom prst="homePlate">
              <a:avLst>
                <a:gd name="adj" fmla="val 33048"/>
              </a:avLst>
            </a:prstGeom>
            <a:solidFill>
              <a:srgbClr val="87898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defTabSz="609296">
                <a:spcAft>
                  <a:spcPts val="533"/>
                </a:spcAft>
                <a:defRPr/>
              </a:pPr>
              <a:r>
                <a:rPr lang="en-GB" sz="1866" b="1" dirty="0">
                  <a:solidFill>
                    <a:prstClr val="white"/>
                  </a:solidFill>
                  <a:cs typeface="Arial"/>
                </a:rPr>
                <a:t>After the event</a:t>
              </a:r>
            </a:p>
          </p:txBody>
        </p:sp>
        <p:sp>
          <p:nvSpPr>
            <p:cNvPr id="17" name="TextBox 43"/>
            <p:cNvSpPr txBox="1">
              <a:spLocks noChangeArrowheads="1"/>
            </p:cNvSpPr>
            <p:nvPr/>
          </p:nvSpPr>
          <p:spPr bwMode="auto">
            <a:xfrm>
              <a:off x="5824454" y="2021332"/>
              <a:ext cx="2386942" cy="3695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173038" indent="-173038">
                <a:spcBef>
                  <a:spcPts val="1200"/>
                </a:spcBef>
                <a:spcAft>
                  <a:spcPts val="400"/>
                </a:spcAft>
                <a:buFont typeface="Arial" pitchFamily="34" charset="0"/>
                <a:buChar char="•"/>
                <a:defRPr sz="1600">
                  <a:latin typeface="HP Simplified"/>
                  <a:cs typeface="HP Simplified"/>
                </a:defRPr>
              </a:lvl1pPr>
              <a:lvl2pPr marL="742950" indent="-285750" eaLnBrk="0" hangingPunct="0">
                <a:defRPr>
                  <a:latin typeface="Arial" pitchFamily="34" charset="0"/>
                </a:defRPr>
              </a:lvl2pPr>
              <a:lvl3pPr marL="1143000" indent="-228600" eaLnBrk="0" hangingPunct="0">
                <a:defRPr>
                  <a:latin typeface="Arial" pitchFamily="34" charset="0"/>
                </a:defRPr>
              </a:lvl3pPr>
              <a:lvl4pPr marL="1600200" indent="-228600" eaLnBrk="0" hangingPunct="0">
                <a:defRPr>
                  <a:latin typeface="Arial" pitchFamily="34" charset="0"/>
                </a:defRPr>
              </a:lvl4pPr>
              <a:lvl5pPr marL="2057400" indent="-228600" eaLnBrk="0" hangingPunct="0">
                <a:defRPr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pitchFamily="34" charset="0"/>
                </a:defRPr>
              </a:lvl9pPr>
            </a:lstStyle>
            <a:p>
              <a:pPr defTabSz="609296">
                <a:spcBef>
                  <a:spcPts val="0"/>
                </a:spcBef>
                <a:spcAft>
                  <a:spcPts val="0"/>
                </a:spcAft>
              </a:pPr>
              <a:r>
                <a:rPr lang="en-US" dirty="0">
                  <a:solidFill>
                    <a:prstClr val="black"/>
                  </a:solidFill>
                  <a:cs typeface="Arial"/>
                </a:rPr>
                <a:t>Visit us at: </a:t>
              </a:r>
              <a:r>
                <a:rPr lang="en-US" b="1" dirty="0">
                  <a:solidFill>
                    <a:srgbClr val="0096D6"/>
                  </a:solidFill>
                  <a:cs typeface="Arial"/>
                </a:rPr>
                <a:t>www.hpl.hp.com</a:t>
              </a:r>
              <a:endParaRPr lang="en-US" dirty="0">
                <a:solidFill>
                  <a:prstClr val="black"/>
                </a:solidFill>
                <a:cs typeface="Arial"/>
              </a:endParaRPr>
            </a:p>
            <a:p>
              <a:pPr defTabSz="609296">
                <a:spcBef>
                  <a:spcPts val="0"/>
                </a:spcBef>
                <a:spcAft>
                  <a:spcPts val="0"/>
                </a:spcAft>
              </a:pPr>
              <a:r>
                <a:rPr lang="en-US" dirty="0">
                  <a:solidFill>
                    <a:prstClr val="black"/>
                  </a:solidFill>
                  <a:cs typeface="Arial"/>
                </a:rPr>
                <a:t>Follow us on Twitter: </a:t>
              </a:r>
              <a:r>
                <a:rPr lang="en-US" b="1" dirty="0">
                  <a:solidFill>
                    <a:srgbClr val="0096D6"/>
                  </a:solidFill>
                  <a:cs typeface="Arial"/>
                </a:rPr>
                <a:t>@</a:t>
              </a:r>
              <a:r>
                <a:rPr lang="en-US" b="1" dirty="0" err="1">
                  <a:solidFill>
                    <a:srgbClr val="0096D6"/>
                  </a:solidFill>
                  <a:cs typeface="Arial"/>
                </a:rPr>
                <a:t>hplabs</a:t>
              </a:r>
              <a:endParaRPr lang="en-US" b="1" dirty="0">
                <a:solidFill>
                  <a:srgbClr val="0096D6"/>
                </a:solidFill>
                <a:cs typeface="Arial"/>
              </a:endParaRPr>
            </a:p>
          </p:txBody>
        </p:sp>
      </p:grpSp>
      <p:pic>
        <p:nvPicPr>
          <p:cNvPr id="21" name="Picture 20" descr="image00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8554" y="222229"/>
            <a:ext cx="1922534" cy="743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4"/>
          <p:cNvSpPr txBox="1">
            <a:spLocks noChangeArrowheads="1"/>
          </p:cNvSpPr>
          <p:nvPr/>
        </p:nvSpPr>
        <p:spPr bwMode="auto">
          <a:xfrm>
            <a:off x="7997700" y="1910643"/>
            <a:ext cx="327598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defTabSz="609296" fontAlgn="b"/>
            <a:r>
              <a:rPr lang="en-US" sz="1600" b="1" dirty="0">
                <a:solidFill>
                  <a:prstClr val="black"/>
                </a:solidFill>
                <a:latin typeface="HP Simplified"/>
                <a:cs typeface="Arial"/>
              </a:rPr>
              <a:t>Come learn more about HP Labs </a:t>
            </a:r>
            <a:r>
              <a:rPr lang="en-US" sz="1600" b="1" dirty="0" smtClean="0">
                <a:solidFill>
                  <a:prstClr val="black"/>
                </a:solidFill>
                <a:latin typeface="HP Simplified"/>
                <a:cs typeface="Arial"/>
              </a:rPr>
              <a:t>at </a:t>
            </a:r>
            <a:r>
              <a:rPr lang="en-US" sz="1600" b="1" dirty="0">
                <a:solidFill>
                  <a:prstClr val="black"/>
                </a:solidFill>
                <a:latin typeface="HP Simplified"/>
                <a:cs typeface="Arial"/>
              </a:rPr>
              <a:t>the </a:t>
            </a:r>
            <a:r>
              <a:rPr lang="en-US" sz="1600" b="1" dirty="0">
                <a:solidFill>
                  <a:srgbClr val="0096D6"/>
                </a:solidFill>
                <a:latin typeface="HP Simplified"/>
                <a:cs typeface="Arial"/>
              </a:rPr>
              <a:t>HP Labs Pavilion</a:t>
            </a:r>
            <a:r>
              <a:rPr lang="en-US" sz="1600" b="1" dirty="0">
                <a:solidFill>
                  <a:prstClr val="black"/>
                </a:solidFill>
                <a:latin typeface="HP Simplified"/>
                <a:cs typeface="Arial"/>
              </a:rPr>
              <a:t> located in the Discover Zon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4125946" y="1910644"/>
            <a:ext cx="3688538" cy="4102619"/>
            <a:chOff x="4125433" y="1825188"/>
            <a:chExt cx="3689498" cy="4469286"/>
          </a:xfrm>
        </p:grpSpPr>
        <p:cxnSp>
          <p:nvCxnSpPr>
            <p:cNvPr id="3" name="Straight Connector 2"/>
            <p:cNvCxnSpPr/>
            <p:nvPr/>
          </p:nvCxnSpPr>
          <p:spPr>
            <a:xfrm>
              <a:off x="4125433" y="1825188"/>
              <a:ext cx="0" cy="4469286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7814931" y="1825188"/>
              <a:ext cx="0" cy="4469286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4"/>
          <p:cNvSpPr txBox="1">
            <a:spLocks noChangeArrowheads="1"/>
          </p:cNvSpPr>
          <p:nvPr/>
        </p:nvSpPr>
        <p:spPr bwMode="auto">
          <a:xfrm>
            <a:off x="4354223" y="1910644"/>
            <a:ext cx="3275984" cy="1146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defTabSz="609296" fontAlgn="b">
              <a:spcBef>
                <a:spcPts val="600"/>
              </a:spcBef>
              <a:spcAft>
                <a:spcPts val="100"/>
              </a:spcAft>
            </a:pPr>
            <a:r>
              <a:rPr lang="en-US" sz="1600" b="1" dirty="0" smtClean="0">
                <a:solidFill>
                  <a:prstClr val="black"/>
                </a:solidFill>
                <a:latin typeface="HP Simplified"/>
                <a:cs typeface="Arial"/>
              </a:rPr>
              <a:t>Thursday, 11:30 – 12:00</a:t>
            </a:r>
          </a:p>
          <a:p>
            <a:pPr defTabSz="609296" fontAlgn="b">
              <a:spcAft>
                <a:spcPts val="200"/>
              </a:spcAft>
              <a:buFont typeface="Arial" pitchFamily="34" charset="0"/>
              <a:buChar char="•"/>
            </a:pPr>
            <a:r>
              <a:rPr lang="en-US" sz="1400" b="1" dirty="0" smtClean="0">
                <a:solidFill>
                  <a:srgbClr val="0096D6"/>
                </a:solidFill>
                <a:latin typeface="HP Simplified"/>
                <a:cs typeface="Arial"/>
              </a:rPr>
              <a:t>DT1330 </a:t>
            </a:r>
            <a:r>
              <a:rPr lang="en-US" sz="1400" dirty="0" smtClean="0">
                <a:solidFill>
                  <a:prstClr val="black"/>
                </a:solidFill>
                <a:latin typeface="HP Simplified"/>
                <a:cs typeface="Arial"/>
              </a:rPr>
              <a:t>– </a:t>
            </a:r>
            <a:r>
              <a:rPr lang="en-US" sz="1400" dirty="0" smtClean="0">
                <a:solidFill>
                  <a:prstClr val="black"/>
                </a:solidFill>
                <a:latin typeface="HP Simplified"/>
              </a:rPr>
              <a:t>Reimagining systems and application software for The Machine – A sneak peek from HP Labs</a:t>
            </a:r>
          </a:p>
          <a:p>
            <a:pPr defTabSz="609296" fontAlgn="b">
              <a:spcAft>
                <a:spcPts val="200"/>
              </a:spcAft>
              <a:buFont typeface="Arial" pitchFamily="34" charset="0"/>
              <a:buChar char="•"/>
            </a:pPr>
            <a:endParaRPr lang="en-US" sz="1400" dirty="0">
              <a:solidFill>
                <a:prstClr val="black"/>
              </a:solidFill>
              <a:latin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119755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589212" y="0"/>
            <a:ext cx="4038600" cy="6858000"/>
          </a:xfrm>
          <a:prstGeom prst="rect">
            <a:avLst/>
          </a:prstGeom>
          <a:gradFill flip="none" rotWithShape="1">
            <a:gsLst>
              <a:gs pos="0">
                <a:srgbClr val="F2F3F5"/>
              </a:gs>
              <a:gs pos="50000">
                <a:srgbClr val="F2F3F5">
                  <a:alpha val="81000"/>
                </a:srgbClr>
              </a:gs>
              <a:gs pos="100000">
                <a:srgbClr val="F2F3F5">
                  <a:alpha val="0"/>
                </a:srgbClr>
              </a:gs>
            </a:gsLst>
            <a:lin ang="0" scaled="1"/>
            <a:tileRect/>
          </a:gra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>
              <a:solidFill>
                <a:prstClr val="white"/>
              </a:solidFill>
            </a:endParaRPr>
          </a:p>
        </p:txBody>
      </p:sp>
      <p:sp>
        <p:nvSpPr>
          <p:cNvPr id="9" name="Text Placeholder 6"/>
          <p:cNvSpPr txBox="1">
            <a:spLocks/>
          </p:cNvSpPr>
          <p:nvPr/>
        </p:nvSpPr>
        <p:spPr>
          <a:xfrm flipH="1">
            <a:off x="684212" y="2133600"/>
            <a:ext cx="5715000" cy="3810000"/>
          </a:xfrm>
          <a:prstGeom prst="round2DiagRect">
            <a:avLst>
              <a:gd name="adj1" fmla="val 7264"/>
              <a:gd name="adj2" fmla="val 0"/>
            </a:avLst>
          </a:prstGeom>
          <a:solidFill>
            <a:schemeClr val="bg1">
              <a:alpha val="74000"/>
            </a:schemeClr>
          </a:solidFill>
        </p:spPr>
        <p:txBody>
          <a:bodyPr vert="horz" wrap="square" lIns="137160" tIns="91440" rIns="137160" bIns="9144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666" b="1" dirty="0" smtClean="0">
                <a:solidFill>
                  <a:srgbClr val="0096D6"/>
                </a:solidFill>
              </a:rPr>
              <a:t>Use the mobile app to complete a session survey </a:t>
            </a:r>
            <a:endParaRPr lang="en-GB" sz="2666" b="1" dirty="0" smtClean="0">
              <a:solidFill>
                <a:srgbClr val="0096D6"/>
              </a:solidFill>
            </a:endParaRPr>
          </a:p>
          <a:p>
            <a:pPr marL="457086" lvl="1" indent="-457086">
              <a:buFont typeface="+mj-lt"/>
              <a:buAutoNum type="arabicPeriod"/>
            </a:pPr>
            <a:r>
              <a:rPr lang="en-US" dirty="0" smtClean="0">
                <a:solidFill>
                  <a:prstClr val="black"/>
                </a:solidFill>
              </a:rPr>
              <a:t>Access “My schedule”</a:t>
            </a:r>
          </a:p>
          <a:p>
            <a:pPr marL="457086" lvl="1" indent="-457086">
              <a:buFont typeface="+mj-lt"/>
              <a:buAutoNum type="arabicPeriod"/>
            </a:pPr>
            <a:r>
              <a:rPr lang="en-US" dirty="0" smtClean="0">
                <a:solidFill>
                  <a:prstClr val="black"/>
                </a:solidFill>
              </a:rPr>
              <a:t>Click on this session</a:t>
            </a:r>
          </a:p>
          <a:p>
            <a:pPr marL="457086" lvl="1" indent="-457086">
              <a:buFont typeface="+mj-lt"/>
              <a:buAutoNum type="arabicPeriod"/>
            </a:pPr>
            <a:r>
              <a:rPr lang="en-US" dirty="0" smtClean="0">
                <a:solidFill>
                  <a:prstClr val="black"/>
                </a:solidFill>
              </a:rPr>
              <a:t>Go to “Rate &amp; review”</a:t>
            </a:r>
          </a:p>
          <a:p>
            <a:pPr lvl="1"/>
            <a:endParaRPr lang="en-US" dirty="0" smtClean="0">
              <a:solidFill>
                <a:prstClr val="black"/>
              </a:solidFill>
            </a:endParaRPr>
          </a:p>
          <a:p>
            <a:pPr lvl="1"/>
            <a:r>
              <a:rPr lang="en-US" dirty="0" smtClean="0">
                <a:solidFill>
                  <a:prstClr val="black"/>
                </a:solidFill>
              </a:rPr>
              <a:t>If the session is not on your schedule, just find it </a:t>
            </a:r>
            <a:br>
              <a:rPr lang="en-US" dirty="0" smtClean="0">
                <a:solidFill>
                  <a:prstClr val="black"/>
                </a:solidFill>
              </a:rPr>
            </a:br>
            <a:r>
              <a:rPr lang="en-US" dirty="0" smtClean="0">
                <a:solidFill>
                  <a:prstClr val="black"/>
                </a:solidFill>
              </a:rPr>
              <a:t>via the session scheduler, click on this session and then  go to “Rate &amp; review”.</a:t>
            </a:r>
          </a:p>
          <a:p>
            <a:pPr lvl="1"/>
            <a:endParaRPr lang="en-US" dirty="0" smtClean="0">
              <a:solidFill>
                <a:prstClr val="black"/>
              </a:solidFill>
            </a:endParaRPr>
          </a:p>
          <a:p>
            <a:pPr lvl="1"/>
            <a:r>
              <a:rPr lang="en-US" dirty="0" smtClean="0">
                <a:solidFill>
                  <a:prstClr val="black"/>
                </a:solidFill>
              </a:rPr>
              <a:t>Thank you for providing your feedback, </a:t>
            </a:r>
            <a:br>
              <a:rPr lang="en-US" dirty="0" smtClean="0">
                <a:solidFill>
                  <a:prstClr val="black"/>
                </a:solidFill>
              </a:rPr>
            </a:br>
            <a:r>
              <a:rPr lang="en-US" dirty="0" smtClean="0">
                <a:solidFill>
                  <a:prstClr val="black"/>
                </a:solidFill>
              </a:rPr>
              <a:t>which helps us enhance content for future event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Please give me your feedback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Session: </a:t>
            </a:r>
            <a:r>
              <a:rPr lang="en-US" b="1" dirty="0" smtClean="0"/>
              <a:t>DT1329</a:t>
            </a:r>
          </a:p>
          <a:p>
            <a:r>
              <a:rPr lang="en-US" dirty="0" smtClean="0"/>
              <a:t>Speaker: </a:t>
            </a:r>
            <a:r>
              <a:rPr lang="en-US" b="1" dirty="0" err="1" smtClean="0"/>
              <a:t>Pratyusa</a:t>
            </a:r>
            <a:r>
              <a:rPr lang="en-US" b="1" dirty="0" smtClean="0"/>
              <a:t> </a:t>
            </a:r>
            <a:r>
              <a:rPr lang="en-US" b="1" dirty="0" err="1" smtClean="0"/>
              <a:t>Manadhata</a:t>
            </a:r>
            <a:r>
              <a:rPr lang="en-US" b="1" dirty="0" smtClean="0"/>
              <a:t>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121485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ratyusa K. Manadhata</a:t>
            </a:r>
          </a:p>
          <a:p>
            <a:r>
              <a:rPr lang="en-US" smtClean="0"/>
              <a:t>Manadhata@hp.com</a:t>
            </a:r>
            <a:endParaRPr lang="en-US" dirty="0"/>
          </a:p>
        </p:txBody>
      </p:sp>
      <p:pic>
        <p:nvPicPr>
          <p:cNvPr id="4" name="Picture 4" descr="http://ent251.sharepoint.hp.com/teams/labs/insignia/HP_Labs_insignia_developed-with_reverse.png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189" y="3918100"/>
            <a:ext cx="4309251" cy="1673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2405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 flipH="1">
            <a:off x="609598" y="2111022"/>
            <a:ext cx="10969625" cy="3251200"/>
          </a:xfrm>
          <a:prstGeom prst="round2DiagRect">
            <a:avLst>
              <a:gd name="adj1" fmla="val 10417"/>
              <a:gd name="adj2" fmla="val 0"/>
            </a:avLst>
          </a:prstGeom>
          <a:solidFill>
            <a:schemeClr val="bg1">
              <a:alpha val="85000"/>
            </a:schemeClr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2800" b="1" dirty="0" smtClean="0">
                <a:solidFill>
                  <a:schemeClr val="accent1"/>
                </a:solidFill>
              </a:rPr>
              <a:t>It </a:t>
            </a:r>
            <a:r>
              <a:rPr lang="en-US" sz="2800" b="1" dirty="0">
                <a:solidFill>
                  <a:schemeClr val="accent1"/>
                </a:solidFill>
              </a:rPr>
              <a:t>will be able to compute much faster with huge amounts of data. 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2400" dirty="0" smtClean="0">
                <a:solidFill>
                  <a:schemeClr val="accent3">
                    <a:lumMod val="75000"/>
                  </a:schemeClr>
                </a:solidFill>
              </a:rPr>
              <a:t>And, </a:t>
            </a:r>
            <a:r>
              <a:rPr lang="en-US" sz="2400" dirty="0">
                <a:solidFill>
                  <a:schemeClr val="accent3">
                    <a:lumMod val="75000"/>
                  </a:schemeClr>
                </a:solidFill>
              </a:rPr>
              <a:t>it will also take up a lot less space and pull a lot less energy</a:t>
            </a:r>
            <a:r>
              <a:rPr lang="en-US" sz="2400" dirty="0" smtClean="0">
                <a:solidFill>
                  <a:schemeClr val="accent3">
                    <a:lumMod val="75000"/>
                  </a:schemeClr>
                </a:solidFill>
              </a:rPr>
              <a:t>.</a:t>
            </a:r>
            <a:endParaRPr lang="en-US" sz="24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achine: HP’s answer to today’s data explosion problem</a:t>
            </a:r>
            <a:endParaRPr lang="hi-IN" dirty="0"/>
          </a:p>
        </p:txBody>
      </p:sp>
    </p:spTree>
    <p:extLst>
      <p:ext uri="{BB962C8B-B14F-4D97-AF65-F5344CB8AC3E}">
        <p14:creationId xmlns:p14="http://schemas.microsoft.com/office/powerpoint/2010/main" val="2454292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446749" y="5381625"/>
            <a:ext cx="2306358" cy="400087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kumimoji="1" lang="en-US" altLang="ja-JP" dirty="0" smtClean="0">
                <a:solidFill>
                  <a:prstClr val="black"/>
                </a:solidFill>
              </a:rPr>
              <a:t>Special purpose cores</a:t>
            </a: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85" name="Group 84"/>
          <p:cNvGrpSpPr/>
          <p:nvPr/>
        </p:nvGrpSpPr>
        <p:grpSpPr>
          <a:xfrm>
            <a:off x="962121" y="1835566"/>
            <a:ext cx="10150996" cy="3487508"/>
            <a:chOff x="962121" y="1559341"/>
            <a:chExt cx="10150996" cy="3487508"/>
          </a:xfrm>
        </p:grpSpPr>
        <p:cxnSp>
          <p:nvCxnSpPr>
            <p:cNvPr id="5" name="Straight Connector 4"/>
            <p:cNvCxnSpPr/>
            <p:nvPr/>
          </p:nvCxnSpPr>
          <p:spPr>
            <a:xfrm>
              <a:off x="3323193" y="3303095"/>
              <a:ext cx="5809935" cy="0"/>
            </a:xfrm>
            <a:prstGeom prst="line">
              <a:avLst/>
            </a:prstGeom>
            <a:ln w="76200" cmpd="sng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oup 3"/>
            <p:cNvGrpSpPr/>
            <p:nvPr/>
          </p:nvGrpSpPr>
          <p:grpSpPr>
            <a:xfrm>
              <a:off x="7335090" y="1559341"/>
              <a:ext cx="3778027" cy="3487508"/>
              <a:chOff x="823262" y="2395110"/>
              <a:chExt cx="1914328" cy="2002986"/>
            </a:xfrm>
          </p:grpSpPr>
          <p:sp>
            <p:nvSpPr>
              <p:cNvPr id="6" name="Round Diagonal Corner Rectangle 5"/>
              <p:cNvSpPr/>
              <p:nvPr/>
            </p:nvSpPr>
            <p:spPr>
              <a:xfrm>
                <a:off x="823262" y="2395110"/>
                <a:ext cx="1914328" cy="2002986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grpSp>
            <p:nvGrpSpPr>
              <p:cNvPr id="7" name="Group 6"/>
              <p:cNvGrpSpPr/>
              <p:nvPr/>
            </p:nvGrpSpPr>
            <p:grpSpPr>
              <a:xfrm>
                <a:off x="904258" y="2491861"/>
                <a:ext cx="1752336" cy="1809484"/>
                <a:chOff x="884969" y="2458561"/>
                <a:chExt cx="1752336" cy="1809484"/>
              </a:xfrm>
            </p:grpSpPr>
            <p:grpSp>
              <p:nvGrpSpPr>
                <p:cNvPr id="8" name="Group 7"/>
                <p:cNvGrpSpPr/>
                <p:nvPr/>
              </p:nvGrpSpPr>
              <p:grpSpPr>
                <a:xfrm>
                  <a:off x="884969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5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5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9" name="Group 8"/>
                <p:cNvGrpSpPr/>
                <p:nvPr/>
              </p:nvGrpSpPr>
              <p:grpSpPr>
                <a:xfrm>
                  <a:off x="1333755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5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5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0" name="Group 9"/>
                <p:cNvGrpSpPr/>
                <p:nvPr/>
              </p:nvGrpSpPr>
              <p:grpSpPr>
                <a:xfrm>
                  <a:off x="1782540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5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5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1" name="Group 10"/>
                <p:cNvGrpSpPr/>
                <p:nvPr/>
              </p:nvGrpSpPr>
              <p:grpSpPr>
                <a:xfrm>
                  <a:off x="2231325" y="2458561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4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4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2" name="Group 11"/>
                <p:cNvGrpSpPr/>
                <p:nvPr/>
              </p:nvGrpSpPr>
              <p:grpSpPr>
                <a:xfrm>
                  <a:off x="884969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4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4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3" name="Group 12"/>
                <p:cNvGrpSpPr/>
                <p:nvPr/>
              </p:nvGrpSpPr>
              <p:grpSpPr>
                <a:xfrm>
                  <a:off x="1333755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4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4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4" name="Group 13"/>
                <p:cNvGrpSpPr/>
                <p:nvPr/>
              </p:nvGrpSpPr>
              <p:grpSpPr>
                <a:xfrm>
                  <a:off x="1782540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4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4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5" name="Group 14"/>
                <p:cNvGrpSpPr/>
                <p:nvPr/>
              </p:nvGrpSpPr>
              <p:grpSpPr>
                <a:xfrm>
                  <a:off x="2231325" y="2921299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4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4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6" name="Group 15"/>
                <p:cNvGrpSpPr/>
                <p:nvPr/>
              </p:nvGrpSpPr>
              <p:grpSpPr>
                <a:xfrm>
                  <a:off x="884969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3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3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7" name="Group 16"/>
                <p:cNvGrpSpPr/>
                <p:nvPr/>
              </p:nvGrpSpPr>
              <p:grpSpPr>
                <a:xfrm>
                  <a:off x="1333755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3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3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8" name="Group 17"/>
                <p:cNvGrpSpPr/>
                <p:nvPr/>
              </p:nvGrpSpPr>
              <p:grpSpPr>
                <a:xfrm>
                  <a:off x="1782540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3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3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19" name="Group 18"/>
                <p:cNvGrpSpPr/>
                <p:nvPr/>
              </p:nvGrpSpPr>
              <p:grpSpPr>
                <a:xfrm>
                  <a:off x="2231325" y="3389820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32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33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20" name="Group 19"/>
                <p:cNvGrpSpPr/>
                <p:nvPr/>
              </p:nvGrpSpPr>
              <p:grpSpPr>
                <a:xfrm>
                  <a:off x="884969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30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31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21" name="Group 20"/>
                <p:cNvGrpSpPr/>
                <p:nvPr/>
              </p:nvGrpSpPr>
              <p:grpSpPr>
                <a:xfrm>
                  <a:off x="1333755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28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29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22" name="Group 21"/>
                <p:cNvGrpSpPr/>
                <p:nvPr/>
              </p:nvGrpSpPr>
              <p:grpSpPr>
                <a:xfrm>
                  <a:off x="1782540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26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27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23" name="Group 22"/>
                <p:cNvGrpSpPr/>
                <p:nvPr/>
              </p:nvGrpSpPr>
              <p:grpSpPr>
                <a:xfrm>
                  <a:off x="2231325" y="3850124"/>
                  <a:ext cx="405980" cy="417921"/>
                  <a:chOff x="1042044" y="2489534"/>
                  <a:chExt cx="584512" cy="601704"/>
                </a:xfrm>
              </p:grpSpPr>
              <p:pic>
                <p:nvPicPr>
                  <p:cNvPr id="24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biLevel thresh="25000"/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9598"/>
                      <a:gd name="adj2" fmla="val 11765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</p:pic>
              <p:pic>
                <p:nvPicPr>
                  <p:cNvPr id="25" name="Picture 3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4">
                            <a14:imgEffect>
                              <a14:backgroundRemoval t="588" b="100000" l="0" r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1042044" y="2489534"/>
                    <a:ext cx="584512" cy="601704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</p:grpSp>
        </p:grpSp>
        <p:grpSp>
          <p:nvGrpSpPr>
            <p:cNvPr id="56" name="Group 55"/>
            <p:cNvGrpSpPr/>
            <p:nvPr/>
          </p:nvGrpSpPr>
          <p:grpSpPr>
            <a:xfrm>
              <a:off x="962121" y="1559341"/>
              <a:ext cx="3778027" cy="3487508"/>
              <a:chOff x="1495490" y="1832272"/>
              <a:chExt cx="1914328" cy="2002986"/>
            </a:xfrm>
          </p:grpSpPr>
          <p:sp>
            <p:nvSpPr>
              <p:cNvPr id="57" name="Round Diagonal Corner Rectangle 56"/>
              <p:cNvSpPr/>
              <p:nvPr/>
            </p:nvSpPr>
            <p:spPr>
              <a:xfrm>
                <a:off x="1495490" y="1832272"/>
                <a:ext cx="1914328" cy="2002986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grpSp>
            <p:nvGrpSpPr>
              <p:cNvPr id="58" name="Group 57"/>
              <p:cNvGrpSpPr/>
              <p:nvPr/>
            </p:nvGrpSpPr>
            <p:grpSpPr>
              <a:xfrm>
                <a:off x="1571547" y="1947128"/>
                <a:ext cx="1762214" cy="1773274"/>
                <a:chOff x="1576486" y="1934992"/>
                <a:chExt cx="1762214" cy="1773274"/>
              </a:xfrm>
            </p:grpSpPr>
            <p:grpSp>
              <p:nvGrpSpPr>
                <p:cNvPr id="59" name="Group 58"/>
                <p:cNvGrpSpPr/>
                <p:nvPr/>
              </p:nvGrpSpPr>
              <p:grpSpPr>
                <a:xfrm>
                  <a:off x="1576486" y="1934992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75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76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77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78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60" name="Group 59"/>
                <p:cNvGrpSpPr/>
                <p:nvPr/>
              </p:nvGrpSpPr>
              <p:grpSpPr>
                <a:xfrm>
                  <a:off x="1576486" y="2390757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71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72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73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74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61" name="Group 60"/>
                <p:cNvGrpSpPr/>
                <p:nvPr/>
              </p:nvGrpSpPr>
              <p:grpSpPr>
                <a:xfrm>
                  <a:off x="1576486" y="2846522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67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68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69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70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grpSp>
              <p:nvGrpSpPr>
                <p:cNvPr id="62" name="Group 61"/>
                <p:cNvGrpSpPr/>
                <p:nvPr/>
              </p:nvGrpSpPr>
              <p:grpSpPr>
                <a:xfrm>
                  <a:off x="1576486" y="3302286"/>
                  <a:ext cx="1762214" cy="405980"/>
                  <a:chOff x="1576486" y="1934992"/>
                  <a:chExt cx="1762214" cy="405980"/>
                </a:xfrm>
              </p:grpSpPr>
              <p:pic>
                <p:nvPicPr>
                  <p:cNvPr id="63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1576486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64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028564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65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480642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66" name="Picture 3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auto">
                  <a:xfrm>
                    <a:off x="2932720" y="1934992"/>
                    <a:ext cx="405980" cy="405980"/>
                  </a:xfrm>
                  <a:prstGeom prst="round2DiagRect">
                    <a:avLst>
                      <a:gd name="adj1" fmla="val 0"/>
                      <a:gd name="adj2" fmla="val 11765"/>
                    </a:avLst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</p:grpSp>
        </p:grpSp>
        <p:cxnSp>
          <p:nvCxnSpPr>
            <p:cNvPr id="3" name="Straight Connector 2"/>
            <p:cNvCxnSpPr/>
            <p:nvPr/>
          </p:nvCxnSpPr>
          <p:spPr>
            <a:xfrm>
              <a:off x="4740149" y="3303095"/>
              <a:ext cx="520167" cy="0"/>
            </a:xfrm>
            <a:prstGeom prst="line">
              <a:avLst/>
            </a:prstGeom>
            <a:ln w="5715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>
              <a:off x="6772783" y="3303095"/>
              <a:ext cx="562308" cy="0"/>
            </a:xfrm>
            <a:prstGeom prst="line">
              <a:avLst/>
            </a:prstGeom>
            <a:ln w="5715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2" name="Group 81"/>
            <p:cNvGrpSpPr/>
            <p:nvPr/>
          </p:nvGrpSpPr>
          <p:grpSpPr>
            <a:xfrm>
              <a:off x="5260315" y="2605012"/>
              <a:ext cx="1512467" cy="1396163"/>
              <a:chOff x="3984638" y="1583425"/>
              <a:chExt cx="1134646" cy="1047122"/>
            </a:xfrm>
          </p:grpSpPr>
          <p:sp>
            <p:nvSpPr>
              <p:cNvPr id="79" name="Round Diagonal Corner Rectangle 78"/>
              <p:cNvSpPr/>
              <p:nvPr/>
            </p:nvSpPr>
            <p:spPr>
              <a:xfrm>
                <a:off x="3984638" y="1583425"/>
                <a:ext cx="1134646" cy="1047122"/>
              </a:xfrm>
              <a:prstGeom prst="round2DiagRect">
                <a:avLst>
                  <a:gd name="adj1" fmla="val 0"/>
                  <a:gd name="adj2" fmla="val 8146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700" b="1" dirty="0" smtClean="0">
                  <a:solidFill>
                    <a:prstClr val="white"/>
                  </a:solidFill>
                  <a:sym typeface="Webdings"/>
                </a:endParaRPr>
              </a:p>
            </p:txBody>
          </p:sp>
          <p:sp>
            <p:nvSpPr>
              <p:cNvPr id="130" name="Freeform 129"/>
              <p:cNvSpPr/>
              <p:nvPr/>
            </p:nvSpPr>
            <p:spPr>
              <a:xfrm>
                <a:off x="4108954" y="1693740"/>
                <a:ext cx="875235" cy="826492"/>
              </a:xfrm>
              <a:custGeom>
                <a:avLst/>
                <a:gdLst>
                  <a:gd name="connsiteX0" fmla="*/ 437712 w 875235"/>
                  <a:gd name="connsiteY0" fmla="*/ 753602 h 826492"/>
                  <a:gd name="connsiteX1" fmla="*/ 414852 w 875235"/>
                  <a:gd name="connsiteY1" fmla="*/ 776462 h 826492"/>
                  <a:gd name="connsiteX2" fmla="*/ 437712 w 875235"/>
                  <a:gd name="connsiteY2" fmla="*/ 799322 h 826492"/>
                  <a:gd name="connsiteX3" fmla="*/ 460572 w 875235"/>
                  <a:gd name="connsiteY3" fmla="*/ 776462 h 826492"/>
                  <a:gd name="connsiteX4" fmla="*/ 437712 w 875235"/>
                  <a:gd name="connsiteY4" fmla="*/ 753602 h 826492"/>
                  <a:gd name="connsiteX5" fmla="*/ 488486 w 875235"/>
                  <a:gd name="connsiteY5" fmla="*/ 726187 h 826492"/>
                  <a:gd name="connsiteX6" fmla="*/ 465626 w 875235"/>
                  <a:gd name="connsiteY6" fmla="*/ 749047 h 826492"/>
                  <a:gd name="connsiteX7" fmla="*/ 488486 w 875235"/>
                  <a:gd name="connsiteY7" fmla="*/ 771907 h 826492"/>
                  <a:gd name="connsiteX8" fmla="*/ 511346 w 875235"/>
                  <a:gd name="connsiteY8" fmla="*/ 749047 h 826492"/>
                  <a:gd name="connsiteX9" fmla="*/ 488486 w 875235"/>
                  <a:gd name="connsiteY9" fmla="*/ 726187 h 826492"/>
                  <a:gd name="connsiteX10" fmla="*/ 386938 w 875235"/>
                  <a:gd name="connsiteY10" fmla="*/ 726187 h 826492"/>
                  <a:gd name="connsiteX11" fmla="*/ 364078 w 875235"/>
                  <a:gd name="connsiteY11" fmla="*/ 749047 h 826492"/>
                  <a:gd name="connsiteX12" fmla="*/ 386938 w 875235"/>
                  <a:gd name="connsiteY12" fmla="*/ 771907 h 826492"/>
                  <a:gd name="connsiteX13" fmla="*/ 409798 w 875235"/>
                  <a:gd name="connsiteY13" fmla="*/ 749047 h 826492"/>
                  <a:gd name="connsiteX14" fmla="*/ 386938 w 875235"/>
                  <a:gd name="connsiteY14" fmla="*/ 726187 h 826492"/>
                  <a:gd name="connsiteX15" fmla="*/ 437712 w 875235"/>
                  <a:gd name="connsiteY15" fmla="*/ 696400 h 826492"/>
                  <a:gd name="connsiteX16" fmla="*/ 414852 w 875235"/>
                  <a:gd name="connsiteY16" fmla="*/ 719260 h 826492"/>
                  <a:gd name="connsiteX17" fmla="*/ 437712 w 875235"/>
                  <a:gd name="connsiteY17" fmla="*/ 742120 h 826492"/>
                  <a:gd name="connsiteX18" fmla="*/ 460572 w 875235"/>
                  <a:gd name="connsiteY18" fmla="*/ 719260 h 826492"/>
                  <a:gd name="connsiteX19" fmla="*/ 437712 w 875235"/>
                  <a:gd name="connsiteY19" fmla="*/ 696400 h 826492"/>
                  <a:gd name="connsiteX20" fmla="*/ 488486 w 875235"/>
                  <a:gd name="connsiteY20" fmla="*/ 665784 h 826492"/>
                  <a:gd name="connsiteX21" fmla="*/ 465626 w 875235"/>
                  <a:gd name="connsiteY21" fmla="*/ 688644 h 826492"/>
                  <a:gd name="connsiteX22" fmla="*/ 488486 w 875235"/>
                  <a:gd name="connsiteY22" fmla="*/ 711504 h 826492"/>
                  <a:gd name="connsiteX23" fmla="*/ 511346 w 875235"/>
                  <a:gd name="connsiteY23" fmla="*/ 688644 h 826492"/>
                  <a:gd name="connsiteX24" fmla="*/ 488486 w 875235"/>
                  <a:gd name="connsiteY24" fmla="*/ 665784 h 826492"/>
                  <a:gd name="connsiteX25" fmla="*/ 386938 w 875235"/>
                  <a:gd name="connsiteY25" fmla="*/ 665784 h 826492"/>
                  <a:gd name="connsiteX26" fmla="*/ 364078 w 875235"/>
                  <a:gd name="connsiteY26" fmla="*/ 688644 h 826492"/>
                  <a:gd name="connsiteX27" fmla="*/ 386938 w 875235"/>
                  <a:gd name="connsiteY27" fmla="*/ 711504 h 826492"/>
                  <a:gd name="connsiteX28" fmla="*/ 409798 w 875235"/>
                  <a:gd name="connsiteY28" fmla="*/ 688644 h 826492"/>
                  <a:gd name="connsiteX29" fmla="*/ 386938 w 875235"/>
                  <a:gd name="connsiteY29" fmla="*/ 665784 h 826492"/>
                  <a:gd name="connsiteX30" fmla="*/ 437712 w 875235"/>
                  <a:gd name="connsiteY30" fmla="*/ 639199 h 826492"/>
                  <a:gd name="connsiteX31" fmla="*/ 414852 w 875235"/>
                  <a:gd name="connsiteY31" fmla="*/ 662059 h 826492"/>
                  <a:gd name="connsiteX32" fmla="*/ 437712 w 875235"/>
                  <a:gd name="connsiteY32" fmla="*/ 684919 h 826492"/>
                  <a:gd name="connsiteX33" fmla="*/ 460572 w 875235"/>
                  <a:gd name="connsiteY33" fmla="*/ 662059 h 826492"/>
                  <a:gd name="connsiteX34" fmla="*/ 437712 w 875235"/>
                  <a:gd name="connsiteY34" fmla="*/ 639199 h 826492"/>
                  <a:gd name="connsiteX35" fmla="*/ 765165 w 875235"/>
                  <a:gd name="connsiteY35" fmla="*/ 449417 h 826492"/>
                  <a:gd name="connsiteX36" fmla="*/ 742305 w 875235"/>
                  <a:gd name="connsiteY36" fmla="*/ 472277 h 826492"/>
                  <a:gd name="connsiteX37" fmla="*/ 765165 w 875235"/>
                  <a:gd name="connsiteY37" fmla="*/ 495137 h 826492"/>
                  <a:gd name="connsiteX38" fmla="*/ 788025 w 875235"/>
                  <a:gd name="connsiteY38" fmla="*/ 472277 h 826492"/>
                  <a:gd name="connsiteX39" fmla="*/ 765165 w 875235"/>
                  <a:gd name="connsiteY39" fmla="*/ 449417 h 826492"/>
                  <a:gd name="connsiteX40" fmla="*/ 437712 w 875235"/>
                  <a:gd name="connsiteY40" fmla="*/ 449417 h 826492"/>
                  <a:gd name="connsiteX41" fmla="*/ 414852 w 875235"/>
                  <a:gd name="connsiteY41" fmla="*/ 472277 h 826492"/>
                  <a:gd name="connsiteX42" fmla="*/ 437712 w 875235"/>
                  <a:gd name="connsiteY42" fmla="*/ 495137 h 826492"/>
                  <a:gd name="connsiteX43" fmla="*/ 460572 w 875235"/>
                  <a:gd name="connsiteY43" fmla="*/ 472277 h 826492"/>
                  <a:gd name="connsiteX44" fmla="*/ 437712 w 875235"/>
                  <a:gd name="connsiteY44" fmla="*/ 449417 h 826492"/>
                  <a:gd name="connsiteX45" fmla="*/ 104693 w 875235"/>
                  <a:gd name="connsiteY45" fmla="*/ 449417 h 826492"/>
                  <a:gd name="connsiteX46" fmla="*/ 81833 w 875235"/>
                  <a:gd name="connsiteY46" fmla="*/ 472277 h 826492"/>
                  <a:gd name="connsiteX47" fmla="*/ 104693 w 875235"/>
                  <a:gd name="connsiteY47" fmla="*/ 495137 h 826492"/>
                  <a:gd name="connsiteX48" fmla="*/ 127553 w 875235"/>
                  <a:gd name="connsiteY48" fmla="*/ 472277 h 826492"/>
                  <a:gd name="connsiteX49" fmla="*/ 104693 w 875235"/>
                  <a:gd name="connsiteY49" fmla="*/ 449417 h 826492"/>
                  <a:gd name="connsiteX50" fmla="*/ 815266 w 875235"/>
                  <a:gd name="connsiteY50" fmla="*/ 425491 h 826492"/>
                  <a:gd name="connsiteX51" fmla="*/ 792406 w 875235"/>
                  <a:gd name="connsiteY51" fmla="*/ 448351 h 826492"/>
                  <a:gd name="connsiteX52" fmla="*/ 815266 w 875235"/>
                  <a:gd name="connsiteY52" fmla="*/ 471211 h 826492"/>
                  <a:gd name="connsiteX53" fmla="*/ 838126 w 875235"/>
                  <a:gd name="connsiteY53" fmla="*/ 448351 h 826492"/>
                  <a:gd name="connsiteX54" fmla="*/ 815266 w 875235"/>
                  <a:gd name="connsiteY54" fmla="*/ 425491 h 826492"/>
                  <a:gd name="connsiteX55" fmla="*/ 713718 w 875235"/>
                  <a:gd name="connsiteY55" fmla="*/ 425491 h 826492"/>
                  <a:gd name="connsiteX56" fmla="*/ 690858 w 875235"/>
                  <a:gd name="connsiteY56" fmla="*/ 448351 h 826492"/>
                  <a:gd name="connsiteX57" fmla="*/ 713718 w 875235"/>
                  <a:gd name="connsiteY57" fmla="*/ 471211 h 826492"/>
                  <a:gd name="connsiteX58" fmla="*/ 736578 w 875235"/>
                  <a:gd name="connsiteY58" fmla="*/ 448351 h 826492"/>
                  <a:gd name="connsiteX59" fmla="*/ 713718 w 875235"/>
                  <a:gd name="connsiteY59" fmla="*/ 425491 h 826492"/>
                  <a:gd name="connsiteX60" fmla="*/ 488486 w 875235"/>
                  <a:gd name="connsiteY60" fmla="*/ 425491 h 826492"/>
                  <a:gd name="connsiteX61" fmla="*/ 465626 w 875235"/>
                  <a:gd name="connsiteY61" fmla="*/ 448351 h 826492"/>
                  <a:gd name="connsiteX62" fmla="*/ 488486 w 875235"/>
                  <a:gd name="connsiteY62" fmla="*/ 471211 h 826492"/>
                  <a:gd name="connsiteX63" fmla="*/ 511346 w 875235"/>
                  <a:gd name="connsiteY63" fmla="*/ 448351 h 826492"/>
                  <a:gd name="connsiteX64" fmla="*/ 488486 w 875235"/>
                  <a:gd name="connsiteY64" fmla="*/ 425491 h 826492"/>
                  <a:gd name="connsiteX65" fmla="*/ 386938 w 875235"/>
                  <a:gd name="connsiteY65" fmla="*/ 425491 h 826492"/>
                  <a:gd name="connsiteX66" fmla="*/ 364078 w 875235"/>
                  <a:gd name="connsiteY66" fmla="*/ 448351 h 826492"/>
                  <a:gd name="connsiteX67" fmla="*/ 386938 w 875235"/>
                  <a:gd name="connsiteY67" fmla="*/ 471211 h 826492"/>
                  <a:gd name="connsiteX68" fmla="*/ 409798 w 875235"/>
                  <a:gd name="connsiteY68" fmla="*/ 448351 h 826492"/>
                  <a:gd name="connsiteX69" fmla="*/ 386938 w 875235"/>
                  <a:gd name="connsiteY69" fmla="*/ 425491 h 826492"/>
                  <a:gd name="connsiteX70" fmla="*/ 160771 w 875235"/>
                  <a:gd name="connsiteY70" fmla="*/ 425491 h 826492"/>
                  <a:gd name="connsiteX71" fmla="*/ 137911 w 875235"/>
                  <a:gd name="connsiteY71" fmla="*/ 448351 h 826492"/>
                  <a:gd name="connsiteX72" fmla="*/ 160771 w 875235"/>
                  <a:gd name="connsiteY72" fmla="*/ 471211 h 826492"/>
                  <a:gd name="connsiteX73" fmla="*/ 183631 w 875235"/>
                  <a:gd name="connsiteY73" fmla="*/ 448351 h 826492"/>
                  <a:gd name="connsiteX74" fmla="*/ 160771 w 875235"/>
                  <a:gd name="connsiteY74" fmla="*/ 425491 h 826492"/>
                  <a:gd name="connsiteX75" fmla="*/ 59223 w 875235"/>
                  <a:gd name="connsiteY75" fmla="*/ 425491 h 826492"/>
                  <a:gd name="connsiteX76" fmla="*/ 36363 w 875235"/>
                  <a:gd name="connsiteY76" fmla="*/ 448351 h 826492"/>
                  <a:gd name="connsiteX77" fmla="*/ 59223 w 875235"/>
                  <a:gd name="connsiteY77" fmla="*/ 471211 h 826492"/>
                  <a:gd name="connsiteX78" fmla="*/ 82083 w 875235"/>
                  <a:gd name="connsiteY78" fmla="*/ 448351 h 826492"/>
                  <a:gd name="connsiteX79" fmla="*/ 59223 w 875235"/>
                  <a:gd name="connsiteY79" fmla="*/ 425491 h 826492"/>
                  <a:gd name="connsiteX80" fmla="*/ 763819 w 875235"/>
                  <a:gd name="connsiteY80" fmla="*/ 393660 h 826492"/>
                  <a:gd name="connsiteX81" fmla="*/ 740959 w 875235"/>
                  <a:gd name="connsiteY81" fmla="*/ 416520 h 826492"/>
                  <a:gd name="connsiteX82" fmla="*/ 763819 w 875235"/>
                  <a:gd name="connsiteY82" fmla="*/ 439380 h 826492"/>
                  <a:gd name="connsiteX83" fmla="*/ 786679 w 875235"/>
                  <a:gd name="connsiteY83" fmla="*/ 416520 h 826492"/>
                  <a:gd name="connsiteX84" fmla="*/ 763819 w 875235"/>
                  <a:gd name="connsiteY84" fmla="*/ 393660 h 826492"/>
                  <a:gd name="connsiteX85" fmla="*/ 437712 w 875235"/>
                  <a:gd name="connsiteY85" fmla="*/ 393660 h 826492"/>
                  <a:gd name="connsiteX86" fmla="*/ 414852 w 875235"/>
                  <a:gd name="connsiteY86" fmla="*/ 416520 h 826492"/>
                  <a:gd name="connsiteX87" fmla="*/ 437712 w 875235"/>
                  <a:gd name="connsiteY87" fmla="*/ 439380 h 826492"/>
                  <a:gd name="connsiteX88" fmla="*/ 460572 w 875235"/>
                  <a:gd name="connsiteY88" fmla="*/ 416520 h 826492"/>
                  <a:gd name="connsiteX89" fmla="*/ 437712 w 875235"/>
                  <a:gd name="connsiteY89" fmla="*/ 393660 h 826492"/>
                  <a:gd name="connsiteX90" fmla="*/ 104266 w 875235"/>
                  <a:gd name="connsiteY90" fmla="*/ 393660 h 826492"/>
                  <a:gd name="connsiteX91" fmla="*/ 81406 w 875235"/>
                  <a:gd name="connsiteY91" fmla="*/ 416520 h 826492"/>
                  <a:gd name="connsiteX92" fmla="*/ 104266 w 875235"/>
                  <a:gd name="connsiteY92" fmla="*/ 439380 h 826492"/>
                  <a:gd name="connsiteX93" fmla="*/ 127126 w 875235"/>
                  <a:gd name="connsiteY93" fmla="*/ 416520 h 826492"/>
                  <a:gd name="connsiteX94" fmla="*/ 104266 w 875235"/>
                  <a:gd name="connsiteY94" fmla="*/ 393660 h 826492"/>
                  <a:gd name="connsiteX95" fmla="*/ 815266 w 875235"/>
                  <a:gd name="connsiteY95" fmla="*/ 365088 h 826492"/>
                  <a:gd name="connsiteX96" fmla="*/ 792406 w 875235"/>
                  <a:gd name="connsiteY96" fmla="*/ 387948 h 826492"/>
                  <a:gd name="connsiteX97" fmla="*/ 815266 w 875235"/>
                  <a:gd name="connsiteY97" fmla="*/ 410808 h 826492"/>
                  <a:gd name="connsiteX98" fmla="*/ 838126 w 875235"/>
                  <a:gd name="connsiteY98" fmla="*/ 387948 h 826492"/>
                  <a:gd name="connsiteX99" fmla="*/ 815266 w 875235"/>
                  <a:gd name="connsiteY99" fmla="*/ 365088 h 826492"/>
                  <a:gd name="connsiteX100" fmla="*/ 713718 w 875235"/>
                  <a:gd name="connsiteY100" fmla="*/ 365088 h 826492"/>
                  <a:gd name="connsiteX101" fmla="*/ 690858 w 875235"/>
                  <a:gd name="connsiteY101" fmla="*/ 387948 h 826492"/>
                  <a:gd name="connsiteX102" fmla="*/ 713718 w 875235"/>
                  <a:gd name="connsiteY102" fmla="*/ 410808 h 826492"/>
                  <a:gd name="connsiteX103" fmla="*/ 736578 w 875235"/>
                  <a:gd name="connsiteY103" fmla="*/ 387948 h 826492"/>
                  <a:gd name="connsiteX104" fmla="*/ 713718 w 875235"/>
                  <a:gd name="connsiteY104" fmla="*/ 365088 h 826492"/>
                  <a:gd name="connsiteX105" fmla="*/ 488486 w 875235"/>
                  <a:gd name="connsiteY105" fmla="*/ 365088 h 826492"/>
                  <a:gd name="connsiteX106" fmla="*/ 465626 w 875235"/>
                  <a:gd name="connsiteY106" fmla="*/ 387948 h 826492"/>
                  <a:gd name="connsiteX107" fmla="*/ 488486 w 875235"/>
                  <a:gd name="connsiteY107" fmla="*/ 410808 h 826492"/>
                  <a:gd name="connsiteX108" fmla="*/ 511346 w 875235"/>
                  <a:gd name="connsiteY108" fmla="*/ 387948 h 826492"/>
                  <a:gd name="connsiteX109" fmla="*/ 488486 w 875235"/>
                  <a:gd name="connsiteY109" fmla="*/ 365088 h 826492"/>
                  <a:gd name="connsiteX110" fmla="*/ 386938 w 875235"/>
                  <a:gd name="connsiteY110" fmla="*/ 365088 h 826492"/>
                  <a:gd name="connsiteX111" fmla="*/ 364078 w 875235"/>
                  <a:gd name="connsiteY111" fmla="*/ 387948 h 826492"/>
                  <a:gd name="connsiteX112" fmla="*/ 386938 w 875235"/>
                  <a:gd name="connsiteY112" fmla="*/ 410808 h 826492"/>
                  <a:gd name="connsiteX113" fmla="*/ 409798 w 875235"/>
                  <a:gd name="connsiteY113" fmla="*/ 387948 h 826492"/>
                  <a:gd name="connsiteX114" fmla="*/ 386938 w 875235"/>
                  <a:gd name="connsiteY114" fmla="*/ 365088 h 826492"/>
                  <a:gd name="connsiteX115" fmla="*/ 160771 w 875235"/>
                  <a:gd name="connsiteY115" fmla="*/ 365088 h 826492"/>
                  <a:gd name="connsiteX116" fmla="*/ 137911 w 875235"/>
                  <a:gd name="connsiteY116" fmla="*/ 387948 h 826492"/>
                  <a:gd name="connsiteX117" fmla="*/ 160771 w 875235"/>
                  <a:gd name="connsiteY117" fmla="*/ 410808 h 826492"/>
                  <a:gd name="connsiteX118" fmla="*/ 183631 w 875235"/>
                  <a:gd name="connsiteY118" fmla="*/ 387948 h 826492"/>
                  <a:gd name="connsiteX119" fmla="*/ 160771 w 875235"/>
                  <a:gd name="connsiteY119" fmla="*/ 365088 h 826492"/>
                  <a:gd name="connsiteX120" fmla="*/ 59223 w 875235"/>
                  <a:gd name="connsiteY120" fmla="*/ 365088 h 826492"/>
                  <a:gd name="connsiteX121" fmla="*/ 36363 w 875235"/>
                  <a:gd name="connsiteY121" fmla="*/ 387948 h 826492"/>
                  <a:gd name="connsiteX122" fmla="*/ 59223 w 875235"/>
                  <a:gd name="connsiteY122" fmla="*/ 410808 h 826492"/>
                  <a:gd name="connsiteX123" fmla="*/ 82083 w 875235"/>
                  <a:gd name="connsiteY123" fmla="*/ 387948 h 826492"/>
                  <a:gd name="connsiteX124" fmla="*/ 59223 w 875235"/>
                  <a:gd name="connsiteY124" fmla="*/ 365088 h 826492"/>
                  <a:gd name="connsiteX125" fmla="*/ 765165 w 875235"/>
                  <a:gd name="connsiteY125" fmla="*/ 335014 h 826492"/>
                  <a:gd name="connsiteX126" fmla="*/ 742305 w 875235"/>
                  <a:gd name="connsiteY126" fmla="*/ 357874 h 826492"/>
                  <a:gd name="connsiteX127" fmla="*/ 765165 w 875235"/>
                  <a:gd name="connsiteY127" fmla="*/ 380734 h 826492"/>
                  <a:gd name="connsiteX128" fmla="*/ 788025 w 875235"/>
                  <a:gd name="connsiteY128" fmla="*/ 357874 h 826492"/>
                  <a:gd name="connsiteX129" fmla="*/ 765165 w 875235"/>
                  <a:gd name="connsiteY129" fmla="*/ 335014 h 826492"/>
                  <a:gd name="connsiteX130" fmla="*/ 437712 w 875235"/>
                  <a:gd name="connsiteY130" fmla="*/ 335014 h 826492"/>
                  <a:gd name="connsiteX131" fmla="*/ 414852 w 875235"/>
                  <a:gd name="connsiteY131" fmla="*/ 357874 h 826492"/>
                  <a:gd name="connsiteX132" fmla="*/ 437712 w 875235"/>
                  <a:gd name="connsiteY132" fmla="*/ 380734 h 826492"/>
                  <a:gd name="connsiteX133" fmla="*/ 460572 w 875235"/>
                  <a:gd name="connsiteY133" fmla="*/ 357874 h 826492"/>
                  <a:gd name="connsiteX134" fmla="*/ 437712 w 875235"/>
                  <a:gd name="connsiteY134" fmla="*/ 335014 h 826492"/>
                  <a:gd name="connsiteX135" fmla="*/ 104693 w 875235"/>
                  <a:gd name="connsiteY135" fmla="*/ 335014 h 826492"/>
                  <a:gd name="connsiteX136" fmla="*/ 81833 w 875235"/>
                  <a:gd name="connsiteY136" fmla="*/ 357874 h 826492"/>
                  <a:gd name="connsiteX137" fmla="*/ 104693 w 875235"/>
                  <a:gd name="connsiteY137" fmla="*/ 380734 h 826492"/>
                  <a:gd name="connsiteX138" fmla="*/ 127553 w 875235"/>
                  <a:gd name="connsiteY138" fmla="*/ 357874 h 826492"/>
                  <a:gd name="connsiteX139" fmla="*/ 104693 w 875235"/>
                  <a:gd name="connsiteY139" fmla="*/ 335014 h 826492"/>
                  <a:gd name="connsiteX140" fmla="*/ 437712 w 875235"/>
                  <a:gd name="connsiteY140" fmla="*/ 138633 h 826492"/>
                  <a:gd name="connsiteX141" fmla="*/ 414852 w 875235"/>
                  <a:gd name="connsiteY141" fmla="*/ 161493 h 826492"/>
                  <a:gd name="connsiteX142" fmla="*/ 437712 w 875235"/>
                  <a:gd name="connsiteY142" fmla="*/ 184353 h 826492"/>
                  <a:gd name="connsiteX143" fmla="*/ 460572 w 875235"/>
                  <a:gd name="connsiteY143" fmla="*/ 161493 h 826492"/>
                  <a:gd name="connsiteX144" fmla="*/ 437712 w 875235"/>
                  <a:gd name="connsiteY144" fmla="*/ 138633 h 826492"/>
                  <a:gd name="connsiteX145" fmla="*/ 488486 w 875235"/>
                  <a:gd name="connsiteY145" fmla="*/ 113932 h 826492"/>
                  <a:gd name="connsiteX146" fmla="*/ 465626 w 875235"/>
                  <a:gd name="connsiteY146" fmla="*/ 136792 h 826492"/>
                  <a:gd name="connsiteX147" fmla="*/ 488486 w 875235"/>
                  <a:gd name="connsiteY147" fmla="*/ 159652 h 826492"/>
                  <a:gd name="connsiteX148" fmla="*/ 511346 w 875235"/>
                  <a:gd name="connsiteY148" fmla="*/ 136792 h 826492"/>
                  <a:gd name="connsiteX149" fmla="*/ 488486 w 875235"/>
                  <a:gd name="connsiteY149" fmla="*/ 113932 h 826492"/>
                  <a:gd name="connsiteX150" fmla="*/ 386938 w 875235"/>
                  <a:gd name="connsiteY150" fmla="*/ 113932 h 826492"/>
                  <a:gd name="connsiteX151" fmla="*/ 364078 w 875235"/>
                  <a:gd name="connsiteY151" fmla="*/ 136792 h 826492"/>
                  <a:gd name="connsiteX152" fmla="*/ 386938 w 875235"/>
                  <a:gd name="connsiteY152" fmla="*/ 159652 h 826492"/>
                  <a:gd name="connsiteX153" fmla="*/ 409798 w 875235"/>
                  <a:gd name="connsiteY153" fmla="*/ 136792 h 826492"/>
                  <a:gd name="connsiteX154" fmla="*/ 386938 w 875235"/>
                  <a:gd name="connsiteY154" fmla="*/ 113932 h 826492"/>
                  <a:gd name="connsiteX155" fmla="*/ 437712 w 875235"/>
                  <a:gd name="connsiteY155" fmla="*/ 81407 h 826492"/>
                  <a:gd name="connsiteX156" fmla="*/ 414852 w 875235"/>
                  <a:gd name="connsiteY156" fmla="*/ 104267 h 826492"/>
                  <a:gd name="connsiteX157" fmla="*/ 437712 w 875235"/>
                  <a:gd name="connsiteY157" fmla="*/ 127127 h 826492"/>
                  <a:gd name="connsiteX158" fmla="*/ 460572 w 875235"/>
                  <a:gd name="connsiteY158" fmla="*/ 104267 h 826492"/>
                  <a:gd name="connsiteX159" fmla="*/ 437712 w 875235"/>
                  <a:gd name="connsiteY159" fmla="*/ 81407 h 826492"/>
                  <a:gd name="connsiteX160" fmla="*/ 488486 w 875235"/>
                  <a:gd name="connsiteY160" fmla="*/ 53529 h 826492"/>
                  <a:gd name="connsiteX161" fmla="*/ 465626 w 875235"/>
                  <a:gd name="connsiteY161" fmla="*/ 76389 h 826492"/>
                  <a:gd name="connsiteX162" fmla="*/ 488486 w 875235"/>
                  <a:gd name="connsiteY162" fmla="*/ 99249 h 826492"/>
                  <a:gd name="connsiteX163" fmla="*/ 511346 w 875235"/>
                  <a:gd name="connsiteY163" fmla="*/ 76389 h 826492"/>
                  <a:gd name="connsiteX164" fmla="*/ 488486 w 875235"/>
                  <a:gd name="connsiteY164" fmla="*/ 53529 h 826492"/>
                  <a:gd name="connsiteX165" fmla="*/ 386938 w 875235"/>
                  <a:gd name="connsiteY165" fmla="*/ 53529 h 826492"/>
                  <a:gd name="connsiteX166" fmla="*/ 364078 w 875235"/>
                  <a:gd name="connsiteY166" fmla="*/ 76389 h 826492"/>
                  <a:gd name="connsiteX167" fmla="*/ 386938 w 875235"/>
                  <a:gd name="connsiteY167" fmla="*/ 99249 h 826492"/>
                  <a:gd name="connsiteX168" fmla="*/ 409798 w 875235"/>
                  <a:gd name="connsiteY168" fmla="*/ 76389 h 826492"/>
                  <a:gd name="connsiteX169" fmla="*/ 386938 w 875235"/>
                  <a:gd name="connsiteY169" fmla="*/ 53529 h 826492"/>
                  <a:gd name="connsiteX170" fmla="*/ 437712 w 875235"/>
                  <a:gd name="connsiteY170" fmla="*/ 24230 h 826492"/>
                  <a:gd name="connsiteX171" fmla="*/ 414852 w 875235"/>
                  <a:gd name="connsiteY171" fmla="*/ 47090 h 826492"/>
                  <a:gd name="connsiteX172" fmla="*/ 437712 w 875235"/>
                  <a:gd name="connsiteY172" fmla="*/ 69950 h 826492"/>
                  <a:gd name="connsiteX173" fmla="*/ 460572 w 875235"/>
                  <a:gd name="connsiteY173" fmla="*/ 47090 h 826492"/>
                  <a:gd name="connsiteX174" fmla="*/ 437712 w 875235"/>
                  <a:gd name="connsiteY174" fmla="*/ 24230 h 826492"/>
                  <a:gd name="connsiteX175" fmla="*/ 437617 w 875235"/>
                  <a:gd name="connsiteY175" fmla="*/ 0 h 826492"/>
                  <a:gd name="connsiteX176" fmla="*/ 545922 w 875235"/>
                  <a:gd name="connsiteY176" fmla="*/ 108305 h 826492"/>
                  <a:gd name="connsiteX177" fmla="*/ 479774 w 875235"/>
                  <a:gd name="connsiteY177" fmla="*/ 208099 h 826492"/>
                  <a:gd name="connsiteX178" fmla="*/ 477170 w 875235"/>
                  <a:gd name="connsiteY178" fmla="*/ 208624 h 826492"/>
                  <a:gd name="connsiteX179" fmla="*/ 477170 w 875235"/>
                  <a:gd name="connsiteY179" fmla="*/ 312925 h 826492"/>
                  <a:gd name="connsiteX180" fmla="*/ 479774 w 875235"/>
                  <a:gd name="connsiteY180" fmla="*/ 313451 h 826492"/>
                  <a:gd name="connsiteX181" fmla="*/ 537411 w 875235"/>
                  <a:gd name="connsiteY181" fmla="*/ 371087 h 826492"/>
                  <a:gd name="connsiteX182" fmla="*/ 537655 w 875235"/>
                  <a:gd name="connsiteY182" fmla="*/ 372297 h 826492"/>
                  <a:gd name="connsiteX183" fmla="*/ 666891 w 875235"/>
                  <a:gd name="connsiteY183" fmla="*/ 372297 h 826492"/>
                  <a:gd name="connsiteX184" fmla="*/ 667135 w 875235"/>
                  <a:gd name="connsiteY184" fmla="*/ 371088 h 826492"/>
                  <a:gd name="connsiteX185" fmla="*/ 766930 w 875235"/>
                  <a:gd name="connsiteY185" fmla="*/ 304940 h 826492"/>
                  <a:gd name="connsiteX186" fmla="*/ 875235 w 875235"/>
                  <a:gd name="connsiteY186" fmla="*/ 413246 h 826492"/>
                  <a:gd name="connsiteX187" fmla="*/ 766930 w 875235"/>
                  <a:gd name="connsiteY187" fmla="*/ 521551 h 826492"/>
                  <a:gd name="connsiteX188" fmla="*/ 667135 w 875235"/>
                  <a:gd name="connsiteY188" fmla="*/ 455403 h 826492"/>
                  <a:gd name="connsiteX189" fmla="*/ 666328 w 875235"/>
                  <a:gd name="connsiteY189" fmla="*/ 451404 h 826492"/>
                  <a:gd name="connsiteX190" fmla="*/ 538218 w 875235"/>
                  <a:gd name="connsiteY190" fmla="*/ 451404 h 826492"/>
                  <a:gd name="connsiteX191" fmla="*/ 537411 w 875235"/>
                  <a:gd name="connsiteY191" fmla="*/ 455402 h 826492"/>
                  <a:gd name="connsiteX192" fmla="*/ 479774 w 875235"/>
                  <a:gd name="connsiteY192" fmla="*/ 513039 h 826492"/>
                  <a:gd name="connsiteX193" fmla="*/ 477170 w 875235"/>
                  <a:gd name="connsiteY193" fmla="*/ 513565 h 826492"/>
                  <a:gd name="connsiteX194" fmla="*/ 477170 w 875235"/>
                  <a:gd name="connsiteY194" fmla="*/ 617868 h 826492"/>
                  <a:gd name="connsiteX195" fmla="*/ 479774 w 875235"/>
                  <a:gd name="connsiteY195" fmla="*/ 618393 h 826492"/>
                  <a:gd name="connsiteX196" fmla="*/ 545922 w 875235"/>
                  <a:gd name="connsiteY196" fmla="*/ 718187 h 826492"/>
                  <a:gd name="connsiteX197" fmla="*/ 437617 w 875235"/>
                  <a:gd name="connsiteY197" fmla="*/ 826492 h 826492"/>
                  <a:gd name="connsiteX198" fmla="*/ 329312 w 875235"/>
                  <a:gd name="connsiteY198" fmla="*/ 718187 h 826492"/>
                  <a:gd name="connsiteX199" fmla="*/ 395460 w 875235"/>
                  <a:gd name="connsiteY199" fmla="*/ 618393 h 826492"/>
                  <a:gd name="connsiteX200" fmla="*/ 398064 w 875235"/>
                  <a:gd name="connsiteY200" fmla="*/ 617868 h 826492"/>
                  <a:gd name="connsiteX201" fmla="*/ 398064 w 875235"/>
                  <a:gd name="connsiteY201" fmla="*/ 513565 h 826492"/>
                  <a:gd name="connsiteX202" fmla="*/ 395460 w 875235"/>
                  <a:gd name="connsiteY202" fmla="*/ 513039 h 826492"/>
                  <a:gd name="connsiteX203" fmla="*/ 337823 w 875235"/>
                  <a:gd name="connsiteY203" fmla="*/ 455402 h 826492"/>
                  <a:gd name="connsiteX204" fmla="*/ 337016 w 875235"/>
                  <a:gd name="connsiteY204" fmla="*/ 451404 h 826492"/>
                  <a:gd name="connsiteX205" fmla="*/ 208906 w 875235"/>
                  <a:gd name="connsiteY205" fmla="*/ 451404 h 826492"/>
                  <a:gd name="connsiteX206" fmla="*/ 208099 w 875235"/>
                  <a:gd name="connsiteY206" fmla="*/ 455403 h 826492"/>
                  <a:gd name="connsiteX207" fmla="*/ 108305 w 875235"/>
                  <a:gd name="connsiteY207" fmla="*/ 521551 h 826492"/>
                  <a:gd name="connsiteX208" fmla="*/ 0 w 875235"/>
                  <a:gd name="connsiteY208" fmla="*/ 413246 h 826492"/>
                  <a:gd name="connsiteX209" fmla="*/ 108305 w 875235"/>
                  <a:gd name="connsiteY209" fmla="*/ 304940 h 826492"/>
                  <a:gd name="connsiteX210" fmla="*/ 208099 w 875235"/>
                  <a:gd name="connsiteY210" fmla="*/ 371088 h 826492"/>
                  <a:gd name="connsiteX211" fmla="*/ 208343 w 875235"/>
                  <a:gd name="connsiteY211" fmla="*/ 372297 h 826492"/>
                  <a:gd name="connsiteX212" fmla="*/ 337579 w 875235"/>
                  <a:gd name="connsiteY212" fmla="*/ 372297 h 826492"/>
                  <a:gd name="connsiteX213" fmla="*/ 337823 w 875235"/>
                  <a:gd name="connsiteY213" fmla="*/ 371087 h 826492"/>
                  <a:gd name="connsiteX214" fmla="*/ 395460 w 875235"/>
                  <a:gd name="connsiteY214" fmla="*/ 313451 h 826492"/>
                  <a:gd name="connsiteX215" fmla="*/ 398064 w 875235"/>
                  <a:gd name="connsiteY215" fmla="*/ 312925 h 826492"/>
                  <a:gd name="connsiteX216" fmla="*/ 398064 w 875235"/>
                  <a:gd name="connsiteY216" fmla="*/ 208624 h 826492"/>
                  <a:gd name="connsiteX217" fmla="*/ 395460 w 875235"/>
                  <a:gd name="connsiteY217" fmla="*/ 208099 h 826492"/>
                  <a:gd name="connsiteX218" fmla="*/ 329312 w 875235"/>
                  <a:gd name="connsiteY218" fmla="*/ 108305 h 826492"/>
                  <a:gd name="connsiteX219" fmla="*/ 437617 w 875235"/>
                  <a:gd name="connsiteY219" fmla="*/ 0 h 826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875235" h="826492">
                    <a:moveTo>
                      <a:pt x="437712" y="753602"/>
                    </a:moveTo>
                    <a:cubicBezTo>
                      <a:pt x="425087" y="753602"/>
                      <a:pt x="414852" y="763837"/>
                      <a:pt x="414852" y="776462"/>
                    </a:cubicBezTo>
                    <a:cubicBezTo>
                      <a:pt x="414852" y="789087"/>
                      <a:pt x="425087" y="799322"/>
                      <a:pt x="437712" y="799322"/>
                    </a:cubicBezTo>
                    <a:cubicBezTo>
                      <a:pt x="450337" y="799322"/>
                      <a:pt x="460572" y="789087"/>
                      <a:pt x="460572" y="776462"/>
                    </a:cubicBezTo>
                    <a:cubicBezTo>
                      <a:pt x="460572" y="763837"/>
                      <a:pt x="450337" y="753602"/>
                      <a:pt x="437712" y="753602"/>
                    </a:cubicBezTo>
                    <a:close/>
                    <a:moveTo>
                      <a:pt x="488486" y="726187"/>
                    </a:moveTo>
                    <a:cubicBezTo>
                      <a:pt x="475861" y="726187"/>
                      <a:pt x="465626" y="736422"/>
                      <a:pt x="465626" y="749047"/>
                    </a:cubicBezTo>
                    <a:cubicBezTo>
                      <a:pt x="465626" y="761672"/>
                      <a:pt x="475861" y="771907"/>
                      <a:pt x="488486" y="771907"/>
                    </a:cubicBezTo>
                    <a:cubicBezTo>
                      <a:pt x="501111" y="771907"/>
                      <a:pt x="511346" y="761672"/>
                      <a:pt x="511346" y="749047"/>
                    </a:cubicBezTo>
                    <a:cubicBezTo>
                      <a:pt x="511346" y="736422"/>
                      <a:pt x="501111" y="726187"/>
                      <a:pt x="488486" y="726187"/>
                    </a:cubicBezTo>
                    <a:close/>
                    <a:moveTo>
                      <a:pt x="386938" y="726187"/>
                    </a:moveTo>
                    <a:cubicBezTo>
                      <a:pt x="374313" y="726187"/>
                      <a:pt x="364078" y="736422"/>
                      <a:pt x="364078" y="749047"/>
                    </a:cubicBezTo>
                    <a:cubicBezTo>
                      <a:pt x="364078" y="761672"/>
                      <a:pt x="374313" y="771907"/>
                      <a:pt x="386938" y="771907"/>
                    </a:cubicBezTo>
                    <a:cubicBezTo>
                      <a:pt x="399563" y="771907"/>
                      <a:pt x="409798" y="761672"/>
                      <a:pt x="409798" y="749047"/>
                    </a:cubicBezTo>
                    <a:cubicBezTo>
                      <a:pt x="409798" y="736422"/>
                      <a:pt x="399563" y="726187"/>
                      <a:pt x="386938" y="726187"/>
                    </a:cubicBezTo>
                    <a:close/>
                    <a:moveTo>
                      <a:pt x="437712" y="696400"/>
                    </a:moveTo>
                    <a:cubicBezTo>
                      <a:pt x="425087" y="696400"/>
                      <a:pt x="414852" y="706635"/>
                      <a:pt x="414852" y="719260"/>
                    </a:cubicBezTo>
                    <a:cubicBezTo>
                      <a:pt x="414852" y="731885"/>
                      <a:pt x="425087" y="742120"/>
                      <a:pt x="437712" y="742120"/>
                    </a:cubicBezTo>
                    <a:cubicBezTo>
                      <a:pt x="450337" y="742120"/>
                      <a:pt x="460572" y="731885"/>
                      <a:pt x="460572" y="719260"/>
                    </a:cubicBezTo>
                    <a:cubicBezTo>
                      <a:pt x="460572" y="706635"/>
                      <a:pt x="450337" y="696400"/>
                      <a:pt x="437712" y="696400"/>
                    </a:cubicBezTo>
                    <a:close/>
                    <a:moveTo>
                      <a:pt x="488486" y="665784"/>
                    </a:moveTo>
                    <a:cubicBezTo>
                      <a:pt x="475861" y="665784"/>
                      <a:pt x="465626" y="676019"/>
                      <a:pt x="465626" y="688644"/>
                    </a:cubicBezTo>
                    <a:cubicBezTo>
                      <a:pt x="465626" y="701269"/>
                      <a:pt x="475861" y="711504"/>
                      <a:pt x="488486" y="711504"/>
                    </a:cubicBezTo>
                    <a:cubicBezTo>
                      <a:pt x="501111" y="711504"/>
                      <a:pt x="511346" y="701269"/>
                      <a:pt x="511346" y="688644"/>
                    </a:cubicBezTo>
                    <a:cubicBezTo>
                      <a:pt x="511346" y="676019"/>
                      <a:pt x="501111" y="665784"/>
                      <a:pt x="488486" y="665784"/>
                    </a:cubicBezTo>
                    <a:close/>
                    <a:moveTo>
                      <a:pt x="386938" y="665784"/>
                    </a:moveTo>
                    <a:cubicBezTo>
                      <a:pt x="374313" y="665784"/>
                      <a:pt x="364078" y="676019"/>
                      <a:pt x="364078" y="688644"/>
                    </a:cubicBezTo>
                    <a:cubicBezTo>
                      <a:pt x="364078" y="701269"/>
                      <a:pt x="374313" y="711504"/>
                      <a:pt x="386938" y="711504"/>
                    </a:cubicBezTo>
                    <a:cubicBezTo>
                      <a:pt x="399563" y="711504"/>
                      <a:pt x="409798" y="701269"/>
                      <a:pt x="409798" y="688644"/>
                    </a:cubicBezTo>
                    <a:cubicBezTo>
                      <a:pt x="409798" y="676019"/>
                      <a:pt x="399563" y="665784"/>
                      <a:pt x="386938" y="665784"/>
                    </a:cubicBezTo>
                    <a:close/>
                    <a:moveTo>
                      <a:pt x="437712" y="639199"/>
                    </a:moveTo>
                    <a:cubicBezTo>
                      <a:pt x="425087" y="639199"/>
                      <a:pt x="414852" y="649434"/>
                      <a:pt x="414852" y="662059"/>
                    </a:cubicBezTo>
                    <a:cubicBezTo>
                      <a:pt x="414852" y="674684"/>
                      <a:pt x="425087" y="684919"/>
                      <a:pt x="437712" y="684919"/>
                    </a:cubicBezTo>
                    <a:cubicBezTo>
                      <a:pt x="450337" y="684919"/>
                      <a:pt x="460572" y="674684"/>
                      <a:pt x="460572" y="662059"/>
                    </a:cubicBezTo>
                    <a:cubicBezTo>
                      <a:pt x="460572" y="649434"/>
                      <a:pt x="450337" y="639199"/>
                      <a:pt x="437712" y="639199"/>
                    </a:cubicBezTo>
                    <a:close/>
                    <a:moveTo>
                      <a:pt x="765165" y="449417"/>
                    </a:moveTo>
                    <a:cubicBezTo>
                      <a:pt x="752540" y="449417"/>
                      <a:pt x="742305" y="459652"/>
                      <a:pt x="742305" y="472277"/>
                    </a:cubicBezTo>
                    <a:cubicBezTo>
                      <a:pt x="742305" y="484902"/>
                      <a:pt x="752540" y="495137"/>
                      <a:pt x="765165" y="495137"/>
                    </a:cubicBezTo>
                    <a:cubicBezTo>
                      <a:pt x="777790" y="495137"/>
                      <a:pt x="788025" y="484902"/>
                      <a:pt x="788025" y="472277"/>
                    </a:cubicBezTo>
                    <a:cubicBezTo>
                      <a:pt x="788025" y="459652"/>
                      <a:pt x="777790" y="449417"/>
                      <a:pt x="765165" y="449417"/>
                    </a:cubicBezTo>
                    <a:close/>
                    <a:moveTo>
                      <a:pt x="437712" y="449417"/>
                    </a:moveTo>
                    <a:cubicBezTo>
                      <a:pt x="425087" y="449417"/>
                      <a:pt x="414852" y="459652"/>
                      <a:pt x="414852" y="472277"/>
                    </a:cubicBezTo>
                    <a:cubicBezTo>
                      <a:pt x="414852" y="484902"/>
                      <a:pt x="425087" y="495137"/>
                      <a:pt x="437712" y="495137"/>
                    </a:cubicBezTo>
                    <a:cubicBezTo>
                      <a:pt x="450337" y="495137"/>
                      <a:pt x="460572" y="484902"/>
                      <a:pt x="460572" y="472277"/>
                    </a:cubicBezTo>
                    <a:cubicBezTo>
                      <a:pt x="460572" y="459652"/>
                      <a:pt x="450337" y="449417"/>
                      <a:pt x="437712" y="449417"/>
                    </a:cubicBezTo>
                    <a:close/>
                    <a:moveTo>
                      <a:pt x="104693" y="449417"/>
                    </a:moveTo>
                    <a:cubicBezTo>
                      <a:pt x="92068" y="449417"/>
                      <a:pt x="81833" y="459652"/>
                      <a:pt x="81833" y="472277"/>
                    </a:cubicBezTo>
                    <a:cubicBezTo>
                      <a:pt x="81833" y="484902"/>
                      <a:pt x="92068" y="495137"/>
                      <a:pt x="104693" y="495137"/>
                    </a:cubicBezTo>
                    <a:cubicBezTo>
                      <a:pt x="117318" y="495137"/>
                      <a:pt x="127553" y="484902"/>
                      <a:pt x="127553" y="472277"/>
                    </a:cubicBezTo>
                    <a:cubicBezTo>
                      <a:pt x="127553" y="459652"/>
                      <a:pt x="117318" y="449417"/>
                      <a:pt x="104693" y="449417"/>
                    </a:cubicBezTo>
                    <a:close/>
                    <a:moveTo>
                      <a:pt x="815266" y="425491"/>
                    </a:moveTo>
                    <a:cubicBezTo>
                      <a:pt x="802641" y="425491"/>
                      <a:pt x="792406" y="435726"/>
                      <a:pt x="792406" y="448351"/>
                    </a:cubicBezTo>
                    <a:cubicBezTo>
                      <a:pt x="792406" y="460976"/>
                      <a:pt x="802641" y="471211"/>
                      <a:pt x="815266" y="471211"/>
                    </a:cubicBezTo>
                    <a:cubicBezTo>
                      <a:pt x="827891" y="471211"/>
                      <a:pt x="838126" y="460976"/>
                      <a:pt x="838126" y="448351"/>
                    </a:cubicBezTo>
                    <a:cubicBezTo>
                      <a:pt x="838126" y="435726"/>
                      <a:pt x="827891" y="425491"/>
                      <a:pt x="815266" y="425491"/>
                    </a:cubicBezTo>
                    <a:close/>
                    <a:moveTo>
                      <a:pt x="713718" y="425491"/>
                    </a:moveTo>
                    <a:cubicBezTo>
                      <a:pt x="701093" y="425491"/>
                      <a:pt x="690858" y="435726"/>
                      <a:pt x="690858" y="448351"/>
                    </a:cubicBezTo>
                    <a:cubicBezTo>
                      <a:pt x="690858" y="460976"/>
                      <a:pt x="701093" y="471211"/>
                      <a:pt x="713718" y="471211"/>
                    </a:cubicBezTo>
                    <a:cubicBezTo>
                      <a:pt x="726343" y="471211"/>
                      <a:pt x="736578" y="460976"/>
                      <a:pt x="736578" y="448351"/>
                    </a:cubicBezTo>
                    <a:cubicBezTo>
                      <a:pt x="736578" y="435726"/>
                      <a:pt x="726343" y="425491"/>
                      <a:pt x="713718" y="425491"/>
                    </a:cubicBezTo>
                    <a:close/>
                    <a:moveTo>
                      <a:pt x="488486" y="425491"/>
                    </a:moveTo>
                    <a:cubicBezTo>
                      <a:pt x="475861" y="425491"/>
                      <a:pt x="465626" y="435726"/>
                      <a:pt x="465626" y="448351"/>
                    </a:cubicBezTo>
                    <a:cubicBezTo>
                      <a:pt x="465626" y="460976"/>
                      <a:pt x="475861" y="471211"/>
                      <a:pt x="488486" y="471211"/>
                    </a:cubicBezTo>
                    <a:cubicBezTo>
                      <a:pt x="501111" y="471211"/>
                      <a:pt x="511346" y="460976"/>
                      <a:pt x="511346" y="448351"/>
                    </a:cubicBezTo>
                    <a:cubicBezTo>
                      <a:pt x="511346" y="435726"/>
                      <a:pt x="501111" y="425491"/>
                      <a:pt x="488486" y="425491"/>
                    </a:cubicBezTo>
                    <a:close/>
                    <a:moveTo>
                      <a:pt x="386938" y="425491"/>
                    </a:moveTo>
                    <a:cubicBezTo>
                      <a:pt x="374313" y="425491"/>
                      <a:pt x="364078" y="435726"/>
                      <a:pt x="364078" y="448351"/>
                    </a:cubicBezTo>
                    <a:cubicBezTo>
                      <a:pt x="364078" y="460976"/>
                      <a:pt x="374313" y="471211"/>
                      <a:pt x="386938" y="471211"/>
                    </a:cubicBezTo>
                    <a:cubicBezTo>
                      <a:pt x="399563" y="471211"/>
                      <a:pt x="409798" y="460976"/>
                      <a:pt x="409798" y="448351"/>
                    </a:cubicBezTo>
                    <a:cubicBezTo>
                      <a:pt x="409798" y="435726"/>
                      <a:pt x="399563" y="425491"/>
                      <a:pt x="386938" y="425491"/>
                    </a:cubicBezTo>
                    <a:close/>
                    <a:moveTo>
                      <a:pt x="160771" y="425491"/>
                    </a:moveTo>
                    <a:cubicBezTo>
                      <a:pt x="148146" y="425491"/>
                      <a:pt x="137911" y="435726"/>
                      <a:pt x="137911" y="448351"/>
                    </a:cubicBezTo>
                    <a:cubicBezTo>
                      <a:pt x="137911" y="460976"/>
                      <a:pt x="148146" y="471211"/>
                      <a:pt x="160771" y="471211"/>
                    </a:cubicBezTo>
                    <a:cubicBezTo>
                      <a:pt x="173396" y="471211"/>
                      <a:pt x="183631" y="460976"/>
                      <a:pt x="183631" y="448351"/>
                    </a:cubicBezTo>
                    <a:cubicBezTo>
                      <a:pt x="183631" y="435726"/>
                      <a:pt x="173396" y="425491"/>
                      <a:pt x="160771" y="425491"/>
                    </a:cubicBezTo>
                    <a:close/>
                    <a:moveTo>
                      <a:pt x="59223" y="425491"/>
                    </a:moveTo>
                    <a:cubicBezTo>
                      <a:pt x="46598" y="425491"/>
                      <a:pt x="36363" y="435726"/>
                      <a:pt x="36363" y="448351"/>
                    </a:cubicBezTo>
                    <a:cubicBezTo>
                      <a:pt x="36363" y="460976"/>
                      <a:pt x="46598" y="471211"/>
                      <a:pt x="59223" y="471211"/>
                    </a:cubicBezTo>
                    <a:cubicBezTo>
                      <a:pt x="71848" y="471211"/>
                      <a:pt x="82083" y="460976"/>
                      <a:pt x="82083" y="448351"/>
                    </a:cubicBezTo>
                    <a:cubicBezTo>
                      <a:pt x="82083" y="435726"/>
                      <a:pt x="71848" y="425491"/>
                      <a:pt x="59223" y="425491"/>
                    </a:cubicBezTo>
                    <a:close/>
                    <a:moveTo>
                      <a:pt x="763819" y="393660"/>
                    </a:moveTo>
                    <a:cubicBezTo>
                      <a:pt x="751194" y="393660"/>
                      <a:pt x="740959" y="403895"/>
                      <a:pt x="740959" y="416520"/>
                    </a:cubicBezTo>
                    <a:cubicBezTo>
                      <a:pt x="740959" y="429145"/>
                      <a:pt x="751194" y="439380"/>
                      <a:pt x="763819" y="439380"/>
                    </a:cubicBezTo>
                    <a:cubicBezTo>
                      <a:pt x="776444" y="439380"/>
                      <a:pt x="786679" y="429145"/>
                      <a:pt x="786679" y="416520"/>
                    </a:cubicBezTo>
                    <a:cubicBezTo>
                      <a:pt x="786679" y="403895"/>
                      <a:pt x="776444" y="393660"/>
                      <a:pt x="763819" y="393660"/>
                    </a:cubicBezTo>
                    <a:close/>
                    <a:moveTo>
                      <a:pt x="437712" y="393660"/>
                    </a:moveTo>
                    <a:cubicBezTo>
                      <a:pt x="425087" y="393660"/>
                      <a:pt x="414852" y="403895"/>
                      <a:pt x="414852" y="416520"/>
                    </a:cubicBezTo>
                    <a:cubicBezTo>
                      <a:pt x="414852" y="429145"/>
                      <a:pt x="425087" y="439380"/>
                      <a:pt x="437712" y="439380"/>
                    </a:cubicBezTo>
                    <a:cubicBezTo>
                      <a:pt x="450337" y="439380"/>
                      <a:pt x="460572" y="429145"/>
                      <a:pt x="460572" y="416520"/>
                    </a:cubicBezTo>
                    <a:cubicBezTo>
                      <a:pt x="460572" y="403895"/>
                      <a:pt x="450337" y="393660"/>
                      <a:pt x="437712" y="393660"/>
                    </a:cubicBezTo>
                    <a:close/>
                    <a:moveTo>
                      <a:pt x="104266" y="393660"/>
                    </a:moveTo>
                    <a:cubicBezTo>
                      <a:pt x="91641" y="393660"/>
                      <a:pt x="81406" y="403895"/>
                      <a:pt x="81406" y="416520"/>
                    </a:cubicBezTo>
                    <a:cubicBezTo>
                      <a:pt x="81406" y="429145"/>
                      <a:pt x="91641" y="439380"/>
                      <a:pt x="104266" y="439380"/>
                    </a:cubicBezTo>
                    <a:cubicBezTo>
                      <a:pt x="116891" y="439380"/>
                      <a:pt x="127126" y="429145"/>
                      <a:pt x="127126" y="416520"/>
                    </a:cubicBezTo>
                    <a:cubicBezTo>
                      <a:pt x="127126" y="403895"/>
                      <a:pt x="116891" y="393660"/>
                      <a:pt x="104266" y="393660"/>
                    </a:cubicBezTo>
                    <a:close/>
                    <a:moveTo>
                      <a:pt x="815266" y="365088"/>
                    </a:moveTo>
                    <a:cubicBezTo>
                      <a:pt x="802641" y="365088"/>
                      <a:pt x="792406" y="375323"/>
                      <a:pt x="792406" y="387948"/>
                    </a:cubicBezTo>
                    <a:cubicBezTo>
                      <a:pt x="792406" y="400573"/>
                      <a:pt x="802641" y="410808"/>
                      <a:pt x="815266" y="410808"/>
                    </a:cubicBezTo>
                    <a:cubicBezTo>
                      <a:pt x="827891" y="410808"/>
                      <a:pt x="838126" y="400573"/>
                      <a:pt x="838126" y="387948"/>
                    </a:cubicBezTo>
                    <a:cubicBezTo>
                      <a:pt x="838126" y="375323"/>
                      <a:pt x="827891" y="365088"/>
                      <a:pt x="815266" y="365088"/>
                    </a:cubicBezTo>
                    <a:close/>
                    <a:moveTo>
                      <a:pt x="713718" y="365088"/>
                    </a:moveTo>
                    <a:cubicBezTo>
                      <a:pt x="701093" y="365088"/>
                      <a:pt x="690858" y="375323"/>
                      <a:pt x="690858" y="387948"/>
                    </a:cubicBezTo>
                    <a:cubicBezTo>
                      <a:pt x="690858" y="400573"/>
                      <a:pt x="701093" y="410808"/>
                      <a:pt x="713718" y="410808"/>
                    </a:cubicBezTo>
                    <a:cubicBezTo>
                      <a:pt x="726343" y="410808"/>
                      <a:pt x="736578" y="400573"/>
                      <a:pt x="736578" y="387948"/>
                    </a:cubicBezTo>
                    <a:cubicBezTo>
                      <a:pt x="736578" y="375323"/>
                      <a:pt x="726343" y="365088"/>
                      <a:pt x="713718" y="365088"/>
                    </a:cubicBezTo>
                    <a:close/>
                    <a:moveTo>
                      <a:pt x="488486" y="365088"/>
                    </a:moveTo>
                    <a:cubicBezTo>
                      <a:pt x="475861" y="365088"/>
                      <a:pt x="465626" y="375323"/>
                      <a:pt x="465626" y="387948"/>
                    </a:cubicBezTo>
                    <a:cubicBezTo>
                      <a:pt x="465626" y="400573"/>
                      <a:pt x="475861" y="410808"/>
                      <a:pt x="488486" y="410808"/>
                    </a:cubicBezTo>
                    <a:cubicBezTo>
                      <a:pt x="501111" y="410808"/>
                      <a:pt x="511346" y="400573"/>
                      <a:pt x="511346" y="387948"/>
                    </a:cubicBezTo>
                    <a:cubicBezTo>
                      <a:pt x="511346" y="375323"/>
                      <a:pt x="501111" y="365088"/>
                      <a:pt x="488486" y="365088"/>
                    </a:cubicBezTo>
                    <a:close/>
                    <a:moveTo>
                      <a:pt x="386938" y="365088"/>
                    </a:moveTo>
                    <a:cubicBezTo>
                      <a:pt x="374313" y="365088"/>
                      <a:pt x="364078" y="375323"/>
                      <a:pt x="364078" y="387948"/>
                    </a:cubicBezTo>
                    <a:cubicBezTo>
                      <a:pt x="364078" y="400573"/>
                      <a:pt x="374313" y="410808"/>
                      <a:pt x="386938" y="410808"/>
                    </a:cubicBezTo>
                    <a:cubicBezTo>
                      <a:pt x="399563" y="410808"/>
                      <a:pt x="409798" y="400573"/>
                      <a:pt x="409798" y="387948"/>
                    </a:cubicBezTo>
                    <a:cubicBezTo>
                      <a:pt x="409798" y="375323"/>
                      <a:pt x="399563" y="365088"/>
                      <a:pt x="386938" y="365088"/>
                    </a:cubicBezTo>
                    <a:close/>
                    <a:moveTo>
                      <a:pt x="160771" y="365088"/>
                    </a:moveTo>
                    <a:cubicBezTo>
                      <a:pt x="148146" y="365088"/>
                      <a:pt x="137911" y="375323"/>
                      <a:pt x="137911" y="387948"/>
                    </a:cubicBezTo>
                    <a:cubicBezTo>
                      <a:pt x="137911" y="400573"/>
                      <a:pt x="148146" y="410808"/>
                      <a:pt x="160771" y="410808"/>
                    </a:cubicBezTo>
                    <a:cubicBezTo>
                      <a:pt x="173396" y="410808"/>
                      <a:pt x="183631" y="400573"/>
                      <a:pt x="183631" y="387948"/>
                    </a:cubicBezTo>
                    <a:cubicBezTo>
                      <a:pt x="183631" y="375323"/>
                      <a:pt x="173396" y="365088"/>
                      <a:pt x="160771" y="365088"/>
                    </a:cubicBezTo>
                    <a:close/>
                    <a:moveTo>
                      <a:pt x="59223" y="365088"/>
                    </a:moveTo>
                    <a:cubicBezTo>
                      <a:pt x="46598" y="365088"/>
                      <a:pt x="36363" y="375323"/>
                      <a:pt x="36363" y="387948"/>
                    </a:cubicBezTo>
                    <a:cubicBezTo>
                      <a:pt x="36363" y="400573"/>
                      <a:pt x="46598" y="410808"/>
                      <a:pt x="59223" y="410808"/>
                    </a:cubicBezTo>
                    <a:cubicBezTo>
                      <a:pt x="71848" y="410808"/>
                      <a:pt x="82083" y="400573"/>
                      <a:pt x="82083" y="387948"/>
                    </a:cubicBezTo>
                    <a:cubicBezTo>
                      <a:pt x="82083" y="375323"/>
                      <a:pt x="71848" y="365088"/>
                      <a:pt x="59223" y="365088"/>
                    </a:cubicBezTo>
                    <a:close/>
                    <a:moveTo>
                      <a:pt x="765165" y="335014"/>
                    </a:moveTo>
                    <a:cubicBezTo>
                      <a:pt x="752540" y="335014"/>
                      <a:pt x="742305" y="345249"/>
                      <a:pt x="742305" y="357874"/>
                    </a:cubicBezTo>
                    <a:cubicBezTo>
                      <a:pt x="742305" y="370499"/>
                      <a:pt x="752540" y="380734"/>
                      <a:pt x="765165" y="380734"/>
                    </a:cubicBezTo>
                    <a:cubicBezTo>
                      <a:pt x="777790" y="380734"/>
                      <a:pt x="788025" y="370499"/>
                      <a:pt x="788025" y="357874"/>
                    </a:cubicBezTo>
                    <a:cubicBezTo>
                      <a:pt x="788025" y="345249"/>
                      <a:pt x="777790" y="335014"/>
                      <a:pt x="765165" y="335014"/>
                    </a:cubicBezTo>
                    <a:close/>
                    <a:moveTo>
                      <a:pt x="437712" y="335014"/>
                    </a:moveTo>
                    <a:cubicBezTo>
                      <a:pt x="425087" y="335014"/>
                      <a:pt x="414852" y="345249"/>
                      <a:pt x="414852" y="357874"/>
                    </a:cubicBezTo>
                    <a:cubicBezTo>
                      <a:pt x="414852" y="370499"/>
                      <a:pt x="425087" y="380734"/>
                      <a:pt x="437712" y="380734"/>
                    </a:cubicBezTo>
                    <a:cubicBezTo>
                      <a:pt x="450337" y="380734"/>
                      <a:pt x="460572" y="370499"/>
                      <a:pt x="460572" y="357874"/>
                    </a:cubicBezTo>
                    <a:cubicBezTo>
                      <a:pt x="460572" y="345249"/>
                      <a:pt x="450337" y="335014"/>
                      <a:pt x="437712" y="335014"/>
                    </a:cubicBezTo>
                    <a:close/>
                    <a:moveTo>
                      <a:pt x="104693" y="335014"/>
                    </a:moveTo>
                    <a:cubicBezTo>
                      <a:pt x="92068" y="335014"/>
                      <a:pt x="81833" y="345249"/>
                      <a:pt x="81833" y="357874"/>
                    </a:cubicBezTo>
                    <a:cubicBezTo>
                      <a:pt x="81833" y="370499"/>
                      <a:pt x="92068" y="380734"/>
                      <a:pt x="104693" y="380734"/>
                    </a:cubicBezTo>
                    <a:cubicBezTo>
                      <a:pt x="117318" y="380734"/>
                      <a:pt x="127553" y="370499"/>
                      <a:pt x="127553" y="357874"/>
                    </a:cubicBezTo>
                    <a:cubicBezTo>
                      <a:pt x="127553" y="345249"/>
                      <a:pt x="117318" y="335014"/>
                      <a:pt x="104693" y="335014"/>
                    </a:cubicBezTo>
                    <a:close/>
                    <a:moveTo>
                      <a:pt x="437712" y="138633"/>
                    </a:moveTo>
                    <a:cubicBezTo>
                      <a:pt x="425087" y="138633"/>
                      <a:pt x="414852" y="148868"/>
                      <a:pt x="414852" y="161493"/>
                    </a:cubicBezTo>
                    <a:cubicBezTo>
                      <a:pt x="414852" y="174118"/>
                      <a:pt x="425087" y="184353"/>
                      <a:pt x="437712" y="184353"/>
                    </a:cubicBezTo>
                    <a:cubicBezTo>
                      <a:pt x="450337" y="184353"/>
                      <a:pt x="460572" y="174118"/>
                      <a:pt x="460572" y="161493"/>
                    </a:cubicBezTo>
                    <a:cubicBezTo>
                      <a:pt x="460572" y="148868"/>
                      <a:pt x="450337" y="138633"/>
                      <a:pt x="437712" y="138633"/>
                    </a:cubicBezTo>
                    <a:close/>
                    <a:moveTo>
                      <a:pt x="488486" y="113932"/>
                    </a:moveTo>
                    <a:cubicBezTo>
                      <a:pt x="475861" y="113932"/>
                      <a:pt x="465626" y="124167"/>
                      <a:pt x="465626" y="136792"/>
                    </a:cubicBezTo>
                    <a:cubicBezTo>
                      <a:pt x="465626" y="149417"/>
                      <a:pt x="475861" y="159652"/>
                      <a:pt x="488486" y="159652"/>
                    </a:cubicBezTo>
                    <a:cubicBezTo>
                      <a:pt x="501111" y="159652"/>
                      <a:pt x="511346" y="149417"/>
                      <a:pt x="511346" y="136792"/>
                    </a:cubicBezTo>
                    <a:cubicBezTo>
                      <a:pt x="511346" y="124167"/>
                      <a:pt x="501111" y="113932"/>
                      <a:pt x="488486" y="113932"/>
                    </a:cubicBezTo>
                    <a:close/>
                    <a:moveTo>
                      <a:pt x="386938" y="113932"/>
                    </a:moveTo>
                    <a:cubicBezTo>
                      <a:pt x="374313" y="113932"/>
                      <a:pt x="364078" y="124167"/>
                      <a:pt x="364078" y="136792"/>
                    </a:cubicBezTo>
                    <a:cubicBezTo>
                      <a:pt x="364078" y="149417"/>
                      <a:pt x="374313" y="159652"/>
                      <a:pt x="386938" y="159652"/>
                    </a:cubicBezTo>
                    <a:cubicBezTo>
                      <a:pt x="399563" y="159652"/>
                      <a:pt x="409798" y="149417"/>
                      <a:pt x="409798" y="136792"/>
                    </a:cubicBezTo>
                    <a:cubicBezTo>
                      <a:pt x="409798" y="124167"/>
                      <a:pt x="399563" y="113932"/>
                      <a:pt x="386938" y="113932"/>
                    </a:cubicBezTo>
                    <a:close/>
                    <a:moveTo>
                      <a:pt x="437712" y="81407"/>
                    </a:moveTo>
                    <a:cubicBezTo>
                      <a:pt x="425087" y="81407"/>
                      <a:pt x="414852" y="91642"/>
                      <a:pt x="414852" y="104267"/>
                    </a:cubicBezTo>
                    <a:cubicBezTo>
                      <a:pt x="414852" y="116892"/>
                      <a:pt x="425087" y="127127"/>
                      <a:pt x="437712" y="127127"/>
                    </a:cubicBezTo>
                    <a:cubicBezTo>
                      <a:pt x="450337" y="127127"/>
                      <a:pt x="460572" y="116892"/>
                      <a:pt x="460572" y="104267"/>
                    </a:cubicBezTo>
                    <a:cubicBezTo>
                      <a:pt x="460572" y="91642"/>
                      <a:pt x="450337" y="81407"/>
                      <a:pt x="437712" y="81407"/>
                    </a:cubicBezTo>
                    <a:close/>
                    <a:moveTo>
                      <a:pt x="488486" y="53529"/>
                    </a:moveTo>
                    <a:cubicBezTo>
                      <a:pt x="475861" y="53529"/>
                      <a:pt x="465626" y="63764"/>
                      <a:pt x="465626" y="76389"/>
                    </a:cubicBezTo>
                    <a:cubicBezTo>
                      <a:pt x="465626" y="89014"/>
                      <a:pt x="475861" y="99249"/>
                      <a:pt x="488486" y="99249"/>
                    </a:cubicBezTo>
                    <a:cubicBezTo>
                      <a:pt x="501111" y="99249"/>
                      <a:pt x="511346" y="89014"/>
                      <a:pt x="511346" y="76389"/>
                    </a:cubicBezTo>
                    <a:cubicBezTo>
                      <a:pt x="511346" y="63764"/>
                      <a:pt x="501111" y="53529"/>
                      <a:pt x="488486" y="53529"/>
                    </a:cubicBezTo>
                    <a:close/>
                    <a:moveTo>
                      <a:pt x="386938" y="53529"/>
                    </a:moveTo>
                    <a:cubicBezTo>
                      <a:pt x="374313" y="53529"/>
                      <a:pt x="364078" y="63764"/>
                      <a:pt x="364078" y="76389"/>
                    </a:cubicBezTo>
                    <a:cubicBezTo>
                      <a:pt x="364078" y="89014"/>
                      <a:pt x="374313" y="99249"/>
                      <a:pt x="386938" y="99249"/>
                    </a:cubicBezTo>
                    <a:cubicBezTo>
                      <a:pt x="399563" y="99249"/>
                      <a:pt x="409798" y="89014"/>
                      <a:pt x="409798" y="76389"/>
                    </a:cubicBezTo>
                    <a:cubicBezTo>
                      <a:pt x="409798" y="63764"/>
                      <a:pt x="399563" y="53529"/>
                      <a:pt x="386938" y="53529"/>
                    </a:cubicBezTo>
                    <a:close/>
                    <a:moveTo>
                      <a:pt x="437712" y="24230"/>
                    </a:moveTo>
                    <a:cubicBezTo>
                      <a:pt x="425087" y="24230"/>
                      <a:pt x="414852" y="34465"/>
                      <a:pt x="414852" y="47090"/>
                    </a:cubicBezTo>
                    <a:cubicBezTo>
                      <a:pt x="414852" y="59715"/>
                      <a:pt x="425087" y="69950"/>
                      <a:pt x="437712" y="69950"/>
                    </a:cubicBezTo>
                    <a:cubicBezTo>
                      <a:pt x="450337" y="69950"/>
                      <a:pt x="460572" y="59715"/>
                      <a:pt x="460572" y="47090"/>
                    </a:cubicBezTo>
                    <a:cubicBezTo>
                      <a:pt x="460572" y="34465"/>
                      <a:pt x="450337" y="24230"/>
                      <a:pt x="437712" y="24230"/>
                    </a:cubicBezTo>
                    <a:close/>
                    <a:moveTo>
                      <a:pt x="437617" y="0"/>
                    </a:moveTo>
                    <a:cubicBezTo>
                      <a:pt x="497432" y="0"/>
                      <a:pt x="545922" y="48490"/>
                      <a:pt x="545922" y="108305"/>
                    </a:cubicBezTo>
                    <a:cubicBezTo>
                      <a:pt x="545922" y="153166"/>
                      <a:pt x="518647" y="191657"/>
                      <a:pt x="479774" y="208099"/>
                    </a:cubicBezTo>
                    <a:lnTo>
                      <a:pt x="477170" y="208624"/>
                    </a:lnTo>
                    <a:lnTo>
                      <a:pt x="477170" y="312925"/>
                    </a:lnTo>
                    <a:lnTo>
                      <a:pt x="479774" y="313451"/>
                    </a:lnTo>
                    <a:cubicBezTo>
                      <a:pt x="505689" y="324412"/>
                      <a:pt x="526449" y="345172"/>
                      <a:pt x="537411" y="371087"/>
                    </a:cubicBezTo>
                    <a:lnTo>
                      <a:pt x="537655" y="372297"/>
                    </a:lnTo>
                    <a:lnTo>
                      <a:pt x="666891" y="372297"/>
                    </a:lnTo>
                    <a:lnTo>
                      <a:pt x="667135" y="371088"/>
                    </a:lnTo>
                    <a:cubicBezTo>
                      <a:pt x="683577" y="332216"/>
                      <a:pt x="722068" y="304940"/>
                      <a:pt x="766930" y="304940"/>
                    </a:cubicBezTo>
                    <a:cubicBezTo>
                      <a:pt x="826745" y="304940"/>
                      <a:pt x="875235" y="353430"/>
                      <a:pt x="875235" y="413246"/>
                    </a:cubicBezTo>
                    <a:cubicBezTo>
                      <a:pt x="875235" y="473061"/>
                      <a:pt x="826745" y="521551"/>
                      <a:pt x="766930" y="521551"/>
                    </a:cubicBezTo>
                    <a:cubicBezTo>
                      <a:pt x="722068" y="521551"/>
                      <a:pt x="683577" y="494276"/>
                      <a:pt x="667135" y="455403"/>
                    </a:cubicBezTo>
                    <a:lnTo>
                      <a:pt x="666328" y="451404"/>
                    </a:lnTo>
                    <a:lnTo>
                      <a:pt x="538218" y="451404"/>
                    </a:lnTo>
                    <a:lnTo>
                      <a:pt x="537411" y="455402"/>
                    </a:lnTo>
                    <a:cubicBezTo>
                      <a:pt x="526449" y="481317"/>
                      <a:pt x="505689" y="502078"/>
                      <a:pt x="479774" y="513039"/>
                    </a:cubicBezTo>
                    <a:lnTo>
                      <a:pt x="477170" y="513565"/>
                    </a:lnTo>
                    <a:lnTo>
                      <a:pt x="477170" y="617868"/>
                    </a:lnTo>
                    <a:lnTo>
                      <a:pt x="479774" y="618393"/>
                    </a:lnTo>
                    <a:cubicBezTo>
                      <a:pt x="518647" y="634835"/>
                      <a:pt x="545922" y="673326"/>
                      <a:pt x="545922" y="718187"/>
                    </a:cubicBezTo>
                    <a:cubicBezTo>
                      <a:pt x="545922" y="778002"/>
                      <a:pt x="497432" y="826492"/>
                      <a:pt x="437617" y="826492"/>
                    </a:cubicBezTo>
                    <a:cubicBezTo>
                      <a:pt x="377802" y="826492"/>
                      <a:pt x="329312" y="778002"/>
                      <a:pt x="329312" y="718187"/>
                    </a:cubicBezTo>
                    <a:cubicBezTo>
                      <a:pt x="329312" y="673326"/>
                      <a:pt x="356588" y="634835"/>
                      <a:pt x="395460" y="618393"/>
                    </a:cubicBezTo>
                    <a:lnTo>
                      <a:pt x="398064" y="617868"/>
                    </a:lnTo>
                    <a:lnTo>
                      <a:pt x="398064" y="513565"/>
                    </a:lnTo>
                    <a:lnTo>
                      <a:pt x="395460" y="513039"/>
                    </a:lnTo>
                    <a:cubicBezTo>
                      <a:pt x="369545" y="502078"/>
                      <a:pt x="348784" y="481317"/>
                      <a:pt x="337823" y="455402"/>
                    </a:cubicBezTo>
                    <a:lnTo>
                      <a:pt x="337016" y="451404"/>
                    </a:lnTo>
                    <a:lnTo>
                      <a:pt x="208906" y="451404"/>
                    </a:lnTo>
                    <a:lnTo>
                      <a:pt x="208099" y="455403"/>
                    </a:lnTo>
                    <a:cubicBezTo>
                      <a:pt x="191657" y="494276"/>
                      <a:pt x="153167" y="521551"/>
                      <a:pt x="108305" y="521551"/>
                    </a:cubicBezTo>
                    <a:cubicBezTo>
                      <a:pt x="48490" y="521551"/>
                      <a:pt x="0" y="473061"/>
                      <a:pt x="0" y="413246"/>
                    </a:cubicBezTo>
                    <a:cubicBezTo>
                      <a:pt x="0" y="353430"/>
                      <a:pt x="48490" y="304940"/>
                      <a:pt x="108305" y="304940"/>
                    </a:cubicBezTo>
                    <a:cubicBezTo>
                      <a:pt x="153167" y="304940"/>
                      <a:pt x="191657" y="332216"/>
                      <a:pt x="208099" y="371088"/>
                    </a:cubicBezTo>
                    <a:lnTo>
                      <a:pt x="208343" y="372297"/>
                    </a:lnTo>
                    <a:lnTo>
                      <a:pt x="337579" y="372297"/>
                    </a:lnTo>
                    <a:lnTo>
                      <a:pt x="337823" y="371087"/>
                    </a:lnTo>
                    <a:cubicBezTo>
                      <a:pt x="348784" y="345172"/>
                      <a:pt x="369545" y="324412"/>
                      <a:pt x="395460" y="313451"/>
                    </a:cubicBezTo>
                    <a:lnTo>
                      <a:pt x="398064" y="312925"/>
                    </a:lnTo>
                    <a:lnTo>
                      <a:pt x="398064" y="208624"/>
                    </a:lnTo>
                    <a:lnTo>
                      <a:pt x="395460" y="208099"/>
                    </a:lnTo>
                    <a:cubicBezTo>
                      <a:pt x="356588" y="191657"/>
                      <a:pt x="329312" y="153166"/>
                      <a:pt x="329312" y="108305"/>
                    </a:cubicBezTo>
                    <a:cubicBezTo>
                      <a:pt x="329312" y="48490"/>
                      <a:pt x="377802" y="0"/>
                      <a:pt x="43761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80" name="Rectangle 79"/>
            <p:cNvSpPr/>
            <p:nvPr/>
          </p:nvSpPr>
          <p:spPr>
            <a:xfrm>
              <a:off x="5261277" y="4031570"/>
              <a:ext cx="1184384" cy="400087"/>
            </a:xfrm>
            <a:prstGeom prst="rect">
              <a:avLst/>
            </a:prstGeom>
          </p:spPr>
          <p:txBody>
            <a:bodyPr wrap="none" lIns="121899" tIns="60949" rIns="121899" bIns="60949">
              <a:spAutoFit/>
            </a:bodyPr>
            <a:lstStyle/>
            <a:p>
              <a:r>
                <a:rPr kumimoji="1" lang="en-US" altLang="ja-JP" dirty="0" smtClean="0">
                  <a:solidFill>
                    <a:prstClr val="black"/>
                  </a:solidFill>
                </a:rPr>
                <a:t>Photonics</a:t>
              </a:r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83" name="Rectangle 82"/>
          <p:cNvSpPr/>
          <p:nvPr/>
        </p:nvSpPr>
        <p:spPr>
          <a:xfrm>
            <a:off x="7742606" y="5381625"/>
            <a:ext cx="2324376" cy="400087"/>
          </a:xfrm>
          <a:prstGeom prst="rect">
            <a:avLst/>
          </a:prstGeom>
        </p:spPr>
        <p:txBody>
          <a:bodyPr wrap="none" lIns="121899" tIns="60949" rIns="121899" bIns="60949">
            <a:spAutoFit/>
          </a:bodyPr>
          <a:lstStyle/>
          <a:p>
            <a:r>
              <a:rPr kumimoji="1" lang="en-US" altLang="ja-JP" dirty="0" smtClean="0">
                <a:solidFill>
                  <a:prstClr val="black"/>
                </a:solidFill>
              </a:rPr>
              <a:t>Massive memory </a:t>
            </a:r>
            <a:r>
              <a:rPr kumimoji="1" lang="en-US" altLang="ja-JP" dirty="0">
                <a:solidFill>
                  <a:prstClr val="black"/>
                </a:solidFill>
              </a:rPr>
              <a:t>pool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7" name="Title 8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mtClean="0"/>
              <a:t>The Machine architecture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0317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 for The Machine</a:t>
            </a:r>
            <a:endParaRPr lang="hi-IN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 flipH="1">
            <a:off x="609598" y="2111022"/>
            <a:ext cx="10969625" cy="3251200"/>
          </a:xfrm>
          <a:prstGeom prst="round2DiagRect">
            <a:avLst>
              <a:gd name="adj1" fmla="val 10417"/>
              <a:gd name="adj2" fmla="val 0"/>
            </a:avLst>
          </a:prstGeom>
          <a:solidFill>
            <a:schemeClr val="bg1">
              <a:alpha val="85000"/>
            </a:schemeClr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2800" b="1" dirty="0" smtClean="0">
                <a:solidFill>
                  <a:schemeClr val="accent1"/>
                </a:solidFill>
              </a:rPr>
              <a:t>It </a:t>
            </a:r>
            <a:r>
              <a:rPr lang="en-US" sz="2800" b="1" dirty="0">
                <a:solidFill>
                  <a:schemeClr val="accent1"/>
                </a:solidFill>
              </a:rPr>
              <a:t>will be able to compute much faster with huge amounts of data. 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2400" dirty="0" smtClean="0">
                <a:solidFill>
                  <a:schemeClr val="accent3">
                    <a:lumMod val="75000"/>
                  </a:schemeClr>
                </a:solidFill>
              </a:rPr>
              <a:t>And, </a:t>
            </a:r>
            <a:r>
              <a:rPr lang="en-US" sz="2400" dirty="0">
                <a:solidFill>
                  <a:schemeClr val="accent3">
                    <a:lumMod val="75000"/>
                  </a:schemeClr>
                </a:solidFill>
              </a:rPr>
              <a:t>it will also take up a lot less space and pull a lot less energy.</a:t>
            </a:r>
          </a:p>
          <a:p>
            <a:pPr marL="0" indent="0" algn="ctr">
              <a:buFont typeface="HP Simplified" panose="020B0604020204020204" pitchFamily="34" charset="0"/>
              <a:buNone/>
            </a:pPr>
            <a:endParaRPr lang="en-US" sz="2400" dirty="0" smtClean="0"/>
          </a:p>
          <a:p>
            <a:pPr marL="0" indent="0" algn="ctr">
              <a:spcBef>
                <a:spcPts val="600"/>
              </a:spcBef>
              <a:buNone/>
            </a:pPr>
            <a:r>
              <a:rPr lang="en-US" sz="2800" b="1" dirty="0">
                <a:solidFill>
                  <a:schemeClr val="accent1"/>
                </a:solidFill>
              </a:rPr>
              <a:t>It will be much harder for bad guys to break into the machine, 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2400" dirty="0">
                <a:solidFill>
                  <a:schemeClr val="accent3">
                    <a:lumMod val="75000"/>
                  </a:schemeClr>
                </a:solidFill>
              </a:rPr>
              <a:t>see what’s inside, destroy </a:t>
            </a:r>
            <a:r>
              <a:rPr lang="en-US" sz="2400" dirty="0" smtClean="0">
                <a:solidFill>
                  <a:schemeClr val="accent3">
                    <a:lumMod val="75000"/>
                  </a:schemeClr>
                </a:solidFill>
              </a:rPr>
              <a:t>anything </a:t>
            </a:r>
            <a:r>
              <a:rPr lang="en-US" sz="2400" dirty="0">
                <a:solidFill>
                  <a:schemeClr val="accent3">
                    <a:lumMod val="75000"/>
                  </a:schemeClr>
                </a:solidFill>
              </a:rPr>
              <a:t>or steal anything</a:t>
            </a:r>
            <a:r>
              <a:rPr lang="en-US" sz="2400" dirty="0" smtClean="0">
                <a:solidFill>
                  <a:schemeClr val="accent3">
                    <a:lumMod val="75000"/>
                  </a:schemeClr>
                </a:solidFill>
              </a:rPr>
              <a:t>.</a:t>
            </a:r>
            <a:endParaRPr lang="en-US" sz="2400" dirty="0">
              <a:solidFill>
                <a:schemeClr val="accent3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442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hallenges in securing The Machine</a:t>
            </a:r>
            <a:endParaRPr lang="hi-IN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Security is always a challenge, but much more in the context of The Machin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3594" y="2313729"/>
            <a:ext cx="3860406" cy="3256988"/>
          </a:xfrm>
          <a:prstGeom prst="rect">
            <a:avLst/>
          </a:prstGeom>
        </p:spPr>
      </p:pic>
      <p:sp>
        <p:nvSpPr>
          <p:cNvPr id="8" name="Round Single Corner Rectangle 7"/>
          <p:cNvSpPr/>
          <p:nvPr/>
        </p:nvSpPr>
        <p:spPr>
          <a:xfrm>
            <a:off x="5875263" y="2374195"/>
            <a:ext cx="4612467" cy="581025"/>
          </a:xfrm>
          <a:prstGeom prst="round1Rect">
            <a:avLst/>
          </a:prstGeom>
          <a:solidFill>
            <a:schemeClr val="accent1"/>
          </a:solidFill>
        </p:spPr>
        <p:txBody>
          <a:bodyPr wrap="square" lIns="731520" anchor="ctr">
            <a:noAutofit/>
          </a:bodyPr>
          <a:lstStyle/>
          <a:p>
            <a:pPr>
              <a:spcAft>
                <a:spcPts val="1000"/>
              </a:spcAft>
            </a:pPr>
            <a:r>
              <a:rPr lang="en-US" sz="2400" b="1" dirty="0" smtClean="0">
                <a:solidFill>
                  <a:schemeClr val="bg1"/>
                </a:solidFill>
              </a:rPr>
              <a:t>Scale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Round Diagonal Corner Rectangle 8"/>
          <p:cNvSpPr/>
          <p:nvPr/>
        </p:nvSpPr>
        <p:spPr>
          <a:xfrm flipH="1">
            <a:off x="5875264" y="3012953"/>
            <a:ext cx="4612467" cy="58102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/>
          </a:solidFill>
        </p:spPr>
        <p:txBody>
          <a:bodyPr wrap="square" lIns="731520" anchor="ctr">
            <a:noAutofit/>
          </a:bodyPr>
          <a:lstStyle/>
          <a:p>
            <a:pPr>
              <a:spcAft>
                <a:spcPts val="1000"/>
              </a:spcAft>
            </a:pPr>
            <a:r>
              <a:rPr lang="en-US" sz="2400" b="1" dirty="0" smtClean="0">
                <a:solidFill>
                  <a:schemeClr val="bg1"/>
                </a:solidFill>
              </a:rPr>
              <a:t>New architecture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0" name="Round Diagonal Corner Rectangle 9"/>
          <p:cNvSpPr/>
          <p:nvPr/>
        </p:nvSpPr>
        <p:spPr>
          <a:xfrm flipH="1">
            <a:off x="5875264" y="3651711"/>
            <a:ext cx="4612467" cy="58102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/>
          </a:solidFill>
        </p:spPr>
        <p:txBody>
          <a:bodyPr wrap="square" lIns="731520" anchor="ctr">
            <a:noAutofit/>
          </a:bodyPr>
          <a:lstStyle/>
          <a:p>
            <a:pPr>
              <a:spcAft>
                <a:spcPts val="1000"/>
              </a:spcAft>
            </a:pPr>
            <a:r>
              <a:rPr lang="en-US" sz="2400" b="1" dirty="0" smtClean="0">
                <a:solidFill>
                  <a:schemeClr val="bg1"/>
                </a:solidFill>
              </a:rPr>
              <a:t>Vanishing </a:t>
            </a:r>
            <a:r>
              <a:rPr lang="en-US" sz="2400" b="1" dirty="0">
                <a:solidFill>
                  <a:schemeClr val="bg1"/>
                </a:solidFill>
              </a:rPr>
              <a:t>c</a:t>
            </a:r>
            <a:r>
              <a:rPr lang="en-US" sz="2400" b="1" dirty="0" smtClean="0">
                <a:solidFill>
                  <a:schemeClr val="bg1"/>
                </a:solidFill>
              </a:rPr>
              <a:t>ontrol </a:t>
            </a:r>
            <a:r>
              <a:rPr lang="en-US" sz="2400" b="1" dirty="0">
                <a:solidFill>
                  <a:schemeClr val="bg1"/>
                </a:solidFill>
              </a:rPr>
              <a:t>p</a:t>
            </a:r>
            <a:r>
              <a:rPr lang="en-US" sz="2400" b="1" dirty="0" smtClean="0">
                <a:solidFill>
                  <a:schemeClr val="bg1"/>
                </a:solidFill>
              </a:rPr>
              <a:t>oints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1" name="Round Diagonal Corner Rectangle 10"/>
          <p:cNvSpPr/>
          <p:nvPr/>
        </p:nvSpPr>
        <p:spPr>
          <a:xfrm flipH="1">
            <a:off x="5875264" y="4290469"/>
            <a:ext cx="4612467" cy="58102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/>
          </a:solidFill>
        </p:spPr>
        <p:txBody>
          <a:bodyPr wrap="square" lIns="731520" anchor="ctr">
            <a:noAutofit/>
          </a:bodyPr>
          <a:lstStyle/>
          <a:p>
            <a:pPr>
              <a:spcAft>
                <a:spcPts val="1000"/>
              </a:spcAft>
            </a:pPr>
            <a:r>
              <a:rPr lang="en-US" sz="2400" b="1" dirty="0" smtClean="0">
                <a:solidFill>
                  <a:schemeClr val="bg1"/>
                </a:solidFill>
              </a:rPr>
              <a:t>Performance bottleneck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2" name="Round Single Corner Rectangle 11"/>
          <p:cNvSpPr/>
          <p:nvPr/>
        </p:nvSpPr>
        <p:spPr>
          <a:xfrm rot="10800000">
            <a:off x="5875263" y="4929224"/>
            <a:ext cx="4612467" cy="581025"/>
          </a:xfrm>
          <a:prstGeom prst="round1Rect">
            <a:avLst/>
          </a:prstGeom>
          <a:solidFill>
            <a:schemeClr val="accent1"/>
          </a:solidFill>
        </p:spPr>
        <p:txBody>
          <a:bodyPr wrap="square" lIns="731520" anchor="ctr">
            <a:noAutofit/>
          </a:bodyPr>
          <a:lstStyle/>
          <a:p>
            <a:pPr>
              <a:spcAft>
                <a:spcPts val="1000"/>
              </a:spcAft>
            </a:pPr>
            <a:endParaRPr lang="en-US" sz="2400" b="1" dirty="0">
              <a:solidFill>
                <a:schemeClr val="bg1"/>
              </a:solidFill>
            </a:endParaRPr>
          </a:p>
        </p:txBody>
      </p:sp>
      <p:grpSp>
        <p:nvGrpSpPr>
          <p:cNvPr id="13" name="Group 4"/>
          <p:cNvGrpSpPr>
            <a:grpSpLocks noChangeAspect="1"/>
          </p:cNvGrpSpPr>
          <p:nvPr/>
        </p:nvGrpSpPr>
        <p:grpSpPr bwMode="auto">
          <a:xfrm>
            <a:off x="6101127" y="2506712"/>
            <a:ext cx="314494" cy="315990"/>
            <a:chOff x="4740" y="602"/>
            <a:chExt cx="210" cy="211"/>
          </a:xfrm>
          <a:solidFill>
            <a:schemeClr val="bg1"/>
          </a:solidFill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4771" y="632"/>
              <a:ext cx="148" cy="151"/>
            </a:xfrm>
            <a:custGeom>
              <a:avLst/>
              <a:gdLst>
                <a:gd name="T0" fmla="*/ 200 w 298"/>
                <a:gd name="T1" fmla="*/ 26 h 303"/>
                <a:gd name="T2" fmla="*/ 196 w 298"/>
                <a:gd name="T3" fmla="*/ 27 h 303"/>
                <a:gd name="T4" fmla="*/ 192 w 298"/>
                <a:gd name="T5" fmla="*/ 32 h 303"/>
                <a:gd name="T6" fmla="*/ 191 w 298"/>
                <a:gd name="T7" fmla="*/ 36 h 303"/>
                <a:gd name="T8" fmla="*/ 193 w 298"/>
                <a:gd name="T9" fmla="*/ 43 h 303"/>
                <a:gd name="T10" fmla="*/ 207 w 298"/>
                <a:gd name="T11" fmla="*/ 57 h 303"/>
                <a:gd name="T12" fmla="*/ 44 w 298"/>
                <a:gd name="T13" fmla="*/ 200 h 303"/>
                <a:gd name="T14" fmla="*/ 41 w 298"/>
                <a:gd name="T15" fmla="*/ 198 h 303"/>
                <a:gd name="T16" fmla="*/ 36 w 298"/>
                <a:gd name="T17" fmla="*/ 196 h 303"/>
                <a:gd name="T18" fmla="*/ 30 w 298"/>
                <a:gd name="T19" fmla="*/ 196 h 303"/>
                <a:gd name="T20" fmla="*/ 26 w 298"/>
                <a:gd name="T21" fmla="*/ 200 h 303"/>
                <a:gd name="T22" fmla="*/ 1 w 298"/>
                <a:gd name="T23" fmla="*/ 289 h 303"/>
                <a:gd name="T24" fmla="*/ 0 w 298"/>
                <a:gd name="T25" fmla="*/ 292 h 303"/>
                <a:gd name="T26" fmla="*/ 1 w 298"/>
                <a:gd name="T27" fmla="*/ 298 h 303"/>
                <a:gd name="T28" fmla="*/ 4 w 298"/>
                <a:gd name="T29" fmla="*/ 302 h 303"/>
                <a:gd name="T30" fmla="*/ 10 w 298"/>
                <a:gd name="T31" fmla="*/ 303 h 303"/>
                <a:gd name="T32" fmla="*/ 98 w 298"/>
                <a:gd name="T33" fmla="*/ 278 h 303"/>
                <a:gd name="T34" fmla="*/ 101 w 298"/>
                <a:gd name="T35" fmla="*/ 277 h 303"/>
                <a:gd name="T36" fmla="*/ 106 w 298"/>
                <a:gd name="T37" fmla="*/ 272 h 303"/>
                <a:gd name="T38" fmla="*/ 107 w 298"/>
                <a:gd name="T39" fmla="*/ 267 h 303"/>
                <a:gd name="T40" fmla="*/ 105 w 298"/>
                <a:gd name="T41" fmla="*/ 262 h 303"/>
                <a:gd name="T42" fmla="*/ 91 w 298"/>
                <a:gd name="T43" fmla="*/ 247 h 303"/>
                <a:gd name="T44" fmla="*/ 243 w 298"/>
                <a:gd name="T45" fmla="*/ 91 h 303"/>
                <a:gd name="T46" fmla="*/ 255 w 298"/>
                <a:gd name="T47" fmla="*/ 103 h 303"/>
                <a:gd name="T48" fmla="*/ 257 w 298"/>
                <a:gd name="T49" fmla="*/ 105 h 303"/>
                <a:gd name="T50" fmla="*/ 263 w 298"/>
                <a:gd name="T51" fmla="*/ 108 h 303"/>
                <a:gd name="T52" fmla="*/ 269 w 298"/>
                <a:gd name="T53" fmla="*/ 107 h 303"/>
                <a:gd name="T54" fmla="*/ 272 w 298"/>
                <a:gd name="T55" fmla="*/ 103 h 303"/>
                <a:gd name="T56" fmla="*/ 297 w 298"/>
                <a:gd name="T57" fmla="*/ 14 h 303"/>
                <a:gd name="T58" fmla="*/ 298 w 298"/>
                <a:gd name="T59" fmla="*/ 10 h 303"/>
                <a:gd name="T60" fmla="*/ 297 w 298"/>
                <a:gd name="T61" fmla="*/ 5 h 303"/>
                <a:gd name="T62" fmla="*/ 293 w 298"/>
                <a:gd name="T63" fmla="*/ 1 h 303"/>
                <a:gd name="T64" fmla="*/ 288 w 298"/>
                <a:gd name="T65" fmla="*/ 0 h 303"/>
                <a:gd name="T66" fmla="*/ 284 w 298"/>
                <a:gd name="T67" fmla="*/ 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8" h="303">
                  <a:moveTo>
                    <a:pt x="284" y="1"/>
                  </a:moveTo>
                  <a:lnTo>
                    <a:pt x="200" y="26"/>
                  </a:lnTo>
                  <a:lnTo>
                    <a:pt x="200" y="26"/>
                  </a:lnTo>
                  <a:lnTo>
                    <a:pt x="196" y="27"/>
                  </a:lnTo>
                  <a:lnTo>
                    <a:pt x="193" y="28"/>
                  </a:lnTo>
                  <a:lnTo>
                    <a:pt x="192" y="32"/>
                  </a:lnTo>
                  <a:lnTo>
                    <a:pt x="191" y="34"/>
                  </a:lnTo>
                  <a:lnTo>
                    <a:pt x="191" y="36"/>
                  </a:lnTo>
                  <a:lnTo>
                    <a:pt x="192" y="39"/>
                  </a:lnTo>
                  <a:lnTo>
                    <a:pt x="193" y="43"/>
                  </a:lnTo>
                  <a:lnTo>
                    <a:pt x="195" y="46"/>
                  </a:lnTo>
                  <a:lnTo>
                    <a:pt x="207" y="57"/>
                  </a:lnTo>
                  <a:lnTo>
                    <a:pt x="56" y="212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1" y="198"/>
                  </a:lnTo>
                  <a:lnTo>
                    <a:pt x="38" y="196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30" y="196"/>
                  </a:lnTo>
                  <a:lnTo>
                    <a:pt x="28" y="198"/>
                  </a:lnTo>
                  <a:lnTo>
                    <a:pt x="26" y="200"/>
                  </a:lnTo>
                  <a:lnTo>
                    <a:pt x="25" y="203"/>
                  </a:lnTo>
                  <a:lnTo>
                    <a:pt x="1" y="289"/>
                  </a:lnTo>
                  <a:lnTo>
                    <a:pt x="1" y="289"/>
                  </a:lnTo>
                  <a:lnTo>
                    <a:pt x="0" y="292"/>
                  </a:lnTo>
                  <a:lnTo>
                    <a:pt x="0" y="295"/>
                  </a:lnTo>
                  <a:lnTo>
                    <a:pt x="1" y="298"/>
                  </a:lnTo>
                  <a:lnTo>
                    <a:pt x="2" y="301"/>
                  </a:lnTo>
                  <a:lnTo>
                    <a:pt x="4" y="302"/>
                  </a:lnTo>
                  <a:lnTo>
                    <a:pt x="8" y="303"/>
                  </a:lnTo>
                  <a:lnTo>
                    <a:pt x="10" y="303"/>
                  </a:lnTo>
                  <a:lnTo>
                    <a:pt x="14" y="302"/>
                  </a:lnTo>
                  <a:lnTo>
                    <a:pt x="98" y="278"/>
                  </a:lnTo>
                  <a:lnTo>
                    <a:pt x="98" y="278"/>
                  </a:lnTo>
                  <a:lnTo>
                    <a:pt x="101" y="277"/>
                  </a:lnTo>
                  <a:lnTo>
                    <a:pt x="105" y="275"/>
                  </a:lnTo>
                  <a:lnTo>
                    <a:pt x="106" y="272"/>
                  </a:lnTo>
                  <a:lnTo>
                    <a:pt x="107" y="270"/>
                  </a:lnTo>
                  <a:lnTo>
                    <a:pt x="107" y="267"/>
                  </a:lnTo>
                  <a:lnTo>
                    <a:pt x="107" y="264"/>
                  </a:lnTo>
                  <a:lnTo>
                    <a:pt x="105" y="262"/>
                  </a:lnTo>
                  <a:lnTo>
                    <a:pt x="103" y="258"/>
                  </a:lnTo>
                  <a:lnTo>
                    <a:pt x="91" y="247"/>
                  </a:lnTo>
                  <a:lnTo>
                    <a:pt x="243" y="91"/>
                  </a:lnTo>
                  <a:lnTo>
                    <a:pt x="243" y="91"/>
                  </a:lnTo>
                  <a:lnTo>
                    <a:pt x="243" y="91"/>
                  </a:lnTo>
                  <a:lnTo>
                    <a:pt x="255" y="103"/>
                  </a:lnTo>
                  <a:lnTo>
                    <a:pt x="255" y="103"/>
                  </a:lnTo>
                  <a:lnTo>
                    <a:pt x="257" y="105"/>
                  </a:lnTo>
                  <a:lnTo>
                    <a:pt x="260" y="107"/>
                  </a:lnTo>
                  <a:lnTo>
                    <a:pt x="263" y="108"/>
                  </a:lnTo>
                  <a:lnTo>
                    <a:pt x="265" y="107"/>
                  </a:lnTo>
                  <a:lnTo>
                    <a:pt x="269" y="107"/>
                  </a:lnTo>
                  <a:lnTo>
                    <a:pt x="271" y="105"/>
                  </a:lnTo>
                  <a:lnTo>
                    <a:pt x="272" y="103"/>
                  </a:lnTo>
                  <a:lnTo>
                    <a:pt x="274" y="100"/>
                  </a:lnTo>
                  <a:lnTo>
                    <a:pt x="297" y="14"/>
                  </a:lnTo>
                  <a:lnTo>
                    <a:pt x="297" y="14"/>
                  </a:lnTo>
                  <a:lnTo>
                    <a:pt x="298" y="10"/>
                  </a:lnTo>
                  <a:lnTo>
                    <a:pt x="298" y="7"/>
                  </a:lnTo>
                  <a:lnTo>
                    <a:pt x="297" y="5"/>
                  </a:lnTo>
                  <a:lnTo>
                    <a:pt x="296" y="3"/>
                  </a:lnTo>
                  <a:lnTo>
                    <a:pt x="293" y="1"/>
                  </a:lnTo>
                  <a:lnTo>
                    <a:pt x="290" y="0"/>
                  </a:lnTo>
                  <a:lnTo>
                    <a:pt x="288" y="0"/>
                  </a:lnTo>
                  <a:lnTo>
                    <a:pt x="284" y="1"/>
                  </a:lnTo>
                  <a:lnTo>
                    <a:pt x="28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4817" y="602"/>
              <a:ext cx="133" cy="131"/>
            </a:xfrm>
            <a:custGeom>
              <a:avLst/>
              <a:gdLst>
                <a:gd name="T0" fmla="*/ 0 w 264"/>
                <a:gd name="T1" fmla="*/ 36 h 262"/>
                <a:gd name="T2" fmla="*/ 224 w 264"/>
                <a:gd name="T3" fmla="*/ 36 h 262"/>
                <a:gd name="T4" fmla="*/ 224 w 264"/>
                <a:gd name="T5" fmla="*/ 36 h 262"/>
                <a:gd name="T6" fmla="*/ 226 w 264"/>
                <a:gd name="T7" fmla="*/ 37 h 262"/>
                <a:gd name="T8" fmla="*/ 227 w 264"/>
                <a:gd name="T9" fmla="*/ 39 h 262"/>
                <a:gd name="T10" fmla="*/ 227 w 264"/>
                <a:gd name="T11" fmla="*/ 262 h 262"/>
                <a:gd name="T12" fmla="*/ 264 w 264"/>
                <a:gd name="T13" fmla="*/ 262 h 262"/>
                <a:gd name="T14" fmla="*/ 264 w 264"/>
                <a:gd name="T15" fmla="*/ 39 h 262"/>
                <a:gd name="T16" fmla="*/ 264 w 264"/>
                <a:gd name="T17" fmla="*/ 39 h 262"/>
                <a:gd name="T18" fmla="*/ 263 w 264"/>
                <a:gd name="T19" fmla="*/ 31 h 262"/>
                <a:gd name="T20" fmla="*/ 261 w 264"/>
                <a:gd name="T21" fmla="*/ 24 h 262"/>
                <a:gd name="T22" fmla="*/ 257 w 264"/>
                <a:gd name="T23" fmla="*/ 17 h 262"/>
                <a:gd name="T24" fmla="*/ 252 w 264"/>
                <a:gd name="T25" fmla="*/ 11 h 262"/>
                <a:gd name="T26" fmla="*/ 246 w 264"/>
                <a:gd name="T27" fmla="*/ 7 h 262"/>
                <a:gd name="T28" fmla="*/ 239 w 264"/>
                <a:gd name="T29" fmla="*/ 3 h 262"/>
                <a:gd name="T30" fmla="*/ 232 w 264"/>
                <a:gd name="T31" fmla="*/ 1 h 262"/>
                <a:gd name="T32" fmla="*/ 224 w 264"/>
                <a:gd name="T33" fmla="*/ 0 h 262"/>
                <a:gd name="T34" fmla="*/ 0 w 264"/>
                <a:gd name="T35" fmla="*/ 0 h 262"/>
                <a:gd name="T36" fmla="*/ 0 w 264"/>
                <a:gd name="T37" fmla="*/ 36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4" h="262">
                  <a:moveTo>
                    <a:pt x="0" y="36"/>
                  </a:moveTo>
                  <a:lnTo>
                    <a:pt x="224" y="36"/>
                  </a:lnTo>
                  <a:lnTo>
                    <a:pt x="224" y="36"/>
                  </a:lnTo>
                  <a:lnTo>
                    <a:pt x="226" y="37"/>
                  </a:lnTo>
                  <a:lnTo>
                    <a:pt x="227" y="39"/>
                  </a:lnTo>
                  <a:lnTo>
                    <a:pt x="227" y="262"/>
                  </a:lnTo>
                  <a:lnTo>
                    <a:pt x="264" y="262"/>
                  </a:lnTo>
                  <a:lnTo>
                    <a:pt x="264" y="39"/>
                  </a:lnTo>
                  <a:lnTo>
                    <a:pt x="264" y="39"/>
                  </a:lnTo>
                  <a:lnTo>
                    <a:pt x="263" y="31"/>
                  </a:lnTo>
                  <a:lnTo>
                    <a:pt x="261" y="24"/>
                  </a:lnTo>
                  <a:lnTo>
                    <a:pt x="257" y="17"/>
                  </a:lnTo>
                  <a:lnTo>
                    <a:pt x="252" y="11"/>
                  </a:lnTo>
                  <a:lnTo>
                    <a:pt x="246" y="7"/>
                  </a:lnTo>
                  <a:lnTo>
                    <a:pt x="239" y="3"/>
                  </a:lnTo>
                  <a:lnTo>
                    <a:pt x="232" y="1"/>
                  </a:lnTo>
                  <a:lnTo>
                    <a:pt x="224" y="0"/>
                  </a:lnTo>
                  <a:lnTo>
                    <a:pt x="0" y="0"/>
                  </a:lnTo>
                  <a:lnTo>
                    <a:pt x="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4740" y="681"/>
              <a:ext cx="130" cy="132"/>
            </a:xfrm>
            <a:custGeom>
              <a:avLst/>
              <a:gdLst>
                <a:gd name="T0" fmla="*/ 260 w 260"/>
                <a:gd name="T1" fmla="*/ 227 h 263"/>
                <a:gd name="T2" fmla="*/ 40 w 260"/>
                <a:gd name="T3" fmla="*/ 227 h 263"/>
                <a:gd name="T4" fmla="*/ 40 w 260"/>
                <a:gd name="T5" fmla="*/ 227 h 263"/>
                <a:gd name="T6" fmla="*/ 38 w 260"/>
                <a:gd name="T7" fmla="*/ 226 h 263"/>
                <a:gd name="T8" fmla="*/ 36 w 260"/>
                <a:gd name="T9" fmla="*/ 224 h 263"/>
                <a:gd name="T10" fmla="*/ 36 w 260"/>
                <a:gd name="T11" fmla="*/ 0 h 263"/>
                <a:gd name="T12" fmla="*/ 0 w 260"/>
                <a:gd name="T13" fmla="*/ 0 h 263"/>
                <a:gd name="T14" fmla="*/ 0 w 260"/>
                <a:gd name="T15" fmla="*/ 224 h 263"/>
                <a:gd name="T16" fmla="*/ 0 w 260"/>
                <a:gd name="T17" fmla="*/ 224 h 263"/>
                <a:gd name="T18" fmla="*/ 1 w 260"/>
                <a:gd name="T19" fmla="*/ 232 h 263"/>
                <a:gd name="T20" fmla="*/ 3 w 260"/>
                <a:gd name="T21" fmla="*/ 239 h 263"/>
                <a:gd name="T22" fmla="*/ 7 w 260"/>
                <a:gd name="T23" fmla="*/ 246 h 263"/>
                <a:gd name="T24" fmla="*/ 12 w 260"/>
                <a:gd name="T25" fmla="*/ 252 h 263"/>
                <a:gd name="T26" fmla="*/ 18 w 260"/>
                <a:gd name="T27" fmla="*/ 257 h 263"/>
                <a:gd name="T28" fmla="*/ 25 w 260"/>
                <a:gd name="T29" fmla="*/ 260 h 263"/>
                <a:gd name="T30" fmla="*/ 32 w 260"/>
                <a:gd name="T31" fmla="*/ 262 h 263"/>
                <a:gd name="T32" fmla="*/ 40 w 260"/>
                <a:gd name="T33" fmla="*/ 263 h 263"/>
                <a:gd name="T34" fmla="*/ 260 w 260"/>
                <a:gd name="T35" fmla="*/ 263 h 263"/>
                <a:gd name="T36" fmla="*/ 260 w 260"/>
                <a:gd name="T37" fmla="*/ 227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0" h="263">
                  <a:moveTo>
                    <a:pt x="260" y="227"/>
                  </a:moveTo>
                  <a:lnTo>
                    <a:pt x="40" y="227"/>
                  </a:lnTo>
                  <a:lnTo>
                    <a:pt x="40" y="227"/>
                  </a:lnTo>
                  <a:lnTo>
                    <a:pt x="38" y="226"/>
                  </a:lnTo>
                  <a:lnTo>
                    <a:pt x="36" y="224"/>
                  </a:lnTo>
                  <a:lnTo>
                    <a:pt x="36" y="0"/>
                  </a:lnTo>
                  <a:lnTo>
                    <a:pt x="0" y="0"/>
                  </a:lnTo>
                  <a:lnTo>
                    <a:pt x="0" y="224"/>
                  </a:lnTo>
                  <a:lnTo>
                    <a:pt x="0" y="224"/>
                  </a:lnTo>
                  <a:lnTo>
                    <a:pt x="1" y="232"/>
                  </a:lnTo>
                  <a:lnTo>
                    <a:pt x="3" y="239"/>
                  </a:lnTo>
                  <a:lnTo>
                    <a:pt x="7" y="246"/>
                  </a:lnTo>
                  <a:lnTo>
                    <a:pt x="12" y="252"/>
                  </a:lnTo>
                  <a:lnTo>
                    <a:pt x="18" y="257"/>
                  </a:lnTo>
                  <a:lnTo>
                    <a:pt x="25" y="260"/>
                  </a:lnTo>
                  <a:lnTo>
                    <a:pt x="32" y="262"/>
                  </a:lnTo>
                  <a:lnTo>
                    <a:pt x="40" y="263"/>
                  </a:lnTo>
                  <a:lnTo>
                    <a:pt x="260" y="263"/>
                  </a:lnTo>
                  <a:lnTo>
                    <a:pt x="260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" name="Group 202"/>
          <p:cNvGrpSpPr>
            <a:grpSpLocks noChangeAspect="1"/>
          </p:cNvGrpSpPr>
          <p:nvPr/>
        </p:nvGrpSpPr>
        <p:grpSpPr bwMode="auto">
          <a:xfrm>
            <a:off x="6089305" y="3783473"/>
            <a:ext cx="338138" cy="317500"/>
            <a:chOff x="3056" y="1235"/>
            <a:chExt cx="213" cy="200"/>
          </a:xfrm>
          <a:solidFill>
            <a:schemeClr val="bg1"/>
          </a:solidFill>
        </p:grpSpPr>
        <p:sp>
          <p:nvSpPr>
            <p:cNvPr id="18" name="Freeform 203"/>
            <p:cNvSpPr>
              <a:spLocks noEditPoints="1"/>
            </p:cNvSpPr>
            <p:nvPr/>
          </p:nvSpPr>
          <p:spPr bwMode="auto">
            <a:xfrm>
              <a:off x="3097" y="1288"/>
              <a:ext cx="132" cy="96"/>
            </a:xfrm>
            <a:custGeom>
              <a:avLst/>
              <a:gdLst>
                <a:gd name="T0" fmla="*/ 0 w 264"/>
                <a:gd name="T1" fmla="*/ 192 h 192"/>
                <a:gd name="T2" fmla="*/ 24 w 264"/>
                <a:gd name="T3" fmla="*/ 192 h 192"/>
                <a:gd name="T4" fmla="*/ 24 w 264"/>
                <a:gd name="T5" fmla="*/ 166 h 192"/>
                <a:gd name="T6" fmla="*/ 0 w 264"/>
                <a:gd name="T7" fmla="*/ 166 h 192"/>
                <a:gd name="T8" fmla="*/ 0 w 264"/>
                <a:gd name="T9" fmla="*/ 192 h 192"/>
                <a:gd name="T10" fmla="*/ 50 w 264"/>
                <a:gd name="T11" fmla="*/ 26 h 192"/>
                <a:gd name="T12" fmla="*/ 118 w 264"/>
                <a:gd name="T13" fmla="*/ 26 h 192"/>
                <a:gd name="T14" fmla="*/ 118 w 264"/>
                <a:gd name="T15" fmla="*/ 0 h 192"/>
                <a:gd name="T16" fmla="*/ 50 w 264"/>
                <a:gd name="T17" fmla="*/ 0 h 192"/>
                <a:gd name="T18" fmla="*/ 50 w 264"/>
                <a:gd name="T19" fmla="*/ 26 h 192"/>
                <a:gd name="T20" fmla="*/ 0 w 264"/>
                <a:gd name="T21" fmla="*/ 109 h 192"/>
                <a:gd name="T22" fmla="*/ 24 w 264"/>
                <a:gd name="T23" fmla="*/ 109 h 192"/>
                <a:gd name="T24" fmla="*/ 24 w 264"/>
                <a:gd name="T25" fmla="*/ 83 h 192"/>
                <a:gd name="T26" fmla="*/ 0 w 264"/>
                <a:gd name="T27" fmla="*/ 83 h 192"/>
                <a:gd name="T28" fmla="*/ 0 w 264"/>
                <a:gd name="T29" fmla="*/ 109 h 192"/>
                <a:gd name="T30" fmla="*/ 50 w 264"/>
                <a:gd name="T31" fmla="*/ 109 h 192"/>
                <a:gd name="T32" fmla="*/ 118 w 264"/>
                <a:gd name="T33" fmla="*/ 109 h 192"/>
                <a:gd name="T34" fmla="*/ 118 w 264"/>
                <a:gd name="T35" fmla="*/ 83 h 192"/>
                <a:gd name="T36" fmla="*/ 50 w 264"/>
                <a:gd name="T37" fmla="*/ 83 h 192"/>
                <a:gd name="T38" fmla="*/ 50 w 264"/>
                <a:gd name="T39" fmla="*/ 109 h 192"/>
                <a:gd name="T40" fmla="*/ 143 w 264"/>
                <a:gd name="T41" fmla="*/ 192 h 192"/>
                <a:gd name="T42" fmla="*/ 264 w 264"/>
                <a:gd name="T43" fmla="*/ 192 h 192"/>
                <a:gd name="T44" fmla="*/ 264 w 264"/>
                <a:gd name="T45" fmla="*/ 166 h 192"/>
                <a:gd name="T46" fmla="*/ 143 w 264"/>
                <a:gd name="T47" fmla="*/ 166 h 192"/>
                <a:gd name="T48" fmla="*/ 143 w 264"/>
                <a:gd name="T49" fmla="*/ 192 h 192"/>
                <a:gd name="T50" fmla="*/ 143 w 264"/>
                <a:gd name="T51" fmla="*/ 0 h 192"/>
                <a:gd name="T52" fmla="*/ 143 w 264"/>
                <a:gd name="T53" fmla="*/ 26 h 192"/>
                <a:gd name="T54" fmla="*/ 264 w 264"/>
                <a:gd name="T55" fmla="*/ 26 h 192"/>
                <a:gd name="T56" fmla="*/ 264 w 264"/>
                <a:gd name="T57" fmla="*/ 0 h 192"/>
                <a:gd name="T58" fmla="*/ 143 w 264"/>
                <a:gd name="T59" fmla="*/ 0 h 192"/>
                <a:gd name="T60" fmla="*/ 143 w 264"/>
                <a:gd name="T61" fmla="*/ 109 h 192"/>
                <a:gd name="T62" fmla="*/ 264 w 264"/>
                <a:gd name="T63" fmla="*/ 109 h 192"/>
                <a:gd name="T64" fmla="*/ 264 w 264"/>
                <a:gd name="T65" fmla="*/ 83 h 192"/>
                <a:gd name="T66" fmla="*/ 143 w 264"/>
                <a:gd name="T67" fmla="*/ 83 h 192"/>
                <a:gd name="T68" fmla="*/ 143 w 264"/>
                <a:gd name="T69" fmla="*/ 109 h 192"/>
                <a:gd name="T70" fmla="*/ 50 w 264"/>
                <a:gd name="T71" fmla="*/ 192 h 192"/>
                <a:gd name="T72" fmla="*/ 118 w 264"/>
                <a:gd name="T73" fmla="*/ 192 h 192"/>
                <a:gd name="T74" fmla="*/ 118 w 264"/>
                <a:gd name="T75" fmla="*/ 166 h 192"/>
                <a:gd name="T76" fmla="*/ 50 w 264"/>
                <a:gd name="T77" fmla="*/ 166 h 192"/>
                <a:gd name="T78" fmla="*/ 50 w 264"/>
                <a:gd name="T79" fmla="*/ 192 h 192"/>
                <a:gd name="T80" fmla="*/ 0 w 264"/>
                <a:gd name="T81" fmla="*/ 26 h 192"/>
                <a:gd name="T82" fmla="*/ 24 w 264"/>
                <a:gd name="T83" fmla="*/ 26 h 192"/>
                <a:gd name="T84" fmla="*/ 24 w 264"/>
                <a:gd name="T85" fmla="*/ 0 h 192"/>
                <a:gd name="T86" fmla="*/ 0 w 264"/>
                <a:gd name="T87" fmla="*/ 0 h 192"/>
                <a:gd name="T88" fmla="*/ 0 w 264"/>
                <a:gd name="T89" fmla="*/ 2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4" h="192">
                  <a:moveTo>
                    <a:pt x="0" y="192"/>
                  </a:moveTo>
                  <a:lnTo>
                    <a:pt x="24" y="192"/>
                  </a:lnTo>
                  <a:lnTo>
                    <a:pt x="24" y="166"/>
                  </a:lnTo>
                  <a:lnTo>
                    <a:pt x="0" y="166"/>
                  </a:lnTo>
                  <a:lnTo>
                    <a:pt x="0" y="192"/>
                  </a:lnTo>
                  <a:close/>
                  <a:moveTo>
                    <a:pt x="50" y="26"/>
                  </a:moveTo>
                  <a:lnTo>
                    <a:pt x="118" y="26"/>
                  </a:lnTo>
                  <a:lnTo>
                    <a:pt x="118" y="0"/>
                  </a:lnTo>
                  <a:lnTo>
                    <a:pt x="50" y="0"/>
                  </a:lnTo>
                  <a:lnTo>
                    <a:pt x="50" y="26"/>
                  </a:lnTo>
                  <a:close/>
                  <a:moveTo>
                    <a:pt x="0" y="109"/>
                  </a:moveTo>
                  <a:lnTo>
                    <a:pt x="24" y="109"/>
                  </a:lnTo>
                  <a:lnTo>
                    <a:pt x="24" y="83"/>
                  </a:lnTo>
                  <a:lnTo>
                    <a:pt x="0" y="83"/>
                  </a:lnTo>
                  <a:lnTo>
                    <a:pt x="0" y="109"/>
                  </a:lnTo>
                  <a:close/>
                  <a:moveTo>
                    <a:pt x="50" y="109"/>
                  </a:moveTo>
                  <a:lnTo>
                    <a:pt x="118" y="109"/>
                  </a:lnTo>
                  <a:lnTo>
                    <a:pt x="118" y="83"/>
                  </a:lnTo>
                  <a:lnTo>
                    <a:pt x="50" y="83"/>
                  </a:lnTo>
                  <a:lnTo>
                    <a:pt x="50" y="109"/>
                  </a:lnTo>
                  <a:close/>
                  <a:moveTo>
                    <a:pt x="143" y="192"/>
                  </a:moveTo>
                  <a:lnTo>
                    <a:pt x="264" y="192"/>
                  </a:lnTo>
                  <a:lnTo>
                    <a:pt x="264" y="166"/>
                  </a:lnTo>
                  <a:lnTo>
                    <a:pt x="143" y="166"/>
                  </a:lnTo>
                  <a:lnTo>
                    <a:pt x="143" y="192"/>
                  </a:lnTo>
                  <a:close/>
                  <a:moveTo>
                    <a:pt x="143" y="0"/>
                  </a:moveTo>
                  <a:lnTo>
                    <a:pt x="143" y="26"/>
                  </a:lnTo>
                  <a:lnTo>
                    <a:pt x="264" y="26"/>
                  </a:lnTo>
                  <a:lnTo>
                    <a:pt x="264" y="0"/>
                  </a:lnTo>
                  <a:lnTo>
                    <a:pt x="143" y="0"/>
                  </a:lnTo>
                  <a:close/>
                  <a:moveTo>
                    <a:pt x="143" y="109"/>
                  </a:moveTo>
                  <a:lnTo>
                    <a:pt x="264" y="109"/>
                  </a:lnTo>
                  <a:lnTo>
                    <a:pt x="264" y="83"/>
                  </a:lnTo>
                  <a:lnTo>
                    <a:pt x="143" y="83"/>
                  </a:lnTo>
                  <a:lnTo>
                    <a:pt x="143" y="109"/>
                  </a:lnTo>
                  <a:close/>
                  <a:moveTo>
                    <a:pt x="50" y="192"/>
                  </a:moveTo>
                  <a:lnTo>
                    <a:pt x="118" y="192"/>
                  </a:lnTo>
                  <a:lnTo>
                    <a:pt x="118" y="166"/>
                  </a:lnTo>
                  <a:lnTo>
                    <a:pt x="50" y="166"/>
                  </a:lnTo>
                  <a:lnTo>
                    <a:pt x="50" y="192"/>
                  </a:lnTo>
                  <a:close/>
                  <a:moveTo>
                    <a:pt x="0" y="26"/>
                  </a:moveTo>
                  <a:lnTo>
                    <a:pt x="24" y="26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04"/>
            <p:cNvSpPr>
              <a:spLocks noEditPoints="1"/>
            </p:cNvSpPr>
            <p:nvPr/>
          </p:nvSpPr>
          <p:spPr bwMode="auto">
            <a:xfrm>
              <a:off x="3056" y="1235"/>
              <a:ext cx="213" cy="200"/>
            </a:xfrm>
            <a:custGeom>
              <a:avLst/>
              <a:gdLst>
                <a:gd name="T0" fmla="*/ 393 w 426"/>
                <a:gd name="T1" fmla="*/ 0 h 398"/>
                <a:gd name="T2" fmla="*/ 332 w 426"/>
                <a:gd name="T3" fmla="*/ 0 h 398"/>
                <a:gd name="T4" fmla="*/ 0 w 426"/>
                <a:gd name="T5" fmla="*/ 0 h 398"/>
                <a:gd name="T6" fmla="*/ 0 w 426"/>
                <a:gd name="T7" fmla="*/ 278 h 398"/>
                <a:gd name="T8" fmla="*/ 0 w 426"/>
                <a:gd name="T9" fmla="*/ 365 h 398"/>
                <a:gd name="T10" fmla="*/ 0 w 426"/>
                <a:gd name="T11" fmla="*/ 365 h 398"/>
                <a:gd name="T12" fmla="*/ 1 w 426"/>
                <a:gd name="T13" fmla="*/ 373 h 398"/>
                <a:gd name="T14" fmla="*/ 3 w 426"/>
                <a:gd name="T15" fmla="*/ 378 h 398"/>
                <a:gd name="T16" fmla="*/ 6 w 426"/>
                <a:gd name="T17" fmla="*/ 384 h 398"/>
                <a:gd name="T18" fmla="*/ 9 w 426"/>
                <a:gd name="T19" fmla="*/ 389 h 398"/>
                <a:gd name="T20" fmla="*/ 15 w 426"/>
                <a:gd name="T21" fmla="*/ 393 h 398"/>
                <a:gd name="T22" fmla="*/ 20 w 426"/>
                <a:gd name="T23" fmla="*/ 396 h 398"/>
                <a:gd name="T24" fmla="*/ 26 w 426"/>
                <a:gd name="T25" fmla="*/ 398 h 398"/>
                <a:gd name="T26" fmla="*/ 33 w 426"/>
                <a:gd name="T27" fmla="*/ 398 h 398"/>
                <a:gd name="T28" fmla="*/ 94 w 426"/>
                <a:gd name="T29" fmla="*/ 398 h 398"/>
                <a:gd name="T30" fmla="*/ 426 w 426"/>
                <a:gd name="T31" fmla="*/ 398 h 398"/>
                <a:gd name="T32" fmla="*/ 426 w 426"/>
                <a:gd name="T33" fmla="*/ 119 h 398"/>
                <a:gd name="T34" fmla="*/ 426 w 426"/>
                <a:gd name="T35" fmla="*/ 33 h 398"/>
                <a:gd name="T36" fmla="*/ 426 w 426"/>
                <a:gd name="T37" fmla="*/ 33 h 398"/>
                <a:gd name="T38" fmla="*/ 425 w 426"/>
                <a:gd name="T39" fmla="*/ 25 h 398"/>
                <a:gd name="T40" fmla="*/ 423 w 426"/>
                <a:gd name="T41" fmla="*/ 20 h 398"/>
                <a:gd name="T42" fmla="*/ 420 w 426"/>
                <a:gd name="T43" fmla="*/ 14 h 398"/>
                <a:gd name="T44" fmla="*/ 417 w 426"/>
                <a:gd name="T45" fmla="*/ 9 h 398"/>
                <a:gd name="T46" fmla="*/ 411 w 426"/>
                <a:gd name="T47" fmla="*/ 5 h 398"/>
                <a:gd name="T48" fmla="*/ 406 w 426"/>
                <a:gd name="T49" fmla="*/ 2 h 398"/>
                <a:gd name="T50" fmla="*/ 400 w 426"/>
                <a:gd name="T51" fmla="*/ 0 h 398"/>
                <a:gd name="T52" fmla="*/ 393 w 426"/>
                <a:gd name="T53" fmla="*/ 0 h 398"/>
                <a:gd name="T54" fmla="*/ 393 w 426"/>
                <a:gd name="T55" fmla="*/ 0 h 398"/>
                <a:gd name="T56" fmla="*/ 393 w 426"/>
                <a:gd name="T57" fmla="*/ 119 h 398"/>
                <a:gd name="T58" fmla="*/ 393 w 426"/>
                <a:gd name="T59" fmla="*/ 365 h 398"/>
                <a:gd name="T60" fmla="*/ 94 w 426"/>
                <a:gd name="T61" fmla="*/ 365 h 398"/>
                <a:gd name="T62" fmla="*/ 94 w 426"/>
                <a:gd name="T63" fmla="*/ 365 h 398"/>
                <a:gd name="T64" fmla="*/ 33 w 426"/>
                <a:gd name="T65" fmla="*/ 365 h 398"/>
                <a:gd name="T66" fmla="*/ 33 w 426"/>
                <a:gd name="T67" fmla="*/ 278 h 398"/>
                <a:gd name="T68" fmla="*/ 33 w 426"/>
                <a:gd name="T69" fmla="*/ 278 h 398"/>
                <a:gd name="T70" fmla="*/ 33 w 426"/>
                <a:gd name="T71" fmla="*/ 33 h 398"/>
                <a:gd name="T72" fmla="*/ 332 w 426"/>
                <a:gd name="T73" fmla="*/ 33 h 398"/>
                <a:gd name="T74" fmla="*/ 332 w 426"/>
                <a:gd name="T75" fmla="*/ 33 h 398"/>
                <a:gd name="T76" fmla="*/ 393 w 426"/>
                <a:gd name="T77" fmla="*/ 33 h 398"/>
                <a:gd name="T78" fmla="*/ 393 w 426"/>
                <a:gd name="T79" fmla="*/ 119 h 398"/>
                <a:gd name="T80" fmla="*/ 393 w 426"/>
                <a:gd name="T81" fmla="*/ 119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6" h="398">
                  <a:moveTo>
                    <a:pt x="393" y="0"/>
                  </a:moveTo>
                  <a:lnTo>
                    <a:pt x="332" y="0"/>
                  </a:lnTo>
                  <a:lnTo>
                    <a:pt x="0" y="0"/>
                  </a:lnTo>
                  <a:lnTo>
                    <a:pt x="0" y="278"/>
                  </a:lnTo>
                  <a:lnTo>
                    <a:pt x="0" y="365"/>
                  </a:lnTo>
                  <a:lnTo>
                    <a:pt x="0" y="365"/>
                  </a:lnTo>
                  <a:lnTo>
                    <a:pt x="1" y="373"/>
                  </a:lnTo>
                  <a:lnTo>
                    <a:pt x="3" y="378"/>
                  </a:lnTo>
                  <a:lnTo>
                    <a:pt x="6" y="384"/>
                  </a:lnTo>
                  <a:lnTo>
                    <a:pt x="9" y="389"/>
                  </a:lnTo>
                  <a:lnTo>
                    <a:pt x="15" y="393"/>
                  </a:lnTo>
                  <a:lnTo>
                    <a:pt x="20" y="396"/>
                  </a:lnTo>
                  <a:lnTo>
                    <a:pt x="26" y="398"/>
                  </a:lnTo>
                  <a:lnTo>
                    <a:pt x="33" y="398"/>
                  </a:lnTo>
                  <a:lnTo>
                    <a:pt x="94" y="398"/>
                  </a:lnTo>
                  <a:lnTo>
                    <a:pt x="426" y="398"/>
                  </a:lnTo>
                  <a:lnTo>
                    <a:pt x="426" y="119"/>
                  </a:lnTo>
                  <a:lnTo>
                    <a:pt x="426" y="33"/>
                  </a:lnTo>
                  <a:lnTo>
                    <a:pt x="426" y="33"/>
                  </a:lnTo>
                  <a:lnTo>
                    <a:pt x="425" y="25"/>
                  </a:lnTo>
                  <a:lnTo>
                    <a:pt x="423" y="20"/>
                  </a:lnTo>
                  <a:lnTo>
                    <a:pt x="420" y="14"/>
                  </a:lnTo>
                  <a:lnTo>
                    <a:pt x="417" y="9"/>
                  </a:lnTo>
                  <a:lnTo>
                    <a:pt x="411" y="5"/>
                  </a:lnTo>
                  <a:lnTo>
                    <a:pt x="406" y="2"/>
                  </a:lnTo>
                  <a:lnTo>
                    <a:pt x="400" y="0"/>
                  </a:lnTo>
                  <a:lnTo>
                    <a:pt x="393" y="0"/>
                  </a:lnTo>
                  <a:lnTo>
                    <a:pt x="393" y="0"/>
                  </a:lnTo>
                  <a:close/>
                  <a:moveTo>
                    <a:pt x="393" y="119"/>
                  </a:moveTo>
                  <a:lnTo>
                    <a:pt x="393" y="365"/>
                  </a:lnTo>
                  <a:lnTo>
                    <a:pt x="94" y="365"/>
                  </a:lnTo>
                  <a:lnTo>
                    <a:pt x="94" y="365"/>
                  </a:lnTo>
                  <a:lnTo>
                    <a:pt x="33" y="365"/>
                  </a:lnTo>
                  <a:lnTo>
                    <a:pt x="33" y="278"/>
                  </a:lnTo>
                  <a:lnTo>
                    <a:pt x="33" y="278"/>
                  </a:lnTo>
                  <a:lnTo>
                    <a:pt x="33" y="33"/>
                  </a:lnTo>
                  <a:lnTo>
                    <a:pt x="332" y="33"/>
                  </a:lnTo>
                  <a:lnTo>
                    <a:pt x="332" y="33"/>
                  </a:lnTo>
                  <a:lnTo>
                    <a:pt x="393" y="33"/>
                  </a:lnTo>
                  <a:lnTo>
                    <a:pt x="393" y="119"/>
                  </a:lnTo>
                  <a:lnTo>
                    <a:pt x="393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" name="Group 345"/>
          <p:cNvGrpSpPr>
            <a:grpSpLocks noChangeAspect="1"/>
          </p:cNvGrpSpPr>
          <p:nvPr/>
        </p:nvGrpSpPr>
        <p:grpSpPr bwMode="auto">
          <a:xfrm>
            <a:off x="6089306" y="4471443"/>
            <a:ext cx="338137" cy="219075"/>
            <a:chOff x="1897" y="1804"/>
            <a:chExt cx="213" cy="138"/>
          </a:xfrm>
          <a:solidFill>
            <a:schemeClr val="bg1"/>
          </a:solidFill>
        </p:grpSpPr>
        <p:sp>
          <p:nvSpPr>
            <p:cNvPr id="21" name="Freeform 346"/>
            <p:cNvSpPr>
              <a:spLocks noEditPoints="1"/>
            </p:cNvSpPr>
            <p:nvPr/>
          </p:nvSpPr>
          <p:spPr bwMode="auto">
            <a:xfrm>
              <a:off x="1897" y="1804"/>
              <a:ext cx="210" cy="138"/>
            </a:xfrm>
            <a:custGeom>
              <a:avLst/>
              <a:gdLst>
                <a:gd name="T0" fmla="*/ 183 w 419"/>
                <a:gd name="T1" fmla="*/ 1 h 274"/>
                <a:gd name="T2" fmla="*/ 125 w 419"/>
                <a:gd name="T3" fmla="*/ 15 h 274"/>
                <a:gd name="T4" fmla="*/ 74 w 419"/>
                <a:gd name="T5" fmla="*/ 45 h 274"/>
                <a:gd name="T6" fmla="*/ 35 w 419"/>
                <a:gd name="T7" fmla="*/ 89 h 274"/>
                <a:gd name="T8" fmla="*/ 9 w 419"/>
                <a:gd name="T9" fmla="*/ 145 h 274"/>
                <a:gd name="T10" fmla="*/ 0 w 419"/>
                <a:gd name="T11" fmla="*/ 212 h 274"/>
                <a:gd name="T12" fmla="*/ 2 w 419"/>
                <a:gd name="T13" fmla="*/ 240 h 274"/>
                <a:gd name="T14" fmla="*/ 7 w 419"/>
                <a:gd name="T15" fmla="*/ 267 h 274"/>
                <a:gd name="T16" fmla="*/ 10 w 419"/>
                <a:gd name="T17" fmla="*/ 271 h 274"/>
                <a:gd name="T18" fmla="*/ 16 w 419"/>
                <a:gd name="T19" fmla="*/ 271 h 274"/>
                <a:gd name="T20" fmla="*/ 30 w 419"/>
                <a:gd name="T21" fmla="*/ 265 h 274"/>
                <a:gd name="T22" fmla="*/ 33 w 419"/>
                <a:gd name="T23" fmla="*/ 258 h 274"/>
                <a:gd name="T24" fmla="*/ 31 w 419"/>
                <a:gd name="T25" fmla="*/ 232 h 274"/>
                <a:gd name="T26" fmla="*/ 37 w 419"/>
                <a:gd name="T27" fmla="*/ 186 h 274"/>
                <a:gd name="T28" fmla="*/ 57 w 419"/>
                <a:gd name="T29" fmla="*/ 147 h 274"/>
                <a:gd name="T30" fmla="*/ 86 w 419"/>
                <a:gd name="T31" fmla="*/ 114 h 274"/>
                <a:gd name="T32" fmla="*/ 124 w 419"/>
                <a:gd name="T33" fmla="*/ 93 h 274"/>
                <a:gd name="T34" fmla="*/ 167 w 419"/>
                <a:gd name="T35" fmla="*/ 82 h 274"/>
                <a:gd name="T36" fmla="*/ 200 w 419"/>
                <a:gd name="T37" fmla="*/ 82 h 274"/>
                <a:gd name="T38" fmla="*/ 251 w 419"/>
                <a:gd name="T39" fmla="*/ 98 h 274"/>
                <a:gd name="T40" fmla="*/ 291 w 419"/>
                <a:gd name="T41" fmla="*/ 131 h 274"/>
                <a:gd name="T42" fmla="*/ 392 w 419"/>
                <a:gd name="T43" fmla="*/ 107 h 274"/>
                <a:gd name="T44" fmla="*/ 369 w 419"/>
                <a:gd name="T45" fmla="*/ 73 h 274"/>
                <a:gd name="T46" fmla="*/ 340 w 419"/>
                <a:gd name="T47" fmla="*/ 45 h 274"/>
                <a:gd name="T48" fmla="*/ 306 w 419"/>
                <a:gd name="T49" fmla="*/ 22 h 274"/>
                <a:gd name="T50" fmla="*/ 265 w 419"/>
                <a:gd name="T51" fmla="*/ 7 h 274"/>
                <a:gd name="T52" fmla="*/ 220 w 419"/>
                <a:gd name="T53" fmla="*/ 0 h 274"/>
                <a:gd name="T54" fmla="*/ 409 w 419"/>
                <a:gd name="T55" fmla="*/ 146 h 274"/>
                <a:gd name="T56" fmla="*/ 378 w 419"/>
                <a:gd name="T57" fmla="*/ 178 h 274"/>
                <a:gd name="T58" fmla="*/ 381 w 419"/>
                <a:gd name="T59" fmla="*/ 219 h 274"/>
                <a:gd name="T60" fmla="*/ 380 w 419"/>
                <a:gd name="T61" fmla="*/ 242 h 274"/>
                <a:gd name="T62" fmla="*/ 376 w 419"/>
                <a:gd name="T63" fmla="*/ 265 h 274"/>
                <a:gd name="T64" fmla="*/ 407 w 419"/>
                <a:gd name="T65" fmla="*/ 274 h 274"/>
                <a:gd name="T66" fmla="*/ 410 w 419"/>
                <a:gd name="T67" fmla="*/ 272 h 274"/>
                <a:gd name="T68" fmla="*/ 415 w 419"/>
                <a:gd name="T69" fmla="*/ 257 h 274"/>
                <a:gd name="T70" fmla="*/ 419 w 419"/>
                <a:gd name="T71" fmla="*/ 212 h 274"/>
                <a:gd name="T72" fmla="*/ 417 w 419"/>
                <a:gd name="T73" fmla="*/ 178 h 274"/>
                <a:gd name="T74" fmla="*/ 409 w 419"/>
                <a:gd name="T75" fmla="*/ 146 h 274"/>
                <a:gd name="T76" fmla="*/ 326 w 419"/>
                <a:gd name="T77" fmla="*/ 212 h 274"/>
                <a:gd name="T78" fmla="*/ 327 w 419"/>
                <a:gd name="T79" fmla="*/ 242 h 274"/>
                <a:gd name="T80" fmla="*/ 331 w 419"/>
                <a:gd name="T81" fmla="*/ 248 h 274"/>
                <a:gd name="T82" fmla="*/ 364 w 419"/>
                <a:gd name="T83" fmla="*/ 259 h 274"/>
                <a:gd name="T84" fmla="*/ 368 w 419"/>
                <a:gd name="T85" fmla="*/ 219 h 274"/>
                <a:gd name="T86" fmla="*/ 366 w 419"/>
                <a:gd name="T87" fmla="*/ 194 h 274"/>
                <a:gd name="T88" fmla="*/ 324 w 419"/>
                <a:gd name="T89" fmla="*/ 19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19" h="274">
                  <a:moveTo>
                    <a:pt x="202" y="0"/>
                  </a:moveTo>
                  <a:lnTo>
                    <a:pt x="202" y="0"/>
                  </a:lnTo>
                  <a:lnTo>
                    <a:pt x="183" y="1"/>
                  </a:lnTo>
                  <a:lnTo>
                    <a:pt x="162" y="3"/>
                  </a:lnTo>
                  <a:lnTo>
                    <a:pt x="143" y="8"/>
                  </a:lnTo>
                  <a:lnTo>
                    <a:pt x="125" y="15"/>
                  </a:lnTo>
                  <a:lnTo>
                    <a:pt x="107" y="23"/>
                  </a:lnTo>
                  <a:lnTo>
                    <a:pt x="90" y="33"/>
                  </a:lnTo>
                  <a:lnTo>
                    <a:pt x="74" y="45"/>
                  </a:lnTo>
                  <a:lnTo>
                    <a:pt x="60" y="58"/>
                  </a:lnTo>
                  <a:lnTo>
                    <a:pt x="47" y="73"/>
                  </a:lnTo>
                  <a:lnTo>
                    <a:pt x="35" y="89"/>
                  </a:lnTo>
                  <a:lnTo>
                    <a:pt x="24" y="107"/>
                  </a:lnTo>
                  <a:lnTo>
                    <a:pt x="16" y="125"/>
                  </a:lnTo>
                  <a:lnTo>
                    <a:pt x="9" y="145"/>
                  </a:lnTo>
                  <a:lnTo>
                    <a:pt x="4" y="166"/>
                  </a:lnTo>
                  <a:lnTo>
                    <a:pt x="1" y="188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26"/>
                  </a:lnTo>
                  <a:lnTo>
                    <a:pt x="2" y="240"/>
                  </a:lnTo>
                  <a:lnTo>
                    <a:pt x="4" y="254"/>
                  </a:lnTo>
                  <a:lnTo>
                    <a:pt x="7" y="267"/>
                  </a:lnTo>
                  <a:lnTo>
                    <a:pt x="7" y="267"/>
                  </a:lnTo>
                  <a:lnTo>
                    <a:pt x="8" y="269"/>
                  </a:lnTo>
                  <a:lnTo>
                    <a:pt x="10" y="271"/>
                  </a:lnTo>
                  <a:lnTo>
                    <a:pt x="10" y="271"/>
                  </a:lnTo>
                  <a:lnTo>
                    <a:pt x="13" y="271"/>
                  </a:lnTo>
                  <a:lnTo>
                    <a:pt x="13" y="271"/>
                  </a:lnTo>
                  <a:lnTo>
                    <a:pt x="16" y="271"/>
                  </a:lnTo>
                  <a:lnTo>
                    <a:pt x="16" y="271"/>
                  </a:lnTo>
                  <a:lnTo>
                    <a:pt x="30" y="265"/>
                  </a:lnTo>
                  <a:lnTo>
                    <a:pt x="30" y="265"/>
                  </a:lnTo>
                  <a:lnTo>
                    <a:pt x="33" y="261"/>
                  </a:lnTo>
                  <a:lnTo>
                    <a:pt x="33" y="258"/>
                  </a:lnTo>
                  <a:lnTo>
                    <a:pt x="33" y="258"/>
                  </a:lnTo>
                  <a:lnTo>
                    <a:pt x="31" y="245"/>
                  </a:lnTo>
                  <a:lnTo>
                    <a:pt x="31" y="232"/>
                  </a:lnTo>
                  <a:lnTo>
                    <a:pt x="31" y="232"/>
                  </a:lnTo>
                  <a:lnTo>
                    <a:pt x="32" y="216"/>
                  </a:lnTo>
                  <a:lnTo>
                    <a:pt x="34" y="201"/>
                  </a:lnTo>
                  <a:lnTo>
                    <a:pt x="37" y="186"/>
                  </a:lnTo>
                  <a:lnTo>
                    <a:pt x="43" y="172"/>
                  </a:lnTo>
                  <a:lnTo>
                    <a:pt x="49" y="159"/>
                  </a:lnTo>
                  <a:lnTo>
                    <a:pt x="57" y="147"/>
                  </a:lnTo>
                  <a:lnTo>
                    <a:pt x="65" y="135"/>
                  </a:lnTo>
                  <a:lnTo>
                    <a:pt x="75" y="124"/>
                  </a:lnTo>
                  <a:lnTo>
                    <a:pt x="86" y="114"/>
                  </a:lnTo>
                  <a:lnTo>
                    <a:pt x="98" y="106"/>
                  </a:lnTo>
                  <a:lnTo>
                    <a:pt x="111" y="99"/>
                  </a:lnTo>
                  <a:lnTo>
                    <a:pt x="124" y="93"/>
                  </a:lnTo>
                  <a:lnTo>
                    <a:pt x="138" y="87"/>
                  </a:lnTo>
                  <a:lnTo>
                    <a:pt x="152" y="84"/>
                  </a:lnTo>
                  <a:lnTo>
                    <a:pt x="167" y="82"/>
                  </a:lnTo>
                  <a:lnTo>
                    <a:pt x="182" y="81"/>
                  </a:lnTo>
                  <a:lnTo>
                    <a:pt x="182" y="81"/>
                  </a:lnTo>
                  <a:lnTo>
                    <a:pt x="200" y="82"/>
                  </a:lnTo>
                  <a:lnTo>
                    <a:pt x="218" y="85"/>
                  </a:lnTo>
                  <a:lnTo>
                    <a:pt x="235" y="91"/>
                  </a:lnTo>
                  <a:lnTo>
                    <a:pt x="251" y="98"/>
                  </a:lnTo>
                  <a:lnTo>
                    <a:pt x="266" y="107"/>
                  </a:lnTo>
                  <a:lnTo>
                    <a:pt x="279" y="118"/>
                  </a:lnTo>
                  <a:lnTo>
                    <a:pt x="291" y="131"/>
                  </a:lnTo>
                  <a:lnTo>
                    <a:pt x="301" y="143"/>
                  </a:lnTo>
                  <a:lnTo>
                    <a:pt x="392" y="107"/>
                  </a:lnTo>
                  <a:lnTo>
                    <a:pt x="392" y="107"/>
                  </a:lnTo>
                  <a:lnTo>
                    <a:pt x="386" y="96"/>
                  </a:lnTo>
                  <a:lnTo>
                    <a:pt x="378" y="84"/>
                  </a:lnTo>
                  <a:lnTo>
                    <a:pt x="369" y="73"/>
                  </a:lnTo>
                  <a:lnTo>
                    <a:pt x="361" y="63"/>
                  </a:lnTo>
                  <a:lnTo>
                    <a:pt x="351" y="54"/>
                  </a:lnTo>
                  <a:lnTo>
                    <a:pt x="340" y="45"/>
                  </a:lnTo>
                  <a:lnTo>
                    <a:pt x="330" y="38"/>
                  </a:lnTo>
                  <a:lnTo>
                    <a:pt x="318" y="30"/>
                  </a:lnTo>
                  <a:lnTo>
                    <a:pt x="306" y="22"/>
                  </a:lnTo>
                  <a:lnTo>
                    <a:pt x="293" y="17"/>
                  </a:lnTo>
                  <a:lnTo>
                    <a:pt x="279" y="12"/>
                  </a:lnTo>
                  <a:lnTo>
                    <a:pt x="265" y="7"/>
                  </a:lnTo>
                  <a:lnTo>
                    <a:pt x="250" y="4"/>
                  </a:lnTo>
                  <a:lnTo>
                    <a:pt x="235" y="2"/>
                  </a:lnTo>
                  <a:lnTo>
                    <a:pt x="220" y="0"/>
                  </a:lnTo>
                  <a:lnTo>
                    <a:pt x="202" y="0"/>
                  </a:lnTo>
                  <a:lnTo>
                    <a:pt x="202" y="0"/>
                  </a:lnTo>
                  <a:close/>
                  <a:moveTo>
                    <a:pt x="409" y="146"/>
                  </a:moveTo>
                  <a:lnTo>
                    <a:pt x="375" y="165"/>
                  </a:lnTo>
                  <a:lnTo>
                    <a:pt x="375" y="165"/>
                  </a:lnTo>
                  <a:lnTo>
                    <a:pt x="378" y="178"/>
                  </a:lnTo>
                  <a:lnTo>
                    <a:pt x="380" y="191"/>
                  </a:lnTo>
                  <a:lnTo>
                    <a:pt x="381" y="205"/>
                  </a:lnTo>
                  <a:lnTo>
                    <a:pt x="381" y="219"/>
                  </a:lnTo>
                  <a:lnTo>
                    <a:pt x="381" y="219"/>
                  </a:lnTo>
                  <a:lnTo>
                    <a:pt x="381" y="231"/>
                  </a:lnTo>
                  <a:lnTo>
                    <a:pt x="380" y="242"/>
                  </a:lnTo>
                  <a:lnTo>
                    <a:pt x="379" y="254"/>
                  </a:lnTo>
                  <a:lnTo>
                    <a:pt x="376" y="265"/>
                  </a:lnTo>
                  <a:lnTo>
                    <a:pt x="376" y="265"/>
                  </a:lnTo>
                  <a:lnTo>
                    <a:pt x="405" y="274"/>
                  </a:lnTo>
                  <a:lnTo>
                    <a:pt x="405" y="274"/>
                  </a:lnTo>
                  <a:lnTo>
                    <a:pt x="407" y="274"/>
                  </a:lnTo>
                  <a:lnTo>
                    <a:pt x="409" y="274"/>
                  </a:lnTo>
                  <a:lnTo>
                    <a:pt x="409" y="274"/>
                  </a:lnTo>
                  <a:lnTo>
                    <a:pt x="410" y="272"/>
                  </a:lnTo>
                  <a:lnTo>
                    <a:pt x="411" y="271"/>
                  </a:lnTo>
                  <a:lnTo>
                    <a:pt x="411" y="271"/>
                  </a:lnTo>
                  <a:lnTo>
                    <a:pt x="415" y="257"/>
                  </a:lnTo>
                  <a:lnTo>
                    <a:pt x="417" y="241"/>
                  </a:lnTo>
                  <a:lnTo>
                    <a:pt x="419" y="226"/>
                  </a:lnTo>
                  <a:lnTo>
                    <a:pt x="419" y="212"/>
                  </a:lnTo>
                  <a:lnTo>
                    <a:pt x="419" y="212"/>
                  </a:lnTo>
                  <a:lnTo>
                    <a:pt x="418" y="194"/>
                  </a:lnTo>
                  <a:lnTo>
                    <a:pt x="417" y="178"/>
                  </a:lnTo>
                  <a:lnTo>
                    <a:pt x="414" y="162"/>
                  </a:lnTo>
                  <a:lnTo>
                    <a:pt x="409" y="146"/>
                  </a:lnTo>
                  <a:lnTo>
                    <a:pt x="409" y="146"/>
                  </a:lnTo>
                  <a:close/>
                  <a:moveTo>
                    <a:pt x="324" y="194"/>
                  </a:moveTo>
                  <a:lnTo>
                    <a:pt x="324" y="194"/>
                  </a:lnTo>
                  <a:lnTo>
                    <a:pt x="326" y="212"/>
                  </a:lnTo>
                  <a:lnTo>
                    <a:pt x="327" y="230"/>
                  </a:lnTo>
                  <a:lnTo>
                    <a:pt x="327" y="230"/>
                  </a:lnTo>
                  <a:lnTo>
                    <a:pt x="327" y="242"/>
                  </a:lnTo>
                  <a:lnTo>
                    <a:pt x="327" y="242"/>
                  </a:lnTo>
                  <a:lnTo>
                    <a:pt x="328" y="245"/>
                  </a:lnTo>
                  <a:lnTo>
                    <a:pt x="331" y="248"/>
                  </a:lnTo>
                  <a:lnTo>
                    <a:pt x="331" y="248"/>
                  </a:lnTo>
                  <a:lnTo>
                    <a:pt x="364" y="259"/>
                  </a:lnTo>
                  <a:lnTo>
                    <a:pt x="364" y="259"/>
                  </a:lnTo>
                  <a:lnTo>
                    <a:pt x="365" y="251"/>
                  </a:lnTo>
                  <a:lnTo>
                    <a:pt x="367" y="240"/>
                  </a:lnTo>
                  <a:lnTo>
                    <a:pt x="368" y="219"/>
                  </a:lnTo>
                  <a:lnTo>
                    <a:pt x="368" y="219"/>
                  </a:lnTo>
                  <a:lnTo>
                    <a:pt x="367" y="207"/>
                  </a:lnTo>
                  <a:lnTo>
                    <a:pt x="366" y="194"/>
                  </a:lnTo>
                  <a:lnTo>
                    <a:pt x="365" y="182"/>
                  </a:lnTo>
                  <a:lnTo>
                    <a:pt x="363" y="172"/>
                  </a:lnTo>
                  <a:lnTo>
                    <a:pt x="324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47"/>
            <p:cNvSpPr>
              <a:spLocks noEditPoints="1"/>
            </p:cNvSpPr>
            <p:nvPr/>
          </p:nvSpPr>
          <p:spPr bwMode="auto">
            <a:xfrm>
              <a:off x="1972" y="1859"/>
              <a:ext cx="138" cy="82"/>
            </a:xfrm>
            <a:custGeom>
              <a:avLst/>
              <a:gdLst>
                <a:gd name="T0" fmla="*/ 276 w 276"/>
                <a:gd name="T1" fmla="*/ 5 h 162"/>
                <a:gd name="T2" fmla="*/ 272 w 276"/>
                <a:gd name="T3" fmla="*/ 1 h 162"/>
                <a:gd name="T4" fmla="*/ 269 w 276"/>
                <a:gd name="T5" fmla="*/ 0 h 162"/>
                <a:gd name="T6" fmla="*/ 75 w 276"/>
                <a:gd name="T7" fmla="*/ 78 h 162"/>
                <a:gd name="T8" fmla="*/ 70 w 276"/>
                <a:gd name="T9" fmla="*/ 76 h 162"/>
                <a:gd name="T10" fmla="*/ 67 w 276"/>
                <a:gd name="T11" fmla="*/ 73 h 162"/>
                <a:gd name="T12" fmla="*/ 59 w 276"/>
                <a:gd name="T13" fmla="*/ 70 h 162"/>
                <a:gd name="T14" fmla="*/ 40 w 276"/>
                <a:gd name="T15" fmla="*/ 69 h 162"/>
                <a:gd name="T16" fmla="*/ 23 w 276"/>
                <a:gd name="T17" fmla="*/ 75 h 162"/>
                <a:gd name="T18" fmla="*/ 10 w 276"/>
                <a:gd name="T19" fmla="*/ 86 h 162"/>
                <a:gd name="T20" fmla="*/ 5 w 276"/>
                <a:gd name="T21" fmla="*/ 95 h 162"/>
                <a:gd name="T22" fmla="*/ 0 w 276"/>
                <a:gd name="T23" fmla="*/ 112 h 162"/>
                <a:gd name="T24" fmla="*/ 1 w 276"/>
                <a:gd name="T25" fmla="*/ 129 h 162"/>
                <a:gd name="T26" fmla="*/ 10 w 276"/>
                <a:gd name="T27" fmla="*/ 145 h 162"/>
                <a:gd name="T28" fmla="*/ 23 w 276"/>
                <a:gd name="T29" fmla="*/ 156 h 162"/>
                <a:gd name="T30" fmla="*/ 26 w 276"/>
                <a:gd name="T31" fmla="*/ 158 h 162"/>
                <a:gd name="T32" fmla="*/ 35 w 276"/>
                <a:gd name="T33" fmla="*/ 161 h 162"/>
                <a:gd name="T34" fmla="*/ 53 w 276"/>
                <a:gd name="T35" fmla="*/ 162 h 162"/>
                <a:gd name="T36" fmla="*/ 70 w 276"/>
                <a:gd name="T37" fmla="*/ 157 h 162"/>
                <a:gd name="T38" fmla="*/ 83 w 276"/>
                <a:gd name="T39" fmla="*/ 145 h 162"/>
                <a:gd name="T40" fmla="*/ 89 w 276"/>
                <a:gd name="T41" fmla="*/ 136 h 162"/>
                <a:gd name="T42" fmla="*/ 93 w 276"/>
                <a:gd name="T43" fmla="*/ 118 h 162"/>
                <a:gd name="T44" fmla="*/ 272 w 276"/>
                <a:gd name="T45" fmla="*/ 16 h 162"/>
                <a:gd name="T46" fmla="*/ 276 w 276"/>
                <a:gd name="T47" fmla="*/ 12 h 162"/>
                <a:gd name="T48" fmla="*/ 276 w 276"/>
                <a:gd name="T49" fmla="*/ 5 h 162"/>
                <a:gd name="T50" fmla="*/ 54 w 276"/>
                <a:gd name="T51" fmla="*/ 138 h 162"/>
                <a:gd name="T52" fmla="*/ 50 w 276"/>
                <a:gd name="T53" fmla="*/ 139 h 162"/>
                <a:gd name="T54" fmla="*/ 40 w 276"/>
                <a:gd name="T55" fmla="*/ 139 h 162"/>
                <a:gd name="T56" fmla="*/ 36 w 276"/>
                <a:gd name="T57" fmla="*/ 137 h 162"/>
                <a:gd name="T58" fmla="*/ 35 w 276"/>
                <a:gd name="T59" fmla="*/ 136 h 162"/>
                <a:gd name="T60" fmla="*/ 27 w 276"/>
                <a:gd name="T61" fmla="*/ 131 h 162"/>
                <a:gd name="T62" fmla="*/ 24 w 276"/>
                <a:gd name="T63" fmla="*/ 122 h 162"/>
                <a:gd name="T64" fmla="*/ 23 w 276"/>
                <a:gd name="T65" fmla="*/ 114 h 162"/>
                <a:gd name="T66" fmla="*/ 25 w 276"/>
                <a:gd name="T67" fmla="*/ 105 h 162"/>
                <a:gd name="T68" fmla="*/ 27 w 276"/>
                <a:gd name="T69" fmla="*/ 101 h 162"/>
                <a:gd name="T70" fmla="*/ 35 w 276"/>
                <a:gd name="T71" fmla="*/ 95 h 162"/>
                <a:gd name="T72" fmla="*/ 44 w 276"/>
                <a:gd name="T73" fmla="*/ 92 h 162"/>
                <a:gd name="T74" fmla="*/ 53 w 276"/>
                <a:gd name="T75" fmla="*/ 92 h 162"/>
                <a:gd name="T76" fmla="*/ 58 w 276"/>
                <a:gd name="T77" fmla="*/ 94 h 162"/>
                <a:gd name="T78" fmla="*/ 60 w 276"/>
                <a:gd name="T79" fmla="*/ 95 h 162"/>
                <a:gd name="T80" fmla="*/ 66 w 276"/>
                <a:gd name="T81" fmla="*/ 102 h 162"/>
                <a:gd name="T82" fmla="*/ 69 w 276"/>
                <a:gd name="T83" fmla="*/ 109 h 162"/>
                <a:gd name="T84" fmla="*/ 70 w 276"/>
                <a:gd name="T85" fmla="*/ 118 h 162"/>
                <a:gd name="T86" fmla="*/ 68 w 276"/>
                <a:gd name="T87" fmla="*/ 126 h 162"/>
                <a:gd name="T88" fmla="*/ 66 w 276"/>
                <a:gd name="T89" fmla="*/ 131 h 162"/>
                <a:gd name="T90" fmla="*/ 59 w 276"/>
                <a:gd name="T91" fmla="*/ 136 h 162"/>
                <a:gd name="T92" fmla="*/ 54 w 276"/>
                <a:gd name="T93" fmla="*/ 13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6" h="162">
                  <a:moveTo>
                    <a:pt x="276" y="5"/>
                  </a:moveTo>
                  <a:lnTo>
                    <a:pt x="276" y="5"/>
                  </a:lnTo>
                  <a:lnTo>
                    <a:pt x="274" y="3"/>
                  </a:lnTo>
                  <a:lnTo>
                    <a:pt x="272" y="1"/>
                  </a:lnTo>
                  <a:lnTo>
                    <a:pt x="272" y="1"/>
                  </a:lnTo>
                  <a:lnTo>
                    <a:pt x="269" y="0"/>
                  </a:lnTo>
                  <a:lnTo>
                    <a:pt x="266" y="1"/>
                  </a:lnTo>
                  <a:lnTo>
                    <a:pt x="75" y="78"/>
                  </a:lnTo>
                  <a:lnTo>
                    <a:pt x="75" y="78"/>
                  </a:lnTo>
                  <a:lnTo>
                    <a:pt x="70" y="76"/>
                  </a:lnTo>
                  <a:lnTo>
                    <a:pt x="70" y="76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59" y="70"/>
                  </a:lnTo>
                  <a:lnTo>
                    <a:pt x="50" y="69"/>
                  </a:lnTo>
                  <a:lnTo>
                    <a:pt x="40" y="69"/>
                  </a:lnTo>
                  <a:lnTo>
                    <a:pt x="32" y="71"/>
                  </a:lnTo>
                  <a:lnTo>
                    <a:pt x="23" y="75"/>
                  </a:lnTo>
                  <a:lnTo>
                    <a:pt x="17" y="80"/>
                  </a:lnTo>
                  <a:lnTo>
                    <a:pt x="10" y="86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1" y="104"/>
                  </a:lnTo>
                  <a:lnTo>
                    <a:pt x="0" y="112"/>
                  </a:lnTo>
                  <a:lnTo>
                    <a:pt x="0" y="121"/>
                  </a:lnTo>
                  <a:lnTo>
                    <a:pt x="1" y="129"/>
                  </a:lnTo>
                  <a:lnTo>
                    <a:pt x="5" y="137"/>
                  </a:lnTo>
                  <a:lnTo>
                    <a:pt x="10" y="145"/>
                  </a:lnTo>
                  <a:lnTo>
                    <a:pt x="15" y="150"/>
                  </a:lnTo>
                  <a:lnTo>
                    <a:pt x="23" y="156"/>
                  </a:lnTo>
                  <a:lnTo>
                    <a:pt x="23" y="156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35" y="161"/>
                  </a:lnTo>
                  <a:lnTo>
                    <a:pt x="45" y="162"/>
                  </a:lnTo>
                  <a:lnTo>
                    <a:pt x="53" y="162"/>
                  </a:lnTo>
                  <a:lnTo>
                    <a:pt x="62" y="160"/>
                  </a:lnTo>
                  <a:lnTo>
                    <a:pt x="70" y="157"/>
                  </a:lnTo>
                  <a:lnTo>
                    <a:pt x="77" y="151"/>
                  </a:lnTo>
                  <a:lnTo>
                    <a:pt x="83" y="145"/>
                  </a:lnTo>
                  <a:lnTo>
                    <a:pt x="89" y="136"/>
                  </a:lnTo>
                  <a:lnTo>
                    <a:pt x="89" y="136"/>
                  </a:lnTo>
                  <a:lnTo>
                    <a:pt x="92" y="128"/>
                  </a:lnTo>
                  <a:lnTo>
                    <a:pt x="93" y="118"/>
                  </a:lnTo>
                  <a:lnTo>
                    <a:pt x="272" y="16"/>
                  </a:lnTo>
                  <a:lnTo>
                    <a:pt x="272" y="16"/>
                  </a:lnTo>
                  <a:lnTo>
                    <a:pt x="274" y="14"/>
                  </a:lnTo>
                  <a:lnTo>
                    <a:pt x="276" y="12"/>
                  </a:lnTo>
                  <a:lnTo>
                    <a:pt x="276" y="9"/>
                  </a:lnTo>
                  <a:lnTo>
                    <a:pt x="276" y="5"/>
                  </a:lnTo>
                  <a:lnTo>
                    <a:pt x="276" y="5"/>
                  </a:lnTo>
                  <a:close/>
                  <a:moveTo>
                    <a:pt x="54" y="138"/>
                  </a:moveTo>
                  <a:lnTo>
                    <a:pt x="54" y="138"/>
                  </a:lnTo>
                  <a:lnTo>
                    <a:pt x="50" y="139"/>
                  </a:lnTo>
                  <a:lnTo>
                    <a:pt x="46" y="139"/>
                  </a:lnTo>
                  <a:lnTo>
                    <a:pt x="40" y="139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5" y="136"/>
                  </a:lnTo>
                  <a:lnTo>
                    <a:pt x="35" y="136"/>
                  </a:lnTo>
                  <a:lnTo>
                    <a:pt x="31" y="134"/>
                  </a:lnTo>
                  <a:lnTo>
                    <a:pt x="27" y="131"/>
                  </a:lnTo>
                  <a:lnTo>
                    <a:pt x="25" y="126"/>
                  </a:lnTo>
                  <a:lnTo>
                    <a:pt x="24" y="122"/>
                  </a:lnTo>
                  <a:lnTo>
                    <a:pt x="23" y="118"/>
                  </a:lnTo>
                  <a:lnTo>
                    <a:pt x="23" y="114"/>
                  </a:lnTo>
                  <a:lnTo>
                    <a:pt x="23" y="109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7" y="101"/>
                  </a:lnTo>
                  <a:lnTo>
                    <a:pt x="31" y="97"/>
                  </a:lnTo>
                  <a:lnTo>
                    <a:pt x="35" y="95"/>
                  </a:lnTo>
                  <a:lnTo>
                    <a:pt x="39" y="93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53" y="92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3" y="97"/>
                  </a:lnTo>
                  <a:lnTo>
                    <a:pt x="66" y="102"/>
                  </a:lnTo>
                  <a:lnTo>
                    <a:pt x="68" y="105"/>
                  </a:lnTo>
                  <a:lnTo>
                    <a:pt x="69" y="109"/>
                  </a:lnTo>
                  <a:lnTo>
                    <a:pt x="70" y="114"/>
                  </a:lnTo>
                  <a:lnTo>
                    <a:pt x="70" y="118"/>
                  </a:lnTo>
                  <a:lnTo>
                    <a:pt x="70" y="122"/>
                  </a:lnTo>
                  <a:lnTo>
                    <a:pt x="68" y="126"/>
                  </a:lnTo>
                  <a:lnTo>
                    <a:pt x="68" y="126"/>
                  </a:lnTo>
                  <a:lnTo>
                    <a:pt x="66" y="131"/>
                  </a:lnTo>
                  <a:lnTo>
                    <a:pt x="63" y="134"/>
                  </a:lnTo>
                  <a:lnTo>
                    <a:pt x="59" y="136"/>
                  </a:lnTo>
                  <a:lnTo>
                    <a:pt x="54" y="138"/>
                  </a:lnTo>
                  <a:lnTo>
                    <a:pt x="54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Line 348"/>
            <p:cNvSpPr>
              <a:spLocks noChangeShapeType="1"/>
            </p:cNvSpPr>
            <p:nvPr/>
          </p:nvSpPr>
          <p:spPr bwMode="auto">
            <a:xfrm>
              <a:off x="2051" y="1885"/>
              <a:ext cx="0" cy="0"/>
            </a:xfrm>
            <a:prstGeom prst="line">
              <a:avLst/>
            </a:prstGeom>
            <a:grpFill/>
            <a:ln w="9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Line 349"/>
            <p:cNvSpPr>
              <a:spLocks noChangeShapeType="1"/>
            </p:cNvSpPr>
            <p:nvPr/>
          </p:nvSpPr>
          <p:spPr bwMode="auto">
            <a:xfrm>
              <a:off x="2075" y="1871"/>
              <a:ext cx="0" cy="0"/>
            </a:xfrm>
            <a:prstGeom prst="line">
              <a:avLst/>
            </a:prstGeom>
            <a:grpFill/>
            <a:ln w="9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" name="Group 4"/>
          <p:cNvGrpSpPr>
            <a:grpSpLocks noChangeAspect="1"/>
          </p:cNvGrpSpPr>
          <p:nvPr/>
        </p:nvGrpSpPr>
        <p:grpSpPr bwMode="auto">
          <a:xfrm>
            <a:off x="6090099" y="3128005"/>
            <a:ext cx="336550" cy="339725"/>
            <a:chOff x="1908" y="2354"/>
            <a:chExt cx="212" cy="214"/>
          </a:xfrm>
          <a:solidFill>
            <a:schemeClr val="bg1"/>
          </a:solidFill>
        </p:grpSpPr>
        <p:sp>
          <p:nvSpPr>
            <p:cNvPr id="26" name="Freeform 5"/>
            <p:cNvSpPr>
              <a:spLocks/>
            </p:cNvSpPr>
            <p:nvPr/>
          </p:nvSpPr>
          <p:spPr bwMode="auto">
            <a:xfrm>
              <a:off x="1908" y="2402"/>
              <a:ext cx="212" cy="166"/>
            </a:xfrm>
            <a:custGeom>
              <a:avLst/>
              <a:gdLst>
                <a:gd name="T0" fmla="*/ 424 w 424"/>
                <a:gd name="T1" fmla="*/ 284 h 331"/>
                <a:gd name="T2" fmla="*/ 424 w 424"/>
                <a:gd name="T3" fmla="*/ 28 h 331"/>
                <a:gd name="T4" fmla="*/ 424 w 424"/>
                <a:gd name="T5" fmla="*/ 28 h 331"/>
                <a:gd name="T6" fmla="*/ 424 w 424"/>
                <a:gd name="T7" fmla="*/ 23 h 331"/>
                <a:gd name="T8" fmla="*/ 422 w 424"/>
                <a:gd name="T9" fmla="*/ 17 h 331"/>
                <a:gd name="T10" fmla="*/ 420 w 424"/>
                <a:gd name="T11" fmla="*/ 12 h 331"/>
                <a:gd name="T12" fmla="*/ 417 w 424"/>
                <a:gd name="T13" fmla="*/ 7 h 331"/>
                <a:gd name="T14" fmla="*/ 412 w 424"/>
                <a:gd name="T15" fmla="*/ 4 h 331"/>
                <a:gd name="T16" fmla="*/ 407 w 424"/>
                <a:gd name="T17" fmla="*/ 2 h 331"/>
                <a:gd name="T18" fmla="*/ 402 w 424"/>
                <a:gd name="T19" fmla="*/ 0 h 331"/>
                <a:gd name="T20" fmla="*/ 396 w 424"/>
                <a:gd name="T21" fmla="*/ 0 h 331"/>
                <a:gd name="T22" fmla="*/ 257 w 424"/>
                <a:gd name="T23" fmla="*/ 0 h 331"/>
                <a:gd name="T24" fmla="*/ 257 w 424"/>
                <a:gd name="T25" fmla="*/ 0 h 331"/>
                <a:gd name="T26" fmla="*/ 257 w 424"/>
                <a:gd name="T27" fmla="*/ 0 h 331"/>
                <a:gd name="T28" fmla="*/ 268 w 424"/>
                <a:gd name="T29" fmla="*/ 28 h 331"/>
                <a:gd name="T30" fmla="*/ 396 w 424"/>
                <a:gd name="T31" fmla="*/ 28 h 331"/>
                <a:gd name="T32" fmla="*/ 396 w 424"/>
                <a:gd name="T33" fmla="*/ 256 h 331"/>
                <a:gd name="T34" fmla="*/ 28 w 424"/>
                <a:gd name="T35" fmla="*/ 256 h 331"/>
                <a:gd name="T36" fmla="*/ 28 w 424"/>
                <a:gd name="T37" fmla="*/ 28 h 331"/>
                <a:gd name="T38" fmla="*/ 161 w 424"/>
                <a:gd name="T39" fmla="*/ 28 h 331"/>
                <a:gd name="T40" fmla="*/ 172 w 424"/>
                <a:gd name="T41" fmla="*/ 0 h 331"/>
                <a:gd name="T42" fmla="*/ 172 w 424"/>
                <a:gd name="T43" fmla="*/ 0 h 331"/>
                <a:gd name="T44" fmla="*/ 172 w 424"/>
                <a:gd name="T45" fmla="*/ 0 h 331"/>
                <a:gd name="T46" fmla="*/ 0 w 424"/>
                <a:gd name="T47" fmla="*/ 0 h 331"/>
                <a:gd name="T48" fmla="*/ 0 w 424"/>
                <a:gd name="T49" fmla="*/ 256 h 331"/>
                <a:gd name="T50" fmla="*/ 0 w 424"/>
                <a:gd name="T51" fmla="*/ 256 h 331"/>
                <a:gd name="T52" fmla="*/ 0 w 424"/>
                <a:gd name="T53" fmla="*/ 261 h 331"/>
                <a:gd name="T54" fmla="*/ 2 w 424"/>
                <a:gd name="T55" fmla="*/ 267 h 331"/>
                <a:gd name="T56" fmla="*/ 4 w 424"/>
                <a:gd name="T57" fmla="*/ 271 h 331"/>
                <a:gd name="T58" fmla="*/ 7 w 424"/>
                <a:gd name="T59" fmla="*/ 275 h 331"/>
                <a:gd name="T60" fmla="*/ 11 w 424"/>
                <a:gd name="T61" fmla="*/ 278 h 331"/>
                <a:gd name="T62" fmla="*/ 17 w 424"/>
                <a:gd name="T63" fmla="*/ 282 h 331"/>
                <a:gd name="T64" fmla="*/ 22 w 424"/>
                <a:gd name="T65" fmla="*/ 283 h 331"/>
                <a:gd name="T66" fmla="*/ 28 w 424"/>
                <a:gd name="T67" fmla="*/ 284 h 331"/>
                <a:gd name="T68" fmla="*/ 170 w 424"/>
                <a:gd name="T69" fmla="*/ 284 h 331"/>
                <a:gd name="T70" fmla="*/ 170 w 424"/>
                <a:gd name="T71" fmla="*/ 312 h 331"/>
                <a:gd name="T72" fmla="*/ 117 w 424"/>
                <a:gd name="T73" fmla="*/ 312 h 331"/>
                <a:gd name="T74" fmla="*/ 117 w 424"/>
                <a:gd name="T75" fmla="*/ 331 h 331"/>
                <a:gd name="T76" fmla="*/ 307 w 424"/>
                <a:gd name="T77" fmla="*/ 331 h 331"/>
                <a:gd name="T78" fmla="*/ 307 w 424"/>
                <a:gd name="T79" fmla="*/ 312 h 331"/>
                <a:gd name="T80" fmla="*/ 254 w 424"/>
                <a:gd name="T81" fmla="*/ 312 h 331"/>
                <a:gd name="T82" fmla="*/ 254 w 424"/>
                <a:gd name="T83" fmla="*/ 284 h 331"/>
                <a:gd name="T84" fmla="*/ 424 w 424"/>
                <a:gd name="T85" fmla="*/ 28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4" h="331">
                  <a:moveTo>
                    <a:pt x="424" y="284"/>
                  </a:moveTo>
                  <a:lnTo>
                    <a:pt x="424" y="28"/>
                  </a:lnTo>
                  <a:lnTo>
                    <a:pt x="424" y="28"/>
                  </a:lnTo>
                  <a:lnTo>
                    <a:pt x="424" y="23"/>
                  </a:lnTo>
                  <a:lnTo>
                    <a:pt x="422" y="17"/>
                  </a:lnTo>
                  <a:lnTo>
                    <a:pt x="420" y="12"/>
                  </a:lnTo>
                  <a:lnTo>
                    <a:pt x="417" y="7"/>
                  </a:lnTo>
                  <a:lnTo>
                    <a:pt x="412" y="4"/>
                  </a:lnTo>
                  <a:lnTo>
                    <a:pt x="407" y="2"/>
                  </a:lnTo>
                  <a:lnTo>
                    <a:pt x="402" y="0"/>
                  </a:lnTo>
                  <a:lnTo>
                    <a:pt x="396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68" y="28"/>
                  </a:lnTo>
                  <a:lnTo>
                    <a:pt x="396" y="28"/>
                  </a:lnTo>
                  <a:lnTo>
                    <a:pt x="396" y="256"/>
                  </a:lnTo>
                  <a:lnTo>
                    <a:pt x="28" y="256"/>
                  </a:lnTo>
                  <a:lnTo>
                    <a:pt x="28" y="28"/>
                  </a:lnTo>
                  <a:lnTo>
                    <a:pt x="161" y="28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0" y="0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61"/>
                  </a:lnTo>
                  <a:lnTo>
                    <a:pt x="2" y="267"/>
                  </a:lnTo>
                  <a:lnTo>
                    <a:pt x="4" y="271"/>
                  </a:lnTo>
                  <a:lnTo>
                    <a:pt x="7" y="275"/>
                  </a:lnTo>
                  <a:lnTo>
                    <a:pt x="11" y="278"/>
                  </a:lnTo>
                  <a:lnTo>
                    <a:pt x="17" y="282"/>
                  </a:lnTo>
                  <a:lnTo>
                    <a:pt x="22" y="283"/>
                  </a:lnTo>
                  <a:lnTo>
                    <a:pt x="28" y="284"/>
                  </a:lnTo>
                  <a:lnTo>
                    <a:pt x="170" y="284"/>
                  </a:lnTo>
                  <a:lnTo>
                    <a:pt x="170" y="312"/>
                  </a:lnTo>
                  <a:lnTo>
                    <a:pt x="117" y="312"/>
                  </a:lnTo>
                  <a:lnTo>
                    <a:pt x="117" y="331"/>
                  </a:lnTo>
                  <a:lnTo>
                    <a:pt x="307" y="331"/>
                  </a:lnTo>
                  <a:lnTo>
                    <a:pt x="307" y="312"/>
                  </a:lnTo>
                  <a:lnTo>
                    <a:pt x="254" y="312"/>
                  </a:lnTo>
                  <a:lnTo>
                    <a:pt x="254" y="284"/>
                  </a:lnTo>
                  <a:lnTo>
                    <a:pt x="424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/>
            <p:cNvSpPr>
              <a:spLocks noEditPoints="1"/>
            </p:cNvSpPr>
            <p:nvPr/>
          </p:nvSpPr>
          <p:spPr bwMode="auto">
            <a:xfrm>
              <a:off x="1968" y="2354"/>
              <a:ext cx="96" cy="154"/>
            </a:xfrm>
            <a:custGeom>
              <a:avLst/>
              <a:gdLst>
                <a:gd name="T0" fmla="*/ 152 w 192"/>
                <a:gd name="T1" fmla="*/ 179 h 307"/>
                <a:gd name="T2" fmla="*/ 182 w 192"/>
                <a:gd name="T3" fmla="*/ 162 h 307"/>
                <a:gd name="T4" fmla="*/ 118 w 192"/>
                <a:gd name="T5" fmla="*/ 90 h 307"/>
                <a:gd name="T6" fmla="*/ 126 w 192"/>
                <a:gd name="T7" fmla="*/ 84 h 307"/>
                <a:gd name="T8" fmla="*/ 134 w 192"/>
                <a:gd name="T9" fmla="*/ 71 h 307"/>
                <a:gd name="T10" fmla="*/ 137 w 192"/>
                <a:gd name="T11" fmla="*/ 61 h 307"/>
                <a:gd name="T12" fmla="*/ 137 w 192"/>
                <a:gd name="T13" fmla="*/ 56 h 307"/>
                <a:gd name="T14" fmla="*/ 136 w 192"/>
                <a:gd name="T15" fmla="*/ 48 h 307"/>
                <a:gd name="T16" fmla="*/ 132 w 192"/>
                <a:gd name="T17" fmla="*/ 35 h 307"/>
                <a:gd name="T18" fmla="*/ 123 w 192"/>
                <a:gd name="T19" fmla="*/ 25 h 307"/>
                <a:gd name="T20" fmla="*/ 111 w 192"/>
                <a:gd name="T21" fmla="*/ 17 h 307"/>
                <a:gd name="T22" fmla="*/ 105 w 192"/>
                <a:gd name="T23" fmla="*/ 0 h 307"/>
                <a:gd name="T24" fmla="*/ 88 w 192"/>
                <a:gd name="T25" fmla="*/ 15 h 307"/>
                <a:gd name="T26" fmla="*/ 80 w 192"/>
                <a:gd name="T27" fmla="*/ 17 h 307"/>
                <a:gd name="T28" fmla="*/ 69 w 192"/>
                <a:gd name="T29" fmla="*/ 25 h 307"/>
                <a:gd name="T30" fmla="*/ 60 w 192"/>
                <a:gd name="T31" fmla="*/ 35 h 307"/>
                <a:gd name="T32" fmla="*/ 55 w 192"/>
                <a:gd name="T33" fmla="*/ 48 h 307"/>
                <a:gd name="T34" fmla="*/ 54 w 192"/>
                <a:gd name="T35" fmla="*/ 56 h 307"/>
                <a:gd name="T36" fmla="*/ 56 w 192"/>
                <a:gd name="T37" fmla="*/ 66 h 307"/>
                <a:gd name="T38" fmla="*/ 60 w 192"/>
                <a:gd name="T39" fmla="*/ 75 h 307"/>
                <a:gd name="T40" fmla="*/ 74 w 192"/>
                <a:gd name="T41" fmla="*/ 90 h 307"/>
                <a:gd name="T42" fmla="*/ 9 w 192"/>
                <a:gd name="T43" fmla="*/ 162 h 307"/>
                <a:gd name="T44" fmla="*/ 40 w 192"/>
                <a:gd name="T45" fmla="*/ 179 h 307"/>
                <a:gd name="T46" fmla="*/ 0 w 192"/>
                <a:gd name="T47" fmla="*/ 284 h 307"/>
                <a:gd name="T48" fmla="*/ 0 w 192"/>
                <a:gd name="T49" fmla="*/ 290 h 307"/>
                <a:gd name="T50" fmla="*/ 2 w 192"/>
                <a:gd name="T51" fmla="*/ 298 h 307"/>
                <a:gd name="T52" fmla="*/ 8 w 192"/>
                <a:gd name="T53" fmla="*/ 303 h 307"/>
                <a:gd name="T54" fmla="*/ 14 w 192"/>
                <a:gd name="T55" fmla="*/ 306 h 307"/>
                <a:gd name="T56" fmla="*/ 64 w 192"/>
                <a:gd name="T57" fmla="*/ 179 h 307"/>
                <a:gd name="T58" fmla="*/ 88 w 192"/>
                <a:gd name="T59" fmla="*/ 200 h 307"/>
                <a:gd name="T60" fmla="*/ 105 w 192"/>
                <a:gd name="T61" fmla="*/ 179 h 307"/>
                <a:gd name="T62" fmla="*/ 175 w 192"/>
                <a:gd name="T63" fmla="*/ 307 h 307"/>
                <a:gd name="T64" fmla="*/ 178 w 192"/>
                <a:gd name="T65" fmla="*/ 306 h 307"/>
                <a:gd name="T66" fmla="*/ 185 w 192"/>
                <a:gd name="T67" fmla="*/ 303 h 307"/>
                <a:gd name="T68" fmla="*/ 189 w 192"/>
                <a:gd name="T69" fmla="*/ 298 h 307"/>
                <a:gd name="T70" fmla="*/ 192 w 192"/>
                <a:gd name="T71" fmla="*/ 290 h 307"/>
                <a:gd name="T72" fmla="*/ 191 w 192"/>
                <a:gd name="T73" fmla="*/ 284 h 307"/>
                <a:gd name="T74" fmla="*/ 96 w 192"/>
                <a:gd name="T75" fmla="*/ 31 h 307"/>
                <a:gd name="T76" fmla="*/ 100 w 192"/>
                <a:gd name="T77" fmla="*/ 32 h 307"/>
                <a:gd name="T78" fmla="*/ 109 w 192"/>
                <a:gd name="T79" fmla="*/ 35 h 307"/>
                <a:gd name="T80" fmla="*/ 116 w 192"/>
                <a:gd name="T81" fmla="*/ 42 h 307"/>
                <a:gd name="T82" fmla="*/ 120 w 192"/>
                <a:gd name="T83" fmla="*/ 51 h 307"/>
                <a:gd name="T84" fmla="*/ 120 w 192"/>
                <a:gd name="T85" fmla="*/ 56 h 307"/>
                <a:gd name="T86" fmla="*/ 118 w 192"/>
                <a:gd name="T87" fmla="*/ 65 h 307"/>
                <a:gd name="T88" fmla="*/ 113 w 192"/>
                <a:gd name="T89" fmla="*/ 72 h 307"/>
                <a:gd name="T90" fmla="*/ 105 w 192"/>
                <a:gd name="T91" fmla="*/ 78 h 307"/>
                <a:gd name="T92" fmla="*/ 96 w 192"/>
                <a:gd name="T93" fmla="*/ 80 h 307"/>
                <a:gd name="T94" fmla="*/ 91 w 192"/>
                <a:gd name="T95" fmla="*/ 79 h 307"/>
                <a:gd name="T96" fmla="*/ 82 w 192"/>
                <a:gd name="T97" fmla="*/ 75 h 307"/>
                <a:gd name="T98" fmla="*/ 76 w 192"/>
                <a:gd name="T99" fmla="*/ 69 h 307"/>
                <a:gd name="T100" fmla="*/ 72 w 192"/>
                <a:gd name="T101" fmla="*/ 60 h 307"/>
                <a:gd name="T102" fmla="*/ 71 w 192"/>
                <a:gd name="T103" fmla="*/ 56 h 307"/>
                <a:gd name="T104" fmla="*/ 74 w 192"/>
                <a:gd name="T105" fmla="*/ 46 h 307"/>
                <a:gd name="T106" fmla="*/ 79 w 192"/>
                <a:gd name="T107" fmla="*/ 39 h 307"/>
                <a:gd name="T108" fmla="*/ 86 w 192"/>
                <a:gd name="T109" fmla="*/ 33 h 307"/>
                <a:gd name="T110" fmla="*/ 96 w 192"/>
                <a:gd name="T111" fmla="*/ 31 h 307"/>
                <a:gd name="T112" fmla="*/ 105 w 192"/>
                <a:gd name="T113" fmla="*/ 162 h 307"/>
                <a:gd name="T114" fmla="*/ 88 w 192"/>
                <a:gd name="T115" fmla="*/ 142 h 307"/>
                <a:gd name="T116" fmla="*/ 70 w 192"/>
                <a:gd name="T117" fmla="*/ 162 h 307"/>
                <a:gd name="T118" fmla="*/ 94 w 192"/>
                <a:gd name="T119" fmla="*/ 97 h 307"/>
                <a:gd name="T120" fmla="*/ 96 w 192"/>
                <a:gd name="T121" fmla="*/ 97 h 307"/>
                <a:gd name="T122" fmla="*/ 121 w 192"/>
                <a:gd name="T123" fmla="*/ 162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307">
                  <a:moveTo>
                    <a:pt x="191" y="284"/>
                  </a:moveTo>
                  <a:lnTo>
                    <a:pt x="152" y="179"/>
                  </a:lnTo>
                  <a:lnTo>
                    <a:pt x="182" y="179"/>
                  </a:lnTo>
                  <a:lnTo>
                    <a:pt x="182" y="162"/>
                  </a:lnTo>
                  <a:lnTo>
                    <a:pt x="146" y="162"/>
                  </a:lnTo>
                  <a:lnTo>
                    <a:pt x="118" y="90"/>
                  </a:lnTo>
                  <a:lnTo>
                    <a:pt x="118" y="90"/>
                  </a:lnTo>
                  <a:lnTo>
                    <a:pt x="126" y="84"/>
                  </a:lnTo>
                  <a:lnTo>
                    <a:pt x="132" y="75"/>
                  </a:lnTo>
                  <a:lnTo>
                    <a:pt x="134" y="71"/>
                  </a:lnTo>
                  <a:lnTo>
                    <a:pt x="136" y="66"/>
                  </a:lnTo>
                  <a:lnTo>
                    <a:pt x="137" y="61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6" y="48"/>
                  </a:lnTo>
                  <a:lnTo>
                    <a:pt x="135" y="41"/>
                  </a:lnTo>
                  <a:lnTo>
                    <a:pt x="132" y="35"/>
                  </a:lnTo>
                  <a:lnTo>
                    <a:pt x="127" y="29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7"/>
                  </a:lnTo>
                  <a:lnTo>
                    <a:pt x="105" y="15"/>
                  </a:lnTo>
                  <a:lnTo>
                    <a:pt x="105" y="0"/>
                  </a:lnTo>
                  <a:lnTo>
                    <a:pt x="88" y="0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0" y="17"/>
                  </a:lnTo>
                  <a:lnTo>
                    <a:pt x="75" y="20"/>
                  </a:lnTo>
                  <a:lnTo>
                    <a:pt x="69" y="25"/>
                  </a:lnTo>
                  <a:lnTo>
                    <a:pt x="64" y="29"/>
                  </a:lnTo>
                  <a:lnTo>
                    <a:pt x="60" y="35"/>
                  </a:lnTo>
                  <a:lnTo>
                    <a:pt x="57" y="41"/>
                  </a:lnTo>
                  <a:lnTo>
                    <a:pt x="55" y="48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5" y="61"/>
                  </a:lnTo>
                  <a:lnTo>
                    <a:pt x="56" y="66"/>
                  </a:lnTo>
                  <a:lnTo>
                    <a:pt x="57" y="71"/>
                  </a:lnTo>
                  <a:lnTo>
                    <a:pt x="60" y="75"/>
                  </a:lnTo>
                  <a:lnTo>
                    <a:pt x="66" y="84"/>
                  </a:lnTo>
                  <a:lnTo>
                    <a:pt x="74" y="90"/>
                  </a:lnTo>
                  <a:lnTo>
                    <a:pt x="47" y="162"/>
                  </a:lnTo>
                  <a:lnTo>
                    <a:pt x="9" y="162"/>
                  </a:lnTo>
                  <a:lnTo>
                    <a:pt x="9" y="179"/>
                  </a:lnTo>
                  <a:lnTo>
                    <a:pt x="40" y="179"/>
                  </a:lnTo>
                  <a:lnTo>
                    <a:pt x="0" y="284"/>
                  </a:lnTo>
                  <a:lnTo>
                    <a:pt x="0" y="284"/>
                  </a:lnTo>
                  <a:lnTo>
                    <a:pt x="0" y="287"/>
                  </a:lnTo>
                  <a:lnTo>
                    <a:pt x="0" y="290"/>
                  </a:lnTo>
                  <a:lnTo>
                    <a:pt x="1" y="295"/>
                  </a:lnTo>
                  <a:lnTo>
                    <a:pt x="2" y="298"/>
                  </a:lnTo>
                  <a:lnTo>
                    <a:pt x="5" y="300"/>
                  </a:lnTo>
                  <a:lnTo>
                    <a:pt x="8" y="303"/>
                  </a:lnTo>
                  <a:lnTo>
                    <a:pt x="10" y="305"/>
                  </a:lnTo>
                  <a:lnTo>
                    <a:pt x="14" y="306"/>
                  </a:lnTo>
                  <a:lnTo>
                    <a:pt x="16" y="307"/>
                  </a:lnTo>
                  <a:lnTo>
                    <a:pt x="64" y="179"/>
                  </a:lnTo>
                  <a:lnTo>
                    <a:pt x="88" y="179"/>
                  </a:lnTo>
                  <a:lnTo>
                    <a:pt x="88" y="200"/>
                  </a:lnTo>
                  <a:lnTo>
                    <a:pt x="105" y="200"/>
                  </a:lnTo>
                  <a:lnTo>
                    <a:pt x="105" y="179"/>
                  </a:lnTo>
                  <a:lnTo>
                    <a:pt x="127" y="179"/>
                  </a:lnTo>
                  <a:lnTo>
                    <a:pt x="175" y="307"/>
                  </a:lnTo>
                  <a:lnTo>
                    <a:pt x="178" y="306"/>
                  </a:lnTo>
                  <a:lnTo>
                    <a:pt x="178" y="306"/>
                  </a:lnTo>
                  <a:lnTo>
                    <a:pt x="181" y="305"/>
                  </a:lnTo>
                  <a:lnTo>
                    <a:pt x="185" y="303"/>
                  </a:lnTo>
                  <a:lnTo>
                    <a:pt x="187" y="300"/>
                  </a:lnTo>
                  <a:lnTo>
                    <a:pt x="189" y="298"/>
                  </a:lnTo>
                  <a:lnTo>
                    <a:pt x="191" y="295"/>
                  </a:lnTo>
                  <a:lnTo>
                    <a:pt x="192" y="290"/>
                  </a:lnTo>
                  <a:lnTo>
                    <a:pt x="192" y="287"/>
                  </a:lnTo>
                  <a:lnTo>
                    <a:pt x="191" y="284"/>
                  </a:lnTo>
                  <a:lnTo>
                    <a:pt x="191" y="284"/>
                  </a:lnTo>
                  <a:close/>
                  <a:moveTo>
                    <a:pt x="96" y="31"/>
                  </a:moveTo>
                  <a:lnTo>
                    <a:pt x="96" y="31"/>
                  </a:lnTo>
                  <a:lnTo>
                    <a:pt x="100" y="32"/>
                  </a:lnTo>
                  <a:lnTo>
                    <a:pt x="105" y="33"/>
                  </a:lnTo>
                  <a:lnTo>
                    <a:pt x="109" y="35"/>
                  </a:lnTo>
                  <a:lnTo>
                    <a:pt x="113" y="39"/>
                  </a:lnTo>
                  <a:lnTo>
                    <a:pt x="116" y="42"/>
                  </a:lnTo>
                  <a:lnTo>
                    <a:pt x="118" y="46"/>
                  </a:lnTo>
                  <a:lnTo>
                    <a:pt x="120" y="51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18" y="65"/>
                  </a:lnTo>
                  <a:lnTo>
                    <a:pt x="116" y="69"/>
                  </a:lnTo>
                  <a:lnTo>
                    <a:pt x="113" y="72"/>
                  </a:lnTo>
                  <a:lnTo>
                    <a:pt x="109" y="75"/>
                  </a:lnTo>
                  <a:lnTo>
                    <a:pt x="105" y="78"/>
                  </a:lnTo>
                  <a:lnTo>
                    <a:pt x="100" y="79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1" y="79"/>
                  </a:lnTo>
                  <a:lnTo>
                    <a:pt x="86" y="78"/>
                  </a:lnTo>
                  <a:lnTo>
                    <a:pt x="82" y="75"/>
                  </a:lnTo>
                  <a:lnTo>
                    <a:pt x="79" y="72"/>
                  </a:lnTo>
                  <a:lnTo>
                    <a:pt x="76" y="69"/>
                  </a:lnTo>
                  <a:lnTo>
                    <a:pt x="74" y="65"/>
                  </a:lnTo>
                  <a:lnTo>
                    <a:pt x="72" y="60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2" y="51"/>
                  </a:lnTo>
                  <a:lnTo>
                    <a:pt x="74" y="46"/>
                  </a:lnTo>
                  <a:lnTo>
                    <a:pt x="76" y="42"/>
                  </a:lnTo>
                  <a:lnTo>
                    <a:pt x="79" y="39"/>
                  </a:lnTo>
                  <a:lnTo>
                    <a:pt x="82" y="35"/>
                  </a:lnTo>
                  <a:lnTo>
                    <a:pt x="86" y="33"/>
                  </a:lnTo>
                  <a:lnTo>
                    <a:pt x="91" y="32"/>
                  </a:lnTo>
                  <a:lnTo>
                    <a:pt x="96" y="31"/>
                  </a:lnTo>
                  <a:lnTo>
                    <a:pt x="96" y="31"/>
                  </a:lnTo>
                  <a:close/>
                  <a:moveTo>
                    <a:pt x="105" y="162"/>
                  </a:moveTo>
                  <a:lnTo>
                    <a:pt x="105" y="142"/>
                  </a:lnTo>
                  <a:lnTo>
                    <a:pt x="88" y="142"/>
                  </a:lnTo>
                  <a:lnTo>
                    <a:pt x="88" y="162"/>
                  </a:lnTo>
                  <a:lnTo>
                    <a:pt x="70" y="162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7" y="97"/>
                  </a:lnTo>
                  <a:lnTo>
                    <a:pt x="121" y="162"/>
                  </a:lnTo>
                  <a:lnTo>
                    <a:pt x="105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" name="Group 310"/>
          <p:cNvGrpSpPr>
            <a:grpSpLocks noChangeAspect="1"/>
          </p:cNvGrpSpPr>
          <p:nvPr/>
        </p:nvGrpSpPr>
        <p:grpSpPr bwMode="auto">
          <a:xfrm>
            <a:off x="6089305" y="5113376"/>
            <a:ext cx="338138" cy="212725"/>
            <a:chOff x="4778" y="1238"/>
            <a:chExt cx="213" cy="134"/>
          </a:xfrm>
          <a:solidFill>
            <a:schemeClr val="bg1"/>
          </a:solidFill>
        </p:grpSpPr>
        <p:sp>
          <p:nvSpPr>
            <p:cNvPr id="29" name="Freeform 311"/>
            <p:cNvSpPr>
              <a:spLocks noEditPoints="1"/>
            </p:cNvSpPr>
            <p:nvPr/>
          </p:nvSpPr>
          <p:spPr bwMode="auto">
            <a:xfrm>
              <a:off x="4852" y="1238"/>
              <a:ext cx="139" cy="85"/>
            </a:xfrm>
            <a:custGeom>
              <a:avLst/>
              <a:gdLst>
                <a:gd name="T0" fmla="*/ 222 w 278"/>
                <a:gd name="T1" fmla="*/ 129 h 171"/>
                <a:gd name="T2" fmla="*/ 213 w 278"/>
                <a:gd name="T3" fmla="*/ 129 h 171"/>
                <a:gd name="T4" fmla="*/ 213 w 278"/>
                <a:gd name="T5" fmla="*/ 171 h 171"/>
                <a:gd name="T6" fmla="*/ 269 w 278"/>
                <a:gd name="T7" fmla="*/ 171 h 171"/>
                <a:gd name="T8" fmla="*/ 269 w 278"/>
                <a:gd name="T9" fmla="*/ 77 h 171"/>
                <a:gd name="T10" fmla="*/ 222 w 278"/>
                <a:gd name="T11" fmla="*/ 77 h 171"/>
                <a:gd name="T12" fmla="*/ 222 w 278"/>
                <a:gd name="T13" fmla="*/ 129 h 171"/>
                <a:gd name="T14" fmla="*/ 259 w 278"/>
                <a:gd name="T15" fmla="*/ 0 h 171"/>
                <a:gd name="T16" fmla="*/ 0 w 278"/>
                <a:gd name="T17" fmla="*/ 0 h 171"/>
                <a:gd name="T18" fmla="*/ 0 w 278"/>
                <a:gd name="T19" fmla="*/ 35 h 171"/>
                <a:gd name="T20" fmla="*/ 186 w 278"/>
                <a:gd name="T21" fmla="*/ 35 h 171"/>
                <a:gd name="T22" fmla="*/ 186 w 278"/>
                <a:gd name="T23" fmla="*/ 35 h 171"/>
                <a:gd name="T24" fmla="*/ 192 w 278"/>
                <a:gd name="T25" fmla="*/ 35 h 171"/>
                <a:gd name="T26" fmla="*/ 198 w 278"/>
                <a:gd name="T27" fmla="*/ 37 h 171"/>
                <a:gd name="T28" fmla="*/ 203 w 278"/>
                <a:gd name="T29" fmla="*/ 39 h 171"/>
                <a:gd name="T30" fmla="*/ 207 w 278"/>
                <a:gd name="T31" fmla="*/ 42 h 171"/>
                <a:gd name="T32" fmla="*/ 212 w 278"/>
                <a:gd name="T33" fmla="*/ 46 h 171"/>
                <a:gd name="T34" fmla="*/ 216 w 278"/>
                <a:gd name="T35" fmla="*/ 50 h 171"/>
                <a:gd name="T36" fmla="*/ 219 w 278"/>
                <a:gd name="T37" fmla="*/ 55 h 171"/>
                <a:gd name="T38" fmla="*/ 221 w 278"/>
                <a:gd name="T39" fmla="*/ 61 h 171"/>
                <a:gd name="T40" fmla="*/ 278 w 278"/>
                <a:gd name="T41" fmla="*/ 61 h 171"/>
                <a:gd name="T42" fmla="*/ 278 w 278"/>
                <a:gd name="T43" fmla="*/ 21 h 171"/>
                <a:gd name="T44" fmla="*/ 278 w 278"/>
                <a:gd name="T45" fmla="*/ 21 h 171"/>
                <a:gd name="T46" fmla="*/ 278 w 278"/>
                <a:gd name="T47" fmla="*/ 16 h 171"/>
                <a:gd name="T48" fmla="*/ 277 w 278"/>
                <a:gd name="T49" fmla="*/ 13 h 171"/>
                <a:gd name="T50" fmla="*/ 275 w 278"/>
                <a:gd name="T51" fmla="*/ 10 h 171"/>
                <a:gd name="T52" fmla="*/ 273 w 278"/>
                <a:gd name="T53" fmla="*/ 7 h 171"/>
                <a:gd name="T54" fmla="*/ 270 w 278"/>
                <a:gd name="T55" fmla="*/ 5 h 171"/>
                <a:gd name="T56" fmla="*/ 267 w 278"/>
                <a:gd name="T57" fmla="*/ 2 h 171"/>
                <a:gd name="T58" fmla="*/ 263 w 278"/>
                <a:gd name="T59" fmla="*/ 1 h 171"/>
                <a:gd name="T60" fmla="*/ 259 w 278"/>
                <a:gd name="T61" fmla="*/ 0 h 171"/>
                <a:gd name="T62" fmla="*/ 259 w 278"/>
                <a:gd name="T6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8" h="171">
                  <a:moveTo>
                    <a:pt x="222" y="129"/>
                  </a:moveTo>
                  <a:lnTo>
                    <a:pt x="213" y="129"/>
                  </a:lnTo>
                  <a:lnTo>
                    <a:pt x="213" y="171"/>
                  </a:lnTo>
                  <a:lnTo>
                    <a:pt x="269" y="171"/>
                  </a:lnTo>
                  <a:lnTo>
                    <a:pt x="269" y="77"/>
                  </a:lnTo>
                  <a:lnTo>
                    <a:pt x="222" y="77"/>
                  </a:lnTo>
                  <a:lnTo>
                    <a:pt x="222" y="129"/>
                  </a:lnTo>
                  <a:close/>
                  <a:moveTo>
                    <a:pt x="259" y="0"/>
                  </a:moveTo>
                  <a:lnTo>
                    <a:pt x="0" y="0"/>
                  </a:lnTo>
                  <a:lnTo>
                    <a:pt x="0" y="35"/>
                  </a:lnTo>
                  <a:lnTo>
                    <a:pt x="186" y="35"/>
                  </a:lnTo>
                  <a:lnTo>
                    <a:pt x="186" y="35"/>
                  </a:lnTo>
                  <a:lnTo>
                    <a:pt x="192" y="35"/>
                  </a:lnTo>
                  <a:lnTo>
                    <a:pt x="198" y="37"/>
                  </a:lnTo>
                  <a:lnTo>
                    <a:pt x="203" y="39"/>
                  </a:lnTo>
                  <a:lnTo>
                    <a:pt x="207" y="42"/>
                  </a:lnTo>
                  <a:lnTo>
                    <a:pt x="212" y="46"/>
                  </a:lnTo>
                  <a:lnTo>
                    <a:pt x="216" y="50"/>
                  </a:lnTo>
                  <a:lnTo>
                    <a:pt x="219" y="55"/>
                  </a:lnTo>
                  <a:lnTo>
                    <a:pt x="221" y="61"/>
                  </a:lnTo>
                  <a:lnTo>
                    <a:pt x="278" y="61"/>
                  </a:lnTo>
                  <a:lnTo>
                    <a:pt x="278" y="21"/>
                  </a:lnTo>
                  <a:lnTo>
                    <a:pt x="278" y="21"/>
                  </a:lnTo>
                  <a:lnTo>
                    <a:pt x="278" y="16"/>
                  </a:lnTo>
                  <a:lnTo>
                    <a:pt x="277" y="13"/>
                  </a:lnTo>
                  <a:lnTo>
                    <a:pt x="275" y="10"/>
                  </a:lnTo>
                  <a:lnTo>
                    <a:pt x="273" y="7"/>
                  </a:lnTo>
                  <a:lnTo>
                    <a:pt x="270" y="5"/>
                  </a:lnTo>
                  <a:lnTo>
                    <a:pt x="267" y="2"/>
                  </a:lnTo>
                  <a:lnTo>
                    <a:pt x="263" y="1"/>
                  </a:lnTo>
                  <a:lnTo>
                    <a:pt x="259" y="0"/>
                  </a:lnTo>
                  <a:lnTo>
                    <a:pt x="2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312"/>
            <p:cNvSpPr>
              <a:spLocks noEditPoints="1"/>
            </p:cNvSpPr>
            <p:nvPr/>
          </p:nvSpPr>
          <p:spPr bwMode="auto">
            <a:xfrm>
              <a:off x="4815" y="1264"/>
              <a:ext cx="139" cy="84"/>
            </a:xfrm>
            <a:custGeom>
              <a:avLst/>
              <a:gdLst>
                <a:gd name="T0" fmla="*/ 222 w 278"/>
                <a:gd name="T1" fmla="*/ 125 h 169"/>
                <a:gd name="T2" fmla="*/ 212 w 278"/>
                <a:gd name="T3" fmla="*/ 125 h 169"/>
                <a:gd name="T4" fmla="*/ 212 w 278"/>
                <a:gd name="T5" fmla="*/ 169 h 169"/>
                <a:gd name="T6" fmla="*/ 268 w 278"/>
                <a:gd name="T7" fmla="*/ 169 h 169"/>
                <a:gd name="T8" fmla="*/ 268 w 278"/>
                <a:gd name="T9" fmla="*/ 78 h 169"/>
                <a:gd name="T10" fmla="*/ 222 w 278"/>
                <a:gd name="T11" fmla="*/ 78 h 169"/>
                <a:gd name="T12" fmla="*/ 222 w 278"/>
                <a:gd name="T13" fmla="*/ 125 h 169"/>
                <a:gd name="T14" fmla="*/ 259 w 278"/>
                <a:gd name="T15" fmla="*/ 0 h 169"/>
                <a:gd name="T16" fmla="*/ 0 w 278"/>
                <a:gd name="T17" fmla="*/ 0 h 169"/>
                <a:gd name="T18" fmla="*/ 0 w 278"/>
                <a:gd name="T19" fmla="*/ 30 h 169"/>
                <a:gd name="T20" fmla="*/ 185 w 278"/>
                <a:gd name="T21" fmla="*/ 30 h 169"/>
                <a:gd name="T22" fmla="*/ 185 w 278"/>
                <a:gd name="T23" fmla="*/ 30 h 169"/>
                <a:gd name="T24" fmla="*/ 192 w 278"/>
                <a:gd name="T25" fmla="*/ 31 h 169"/>
                <a:gd name="T26" fmla="*/ 198 w 278"/>
                <a:gd name="T27" fmla="*/ 33 h 169"/>
                <a:gd name="T28" fmla="*/ 204 w 278"/>
                <a:gd name="T29" fmla="*/ 36 h 169"/>
                <a:gd name="T30" fmla="*/ 209 w 278"/>
                <a:gd name="T31" fmla="*/ 39 h 169"/>
                <a:gd name="T32" fmla="*/ 213 w 278"/>
                <a:gd name="T33" fmla="*/ 43 h 169"/>
                <a:gd name="T34" fmla="*/ 217 w 278"/>
                <a:gd name="T35" fmla="*/ 49 h 169"/>
                <a:gd name="T36" fmla="*/ 220 w 278"/>
                <a:gd name="T37" fmla="*/ 54 h 169"/>
                <a:gd name="T38" fmla="*/ 221 w 278"/>
                <a:gd name="T39" fmla="*/ 59 h 169"/>
                <a:gd name="T40" fmla="*/ 278 w 278"/>
                <a:gd name="T41" fmla="*/ 59 h 169"/>
                <a:gd name="T42" fmla="*/ 278 w 278"/>
                <a:gd name="T43" fmla="*/ 19 h 169"/>
                <a:gd name="T44" fmla="*/ 278 w 278"/>
                <a:gd name="T45" fmla="*/ 19 h 169"/>
                <a:gd name="T46" fmla="*/ 278 w 278"/>
                <a:gd name="T47" fmla="*/ 16 h 169"/>
                <a:gd name="T48" fmla="*/ 277 w 278"/>
                <a:gd name="T49" fmla="*/ 12 h 169"/>
                <a:gd name="T50" fmla="*/ 275 w 278"/>
                <a:gd name="T51" fmla="*/ 9 h 169"/>
                <a:gd name="T52" fmla="*/ 273 w 278"/>
                <a:gd name="T53" fmla="*/ 5 h 169"/>
                <a:gd name="T54" fmla="*/ 269 w 278"/>
                <a:gd name="T55" fmla="*/ 3 h 169"/>
                <a:gd name="T56" fmla="*/ 266 w 278"/>
                <a:gd name="T57" fmla="*/ 1 h 169"/>
                <a:gd name="T58" fmla="*/ 263 w 278"/>
                <a:gd name="T59" fmla="*/ 0 h 169"/>
                <a:gd name="T60" fmla="*/ 259 w 278"/>
                <a:gd name="T61" fmla="*/ 0 h 169"/>
                <a:gd name="T62" fmla="*/ 259 w 278"/>
                <a:gd name="T63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8" h="169">
                  <a:moveTo>
                    <a:pt x="222" y="125"/>
                  </a:moveTo>
                  <a:lnTo>
                    <a:pt x="212" y="125"/>
                  </a:lnTo>
                  <a:lnTo>
                    <a:pt x="212" y="169"/>
                  </a:lnTo>
                  <a:lnTo>
                    <a:pt x="268" y="169"/>
                  </a:lnTo>
                  <a:lnTo>
                    <a:pt x="268" y="78"/>
                  </a:lnTo>
                  <a:lnTo>
                    <a:pt x="222" y="78"/>
                  </a:lnTo>
                  <a:lnTo>
                    <a:pt x="222" y="125"/>
                  </a:lnTo>
                  <a:close/>
                  <a:moveTo>
                    <a:pt x="259" y="0"/>
                  </a:moveTo>
                  <a:lnTo>
                    <a:pt x="0" y="0"/>
                  </a:lnTo>
                  <a:lnTo>
                    <a:pt x="0" y="30"/>
                  </a:lnTo>
                  <a:lnTo>
                    <a:pt x="185" y="30"/>
                  </a:lnTo>
                  <a:lnTo>
                    <a:pt x="185" y="30"/>
                  </a:lnTo>
                  <a:lnTo>
                    <a:pt x="192" y="31"/>
                  </a:lnTo>
                  <a:lnTo>
                    <a:pt x="198" y="33"/>
                  </a:lnTo>
                  <a:lnTo>
                    <a:pt x="204" y="36"/>
                  </a:lnTo>
                  <a:lnTo>
                    <a:pt x="209" y="39"/>
                  </a:lnTo>
                  <a:lnTo>
                    <a:pt x="213" y="43"/>
                  </a:lnTo>
                  <a:lnTo>
                    <a:pt x="217" y="49"/>
                  </a:lnTo>
                  <a:lnTo>
                    <a:pt x="220" y="54"/>
                  </a:lnTo>
                  <a:lnTo>
                    <a:pt x="221" y="59"/>
                  </a:lnTo>
                  <a:lnTo>
                    <a:pt x="278" y="59"/>
                  </a:lnTo>
                  <a:lnTo>
                    <a:pt x="278" y="19"/>
                  </a:lnTo>
                  <a:lnTo>
                    <a:pt x="278" y="19"/>
                  </a:lnTo>
                  <a:lnTo>
                    <a:pt x="278" y="16"/>
                  </a:lnTo>
                  <a:lnTo>
                    <a:pt x="277" y="12"/>
                  </a:lnTo>
                  <a:lnTo>
                    <a:pt x="275" y="9"/>
                  </a:lnTo>
                  <a:lnTo>
                    <a:pt x="273" y="5"/>
                  </a:lnTo>
                  <a:lnTo>
                    <a:pt x="269" y="3"/>
                  </a:lnTo>
                  <a:lnTo>
                    <a:pt x="266" y="1"/>
                  </a:lnTo>
                  <a:lnTo>
                    <a:pt x="263" y="0"/>
                  </a:lnTo>
                  <a:lnTo>
                    <a:pt x="259" y="0"/>
                  </a:lnTo>
                  <a:lnTo>
                    <a:pt x="2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13"/>
            <p:cNvSpPr>
              <a:spLocks/>
            </p:cNvSpPr>
            <p:nvPr/>
          </p:nvSpPr>
          <p:spPr bwMode="auto">
            <a:xfrm>
              <a:off x="4783" y="1326"/>
              <a:ext cx="130" cy="46"/>
            </a:xfrm>
            <a:custGeom>
              <a:avLst/>
              <a:gdLst>
                <a:gd name="T0" fmla="*/ 20 w 259"/>
                <a:gd name="T1" fmla="*/ 93 h 93"/>
                <a:gd name="T2" fmla="*/ 20 w 259"/>
                <a:gd name="T3" fmla="*/ 93 h 93"/>
                <a:gd name="T4" fmla="*/ 16 w 259"/>
                <a:gd name="T5" fmla="*/ 92 h 93"/>
                <a:gd name="T6" fmla="*/ 12 w 259"/>
                <a:gd name="T7" fmla="*/ 91 h 93"/>
                <a:gd name="T8" fmla="*/ 9 w 259"/>
                <a:gd name="T9" fmla="*/ 88 h 93"/>
                <a:gd name="T10" fmla="*/ 6 w 259"/>
                <a:gd name="T11" fmla="*/ 86 h 93"/>
                <a:gd name="T12" fmla="*/ 4 w 259"/>
                <a:gd name="T13" fmla="*/ 83 h 93"/>
                <a:gd name="T14" fmla="*/ 1 w 259"/>
                <a:gd name="T15" fmla="*/ 80 h 93"/>
                <a:gd name="T16" fmla="*/ 0 w 259"/>
                <a:gd name="T17" fmla="*/ 77 h 93"/>
                <a:gd name="T18" fmla="*/ 0 w 259"/>
                <a:gd name="T19" fmla="*/ 72 h 93"/>
                <a:gd name="T20" fmla="*/ 0 w 259"/>
                <a:gd name="T21" fmla="*/ 0 h 93"/>
                <a:gd name="T22" fmla="*/ 259 w 259"/>
                <a:gd name="T23" fmla="*/ 0 h 93"/>
                <a:gd name="T24" fmla="*/ 259 w 259"/>
                <a:gd name="T25" fmla="*/ 93 h 93"/>
                <a:gd name="T26" fmla="*/ 20 w 259"/>
                <a:gd name="T2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9" h="93">
                  <a:moveTo>
                    <a:pt x="20" y="93"/>
                  </a:moveTo>
                  <a:lnTo>
                    <a:pt x="20" y="93"/>
                  </a:lnTo>
                  <a:lnTo>
                    <a:pt x="16" y="92"/>
                  </a:lnTo>
                  <a:lnTo>
                    <a:pt x="12" y="91"/>
                  </a:lnTo>
                  <a:lnTo>
                    <a:pt x="9" y="88"/>
                  </a:lnTo>
                  <a:lnTo>
                    <a:pt x="6" y="86"/>
                  </a:lnTo>
                  <a:lnTo>
                    <a:pt x="4" y="83"/>
                  </a:lnTo>
                  <a:lnTo>
                    <a:pt x="1" y="80"/>
                  </a:lnTo>
                  <a:lnTo>
                    <a:pt x="0" y="77"/>
                  </a:lnTo>
                  <a:lnTo>
                    <a:pt x="0" y="72"/>
                  </a:lnTo>
                  <a:lnTo>
                    <a:pt x="0" y="0"/>
                  </a:lnTo>
                  <a:lnTo>
                    <a:pt x="259" y="0"/>
                  </a:lnTo>
                  <a:lnTo>
                    <a:pt x="259" y="93"/>
                  </a:lnTo>
                  <a:lnTo>
                    <a:pt x="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4"/>
            <p:cNvSpPr>
              <a:spLocks/>
            </p:cNvSpPr>
            <p:nvPr/>
          </p:nvSpPr>
          <p:spPr bwMode="auto">
            <a:xfrm>
              <a:off x="4778" y="1287"/>
              <a:ext cx="139" cy="30"/>
            </a:xfrm>
            <a:custGeom>
              <a:avLst/>
              <a:gdLst>
                <a:gd name="T0" fmla="*/ 258 w 278"/>
                <a:gd name="T1" fmla="*/ 0 h 61"/>
                <a:gd name="T2" fmla="*/ 258 w 278"/>
                <a:gd name="T3" fmla="*/ 0 h 61"/>
                <a:gd name="T4" fmla="*/ 263 w 278"/>
                <a:gd name="T5" fmla="*/ 2 h 61"/>
                <a:gd name="T6" fmla="*/ 266 w 278"/>
                <a:gd name="T7" fmla="*/ 3 h 61"/>
                <a:gd name="T8" fmla="*/ 269 w 278"/>
                <a:gd name="T9" fmla="*/ 5 h 61"/>
                <a:gd name="T10" fmla="*/ 272 w 278"/>
                <a:gd name="T11" fmla="*/ 7 h 61"/>
                <a:gd name="T12" fmla="*/ 275 w 278"/>
                <a:gd name="T13" fmla="*/ 10 h 61"/>
                <a:gd name="T14" fmla="*/ 277 w 278"/>
                <a:gd name="T15" fmla="*/ 13 h 61"/>
                <a:gd name="T16" fmla="*/ 278 w 278"/>
                <a:gd name="T17" fmla="*/ 17 h 61"/>
                <a:gd name="T18" fmla="*/ 278 w 278"/>
                <a:gd name="T19" fmla="*/ 21 h 61"/>
                <a:gd name="T20" fmla="*/ 278 w 278"/>
                <a:gd name="T21" fmla="*/ 61 h 61"/>
                <a:gd name="T22" fmla="*/ 0 w 278"/>
                <a:gd name="T23" fmla="*/ 61 h 61"/>
                <a:gd name="T24" fmla="*/ 0 w 278"/>
                <a:gd name="T25" fmla="*/ 0 h 61"/>
                <a:gd name="T26" fmla="*/ 258 w 278"/>
                <a:gd name="T2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8" h="61">
                  <a:moveTo>
                    <a:pt x="258" y="0"/>
                  </a:moveTo>
                  <a:lnTo>
                    <a:pt x="258" y="0"/>
                  </a:lnTo>
                  <a:lnTo>
                    <a:pt x="263" y="2"/>
                  </a:lnTo>
                  <a:lnTo>
                    <a:pt x="266" y="3"/>
                  </a:lnTo>
                  <a:lnTo>
                    <a:pt x="269" y="5"/>
                  </a:lnTo>
                  <a:lnTo>
                    <a:pt x="272" y="7"/>
                  </a:lnTo>
                  <a:lnTo>
                    <a:pt x="275" y="10"/>
                  </a:lnTo>
                  <a:lnTo>
                    <a:pt x="277" y="13"/>
                  </a:lnTo>
                  <a:lnTo>
                    <a:pt x="278" y="17"/>
                  </a:lnTo>
                  <a:lnTo>
                    <a:pt x="278" y="21"/>
                  </a:lnTo>
                  <a:lnTo>
                    <a:pt x="278" y="61"/>
                  </a:lnTo>
                  <a:lnTo>
                    <a:pt x="0" y="61"/>
                  </a:lnTo>
                  <a:lnTo>
                    <a:pt x="0" y="0"/>
                  </a:lnTo>
                  <a:lnTo>
                    <a:pt x="2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6582748" y="5051305"/>
            <a:ext cx="3331029" cy="2797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spcAft>
                <a:spcPts val="1000"/>
              </a:spcAft>
            </a:pPr>
            <a:r>
              <a:rPr lang="en-US" sz="2400" b="1" dirty="0">
                <a:solidFill>
                  <a:prstClr val="white"/>
                </a:solidFill>
              </a:rPr>
              <a:t>Resource </a:t>
            </a:r>
            <a:r>
              <a:rPr lang="en-US" sz="2400" b="1" dirty="0" smtClean="0">
                <a:solidFill>
                  <a:prstClr val="white"/>
                </a:solidFill>
              </a:rPr>
              <a:t>constraints</a:t>
            </a:r>
            <a:endParaRPr lang="en-US" sz="24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11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wxnz3ScEGmtpnp2ITGF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L6j3R2wEGkpo3O3Gpon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.6itigZkioTqaAnBtHy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WNfqTXx0.wpEHc_2x7z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e3d3XJSESno7daelYE5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iYpUg5UaAnlR5wilWc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tJHhcX0qR23wEpW8zW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qWUixHAkqv19SQTZKMe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0nmSLR8UmeItPurKG2.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YUfNG_r0qKTzbXoql0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BtHT104ESoCkEedgcfl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oQHZW7RkKNI0q_wLq2J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jbKvO21ESUG_TigHfVM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wxnz3ScEGmtpnp2ITGF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BtHT104ESoCkEedgcfl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kQl1xMBk623yLQXRxON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NE.9L0zEuIBePVfKuvW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EPvzBWH0a37Hm45i2rv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1XUsOm80eb46h4PpaW4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hXQXAIgUurGc_xu.H5e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P._T2Eq0OcsMqCi4ua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kQl1xMBk623yLQXRxO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zPj.tDLEGKxn4Wxw0j.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ejBXZhmUu_S476JZUmo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J9MvbRlkOviE.6By3ba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SnV5yyYEuwdGTjxjcdq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7yPNjCo0a5EadP0yzqN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.6itigZkioTqaAnBtHy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yjxtRCwEqcGdkRTeeJS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f22EbbikS2dFKnHohB7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WNfqTXx0.wpEHc_2x7z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82d.yrL0WCiEE4pQ.f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NE.9L0zEuIBePVfKuvW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w_NIahQ0Klgy0BvqwMB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rZApf_YkSXxEQHy4VjE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52ixc8Sk.L_CuL7lpcM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b8BrhLzkGwKG_lU9wvD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XemEnoLECuNR6_raWs0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UVxyp7TkeABhm8l55PI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e8.xzGJUG59qCIImLqL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Wj1PZ_JEu9Nvu1i_SVP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oS3HPEaEO.93zDLJ5HU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sxJsiFYE6Nl0xUDyQ7d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EPvzBWH0a37Hm45i2rv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mN2bJMCkyt9tUsS.Y9f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hkj3NdqEO.5FegBzAOw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oGGYLkOU.SBRXuhNJuE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HdqkTdUS7UV.Em1BCV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Azih.0CUixVXNKzkNWx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k1WMuWMU.Fb9nrX21jB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0nmSLR8UmeItPurKG2.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0nmSLR8UmeItPurKG2.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e3d3XJSESno7daelYE5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SnV5yyYEuwdGTjxjcd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1XUsOm80eb46h4PpaW4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SnV5yyYEuwdGTjxjcdq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L6j3R2wEGkpo3O3Gpon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.6itigZkioTqaAnBtHy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WNfqTXx0.wpEHc_2x7z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e3d3XJSESno7daelYE5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hXQXAIgUurGc_xu.H5e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P._T2Eq0OcsMqCi4ua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zPj.tDLEGKxn4Wxw0j.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ejBXZhmUu_S476JZUm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J9MvbRlkOviE.6By3ba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SnV5yyYEuwdGTjxjcdq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7yPNjCo0a5EadP0yzq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.6itigZkioTqaAnBtH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yjxtRCwEqcGdkRTeeJS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f22EbbikS2dFKnHohB7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WNfqTXx0.wpEHc_2x7z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82d.yrL0WCiEE4pQ.f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w_NIahQ0Klgy0BvqwM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rZApf_YkSXxEQHy4Vj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iYpUg5UaAnlR5wilWc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52ixc8Sk.L_CuL7lpc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b8BrhLzkGwKG_lU9wvD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XemEnoLECuNR6_raWs0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UVxyp7TkeABhm8l55PI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e8.xzGJUG59qCIImLqL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Wj1PZ_JEu9Nvu1i_SV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oS3HPEaEO.93zDLJ5HU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sxJsiFYE6Nl0xUDyQ7d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mN2bJMCkyt9tUsS.Y9f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hkj3NdqEO.5FegBzAO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tJHhcX0qR23wEpW8z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oGGYLkOU.SBRXuhNJuE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HdqkTdUS7UV.Em1BC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Azih.0CUixVXNKzkNWx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k1WMuWMU.Fb9nrX21jB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0nmSLR8UmeItPurKG2.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0nmSLR8UmeItPurKG2.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e3d3XJSESno7daelYE5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SnV5yyYEuwdGTjxjcdq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SnV5yyYEuwdGTjxjcdq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L6j3R2wEGkpo3O3Gpo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qWUixHAkqv19SQTZKM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.6itigZkioTqaAnBtHy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WNfqTXx0.wpEHc_2x7z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e3d3XJSESno7daelYE5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iYpUg5UaAnlR5wilWc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tJHhcX0qR23wEpW8zW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qWUixHAkqv19SQTZKMe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0nmSLR8UmeItPurKG2.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YUfNG_r0qKTzbXoql0b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oQHZW7RkKNI0q_wLq2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0nmSLR8UmeItPurKG2.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jbKvO21ESUG_TigHfVM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wxnz3ScEGmtpnp2ITGF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BtHT104ESoCkEedgcfl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kQl1xMBk623yLQXRxON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NE.9L0zEuIBePVfKuvW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EPvzBWH0a37Hm45i2rv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1XUsOm80eb46h4PpaW4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hXQXAIgUurGc_xu.H5e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P._T2Eq0OcsMqCi4uas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zPj.tDLEGKxn4Wxw0j.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YUfNG_r0qKTzbXoql0b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ejBXZhmUu_S476JZUmo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J9MvbRlkOviE.6By3ba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SnV5yyYEuwdGTjxjcdq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7yPNjCo0a5EadP0yzqN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.6itigZkioTqaAnBtHy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yjxtRCwEqcGdkRTeeJS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f22EbbikS2dFKnHohB7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WNfqTXx0.wpEHc_2x7z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82d.yrL0WCiEE4pQ.fA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w_NIahQ0Klgy0BvqwM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oQHZW7RkKNI0q_wLq2J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rZApf_YkSXxEQHy4VjE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52ixc8Sk.L_CuL7lpcM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b8BrhLzkGwKG_lU9wvD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XemEnoLECuNR6_raWs0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UVxyp7TkeABhm8l55PI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e8.xzGJUG59qCIImLqL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Wj1PZ_JEu9Nvu1i_SVP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oS3HPEaEO.93zDLJ5HU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sxJsiFYE6Nl0xUDyQ7d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mN2bJMCkyt9tUsS.Y9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jbKvO21ESUG_TigHfVM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hkj3NdqEO.5FegBzAOw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oGGYLkOU.SBRXuhNJuE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HdqkTdUS7UV.Em1BCV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Azih.0CUixVXNKzkNWx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k1WMuWMU.Fb9nrX21jB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0nmSLR8UmeItPurKG2.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0nmSLR8UmeItPurKG2.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e3d3XJSESno7daelYE5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SnV5yyYEuwdGTjxjcdq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SnV5yyYEuwdGTjxjcdqw"/>
</p:tagLst>
</file>

<file path=ppt/theme/theme1.xml><?xml version="1.0" encoding="utf-8"?>
<a:theme xmlns:a="http://schemas.openxmlformats.org/drawingml/2006/main" name="HP Standard 16x9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822980"/>
      </a:accent2>
      <a:accent3>
        <a:srgbClr val="87898B"/>
      </a:accent3>
      <a:accent4>
        <a:srgbClr val="99D5EF"/>
      </a:accent4>
      <a:accent5>
        <a:srgbClr val="C094BF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accent1"/>
          </a:solidFill>
          <a:miter lim="800000"/>
        </a:ln>
      </a:spPr>
      <a:bodyPr rtlCol="0" anchor="ctr"/>
      <a:lstStyle>
        <a:defPPr algn="ctr">
          <a:lnSpc>
            <a:spcPct val="90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Green">
      <a:srgbClr val="008B2C"/>
    </a:custClr>
    <a:custClr name="75% Green">
      <a:srgbClr val="40A85F"/>
    </a:custClr>
    <a:custClr name="50% Green">
      <a:srgbClr val="7FC594"/>
    </a:custClr>
    <a:custClr name="25% Green">
      <a:srgbClr val="BFE2CA"/>
    </a:custClr>
    <a:custClr name="Orange">
      <a:srgbClr val="F05332"/>
    </a:custClr>
    <a:custClr name="75% Orange">
      <a:srgbClr val="F47E65"/>
    </a:custClr>
    <a:custClr name="50% Orange">
      <a:srgbClr val="F7A998"/>
    </a:custClr>
    <a:custClr name="25% Orange">
      <a:srgbClr val="FBD4C0"/>
    </a:custClr>
  </a:custClrLst>
</a:theme>
</file>

<file path=ppt/theme/theme2.xml><?xml version="1.0" encoding="utf-8"?>
<a:theme xmlns:a="http://schemas.openxmlformats.org/drawingml/2006/main" name="Office Theme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822980"/>
      </a:accent2>
      <a:accent3>
        <a:srgbClr val="87898B"/>
      </a:accent3>
      <a:accent4>
        <a:srgbClr val="99D5EF"/>
      </a:accent4>
      <a:accent5>
        <a:srgbClr val="C094BF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Green">
      <a:srgbClr val="008B2C"/>
    </a:custClr>
    <a:custClr name="75% Green">
      <a:srgbClr val="40A85F"/>
    </a:custClr>
    <a:custClr name="50% Green">
      <a:srgbClr val="7FC594"/>
    </a:custClr>
    <a:custClr name="25% Green">
      <a:srgbClr val="BFE2CA"/>
    </a:custClr>
    <a:custClr name="Orange">
      <a:srgbClr val="F05332"/>
    </a:custClr>
    <a:custClr name="75% Orange">
      <a:srgbClr val="F47E65"/>
    </a:custClr>
    <a:custClr name="50% Orange">
      <a:srgbClr val="F7A998"/>
    </a:custClr>
    <a:custClr name="25% Orange">
      <a:srgbClr val="FBD4C0"/>
    </a:custClr>
  </a:custClrLst>
</a:theme>
</file>

<file path=ppt/theme/theme3.xml><?xml version="1.0" encoding="utf-8"?>
<a:theme xmlns:a="http://schemas.openxmlformats.org/drawingml/2006/main" name="Office Theme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822980"/>
      </a:accent2>
      <a:accent3>
        <a:srgbClr val="87898B"/>
      </a:accent3>
      <a:accent4>
        <a:srgbClr val="99D5EF"/>
      </a:accent4>
      <a:accent5>
        <a:srgbClr val="C094BF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Green">
      <a:srgbClr val="008B2C"/>
    </a:custClr>
    <a:custClr name="75% Green">
      <a:srgbClr val="40A85F"/>
    </a:custClr>
    <a:custClr name="50% Green">
      <a:srgbClr val="7FC594"/>
    </a:custClr>
    <a:custClr name="25% Green">
      <a:srgbClr val="BFE2CA"/>
    </a:custClr>
    <a:custClr name="Orange">
      <a:srgbClr val="F05332"/>
    </a:custClr>
    <a:custClr name="75% Orange">
      <a:srgbClr val="F47E65"/>
    </a:custClr>
    <a:custClr name="50% Orange">
      <a:srgbClr val="F7A998"/>
    </a:custClr>
    <a:custClr name="25% Orange">
      <a:srgbClr val="FBD4C0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2F5F2548379124E97414FBA3D0413B1" ma:contentTypeVersion="0" ma:contentTypeDescription="Create a new document." ma:contentTypeScope="" ma:versionID="f8d2a70ef7eb1b0d58784e8ad536190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0F54BE4-B8FB-4D8E-AE0F-4253F39AC6F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927C17-40F8-426B-A18C-7447BFF45CC3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108C765-05EF-46CF-A3FD-026634A3B1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LV2015 PPT Template 16_9 For sessions (white)</Template>
  <TotalTime>939</TotalTime>
  <Words>5758</Words>
  <Application>Microsoft Office PowerPoint</Application>
  <PresentationFormat>Custom</PresentationFormat>
  <Paragraphs>764</Paragraphs>
  <Slides>54</Slides>
  <Notes>43</Notes>
  <HiddenSlides>28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61" baseType="lpstr">
      <vt:lpstr>Arial</vt:lpstr>
      <vt:lpstr>Calibri</vt:lpstr>
      <vt:lpstr>Futura Hv</vt:lpstr>
      <vt:lpstr>HP Simplified</vt:lpstr>
      <vt:lpstr>Webdings</vt:lpstr>
      <vt:lpstr>HP Standard 16x9</vt:lpstr>
      <vt:lpstr>think-cell Slide</vt:lpstr>
      <vt:lpstr>PowerPoint Presentation</vt:lpstr>
      <vt:lpstr>Security for The Machine – A sneak peek at security research from HP Labs</vt:lpstr>
      <vt:lpstr>Please give me your feedback</vt:lpstr>
      <vt:lpstr>HP Labs: engine of innovation </vt:lpstr>
      <vt:lpstr>PowerPoint Presentation</vt:lpstr>
      <vt:lpstr>The Machine: HP’s answer to today’s data explosion problem</vt:lpstr>
      <vt:lpstr>The Machine architecture</vt:lpstr>
      <vt:lpstr>Security for The Machine</vt:lpstr>
      <vt:lpstr>Challenges in securing The Machine</vt:lpstr>
      <vt:lpstr>A Security framework</vt:lpstr>
      <vt:lpstr>The ‘Protect-Detect-Recover’ framework…</vt:lpstr>
      <vt:lpstr>…designed from the ground up...</vt:lpstr>
      <vt:lpstr>…with built-in primitives...</vt:lpstr>
      <vt:lpstr>…and the following goals.</vt:lpstr>
      <vt:lpstr>Technology</vt:lpstr>
      <vt:lpstr>Protect: Prevent malicious actions</vt:lpstr>
      <vt:lpstr>Protect: Access control at different layers</vt:lpstr>
      <vt:lpstr>Protect: Data protection</vt:lpstr>
      <vt:lpstr>Detect: Detect malicious actions</vt:lpstr>
      <vt:lpstr>Detect: Tamper-proof monitoring/introspection </vt:lpstr>
      <vt:lpstr>Detect: Primitives to enable detection “outside The Machine”</vt:lpstr>
      <vt:lpstr>Recover: Recover from malicious actions</vt:lpstr>
      <vt:lpstr>Recover: Recover from kernel level malware </vt:lpstr>
      <vt:lpstr>Summary</vt:lpstr>
      <vt:lpstr>Learn more about HP Labs and The Machine</vt:lpstr>
      <vt:lpstr>Thank you</vt:lpstr>
      <vt:lpstr>Backup slides</vt:lpstr>
      <vt:lpstr>PowerPoint Presentation</vt:lpstr>
      <vt:lpstr>Security for The Machine – A sneak peek at security research from HP Labs</vt:lpstr>
      <vt:lpstr>HP Labs: engine of innovation </vt:lpstr>
      <vt:lpstr>HP Labs: engine of innovation </vt:lpstr>
      <vt:lpstr>PowerPoint Presentation</vt:lpstr>
      <vt:lpstr>The Machine: HP’s answer to today’s data explosion problem</vt:lpstr>
      <vt:lpstr>The Machine architecture</vt:lpstr>
      <vt:lpstr>Security for The Machine</vt:lpstr>
      <vt:lpstr>Challenges in securing The Machine</vt:lpstr>
      <vt:lpstr>A Security framework</vt:lpstr>
      <vt:lpstr>The ‘Protect-Detect-Recover’ framework…</vt:lpstr>
      <vt:lpstr>…designed from the ground up...</vt:lpstr>
      <vt:lpstr>…with built-in primitives...</vt:lpstr>
      <vt:lpstr>…and the following goals.</vt:lpstr>
      <vt:lpstr>Technology</vt:lpstr>
      <vt:lpstr>Protect: Prevent malicious actions</vt:lpstr>
      <vt:lpstr>Protect: Access control at different layers</vt:lpstr>
      <vt:lpstr>Protect: Data protection</vt:lpstr>
      <vt:lpstr>Detect: Detect malicious actions</vt:lpstr>
      <vt:lpstr>Detect: Tamper-proof monitoring/introspection </vt:lpstr>
      <vt:lpstr>Detect: Primitives to enable detection “outside The Machine”</vt:lpstr>
      <vt:lpstr>Recover: Recover from malicious actions</vt:lpstr>
      <vt:lpstr>Recover: Recover from kernel level malware </vt:lpstr>
      <vt:lpstr>Summary</vt:lpstr>
      <vt:lpstr>Learn more about HP Labs and The Machine</vt:lpstr>
      <vt:lpstr>Please give me your feedback</vt:lpstr>
      <vt:lpstr>Thank you</vt:lpstr>
    </vt:vector>
  </TitlesOfParts>
  <Company>Hewlett 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ppelossa, Cassio L (Global Brand Manager)</dc:creator>
  <cp:lastModifiedBy>Lisa Malmquist</cp:lastModifiedBy>
  <cp:revision>118</cp:revision>
  <dcterms:created xsi:type="dcterms:W3CDTF">2014-07-23T16:46:40Z</dcterms:created>
  <dcterms:modified xsi:type="dcterms:W3CDTF">2015-05-20T11:2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839718</vt:lpwstr>
  </property>
  <property fmtid="{D5CDD505-2E9C-101B-9397-08002B2CF9AE}" pid="3" name="NXPowerLiteSettings">
    <vt:lpwstr>F900050004A000</vt:lpwstr>
  </property>
  <property fmtid="{D5CDD505-2E9C-101B-9397-08002B2CF9AE}" pid="4" name="NXPowerLiteVersion">
    <vt:lpwstr>D6.0.7</vt:lpwstr>
  </property>
  <property fmtid="{D5CDD505-2E9C-101B-9397-08002B2CF9AE}" pid="5" name="ContentTypeId">
    <vt:lpwstr>0x010100F2F5F2548379124E97414FBA3D0413B1</vt:lpwstr>
  </property>
</Properties>
</file>